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notesSlides/notesSlide5.xml" ContentType="application/vnd.openxmlformats-officedocument.presentationml.notesSlide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notesSlides/notesSlide6.xml" ContentType="application/vnd.openxmlformats-officedocument.presentationml.notesSlide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notesSlides/notesSlide7.xml" ContentType="application/vnd.openxmlformats-officedocument.presentationml.notesSlide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4062" r:id="rId1"/>
  </p:sldMasterIdLst>
  <p:notesMasterIdLst>
    <p:notesMasterId r:id="rId41"/>
  </p:notesMasterIdLst>
  <p:sldIdLst>
    <p:sldId id="394" r:id="rId2"/>
    <p:sldId id="325" r:id="rId3"/>
    <p:sldId id="405" r:id="rId4"/>
    <p:sldId id="409" r:id="rId5"/>
    <p:sldId id="370" r:id="rId6"/>
    <p:sldId id="358" r:id="rId7"/>
    <p:sldId id="376" r:id="rId8"/>
    <p:sldId id="395" r:id="rId9"/>
    <p:sldId id="381" r:id="rId10"/>
    <p:sldId id="380" r:id="rId11"/>
    <p:sldId id="383" r:id="rId12"/>
    <p:sldId id="386" r:id="rId13"/>
    <p:sldId id="388" r:id="rId14"/>
    <p:sldId id="384" r:id="rId15"/>
    <p:sldId id="399" r:id="rId16"/>
    <p:sldId id="387" r:id="rId17"/>
    <p:sldId id="382" r:id="rId18"/>
    <p:sldId id="391" r:id="rId19"/>
    <p:sldId id="390" r:id="rId20"/>
    <p:sldId id="282" r:id="rId21"/>
    <p:sldId id="410" r:id="rId22"/>
    <p:sldId id="396" r:id="rId23"/>
    <p:sldId id="364" r:id="rId24"/>
    <p:sldId id="372" r:id="rId25"/>
    <p:sldId id="389" r:id="rId26"/>
    <p:sldId id="379" r:id="rId27"/>
    <p:sldId id="408" r:id="rId28"/>
    <p:sldId id="397" r:id="rId29"/>
    <p:sldId id="398" r:id="rId30"/>
    <p:sldId id="393" r:id="rId31"/>
    <p:sldId id="366" r:id="rId32"/>
    <p:sldId id="400" r:id="rId33"/>
    <p:sldId id="404" r:id="rId34"/>
    <p:sldId id="401" r:id="rId35"/>
    <p:sldId id="402" r:id="rId36"/>
    <p:sldId id="403" r:id="rId37"/>
    <p:sldId id="367" r:id="rId38"/>
    <p:sldId id="411" r:id="rId39"/>
    <p:sldId id="407" r:id="rId40"/>
  </p:sldIdLst>
  <p:sldSz cx="9144000" cy="6858000" type="screen4x3"/>
  <p:notesSz cx="6858000" cy="9144000"/>
  <p:custDataLst>
    <p:tags r:id="rId4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holas Java" initials="NJ" lastIdx="8" clrIdx="0">
    <p:extLst/>
  </p:cmAuthor>
  <p:cmAuthor id="2" name="Nicholas Java" initials="NJ [2]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72F"/>
    <a:srgbClr val="6A863A"/>
    <a:srgbClr val="5A98B1"/>
    <a:srgbClr val="88412E"/>
    <a:srgbClr val="A0E25E"/>
    <a:srgbClr val="84BB4E"/>
    <a:srgbClr val="E51319"/>
    <a:srgbClr val="A13E1F"/>
    <a:srgbClr val="39A5C4"/>
    <a:srgbClr val="DB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5"/>
    <p:restoredTop sz="79407" autoAdjust="0"/>
  </p:normalViewPr>
  <p:slideViewPr>
    <p:cSldViewPr snapToGrid="0" snapToObjects="1">
      <p:cViewPr varScale="1">
        <p:scale>
          <a:sx n="119" d="100"/>
          <a:sy n="119" d="100"/>
        </p:scale>
        <p:origin x="1062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2596EC-9A88-9148-88AA-E774C18E532B}" type="datetimeFigureOut">
              <a:rPr lang="en-US" smtClean="0"/>
              <a:t>10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D3441-C1A1-504D-8455-95CF9C1096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793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1D3441-C1A1-504D-8455-95CF9C10962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20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he next few minutes, we’re going to take a whirlwind tour of our 2017 research findings.  I am excited to discuss more of these ideas and findings throughout the day.  Whatever you see today, we’ll send and you can read more in a our reports.  If you want a cut of the data specific to your type of institution, we can do that too.  </a:t>
            </a:r>
          </a:p>
          <a:p>
            <a:endParaRPr lang="en-US" dirty="0"/>
          </a:p>
          <a:p>
            <a:r>
              <a:rPr lang="en-US" dirty="0"/>
              <a:t>Our observations are categorized in 5 elements that comprise the redesign roadmap.  These elements help us understand the state of the field and where/how progress is </a:t>
            </a:r>
            <a:r>
              <a:rPr lang="en-US" dirty="0" err="1"/>
              <a:t>occuring</a:t>
            </a:r>
            <a:r>
              <a:rPr lang="en-US" dirty="0"/>
              <a:t>…</a:t>
            </a:r>
          </a:p>
          <a:p>
            <a:endParaRPr lang="en-US" dirty="0"/>
          </a:p>
          <a:p>
            <a:r>
              <a:rPr lang="en-US" dirty="0"/>
              <a:t>Let’s look at leadershi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1D3441-C1A1-504D-8455-95CF9C10962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202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impact does clarity of ownership and org model have on outcomes?  The answer is complex – perception of success vs outcomes as lagging indica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1D3441-C1A1-504D-8455-95CF9C10962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997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Better student outcomes means above average grad and retention rates.</a:t>
            </a: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Overall avg. grad rate = 40%</a:t>
            </a: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Overall avg. retention rate = 67%</a:t>
            </a:r>
          </a:p>
          <a:p>
            <a:pPr algn="l"/>
            <a:endParaRPr lang="en-US" dirty="0"/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Positive perception means &gt; overall % perceiving success</a:t>
            </a: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Overall % perceiving success = 34%</a:t>
            </a:r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1D3441-C1A1-504D-8455-95CF9C10962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9508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545076-357E-6147-828B-9ED9B138477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7769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dirty="0">
                <a:solidFill>
                  <a:schemeClr val="tx1"/>
                </a:solidFill>
              </a:rPr>
              <a:t>Positive student outcomes means above average grad and retention rates.</a:t>
            </a: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Overall avg. grad rate = 40%</a:t>
            </a: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Overall avg. retention rate = 67%</a:t>
            </a:r>
          </a:p>
          <a:p>
            <a:pPr algn="l"/>
            <a:endParaRPr lang="en-US" sz="1200" dirty="0">
              <a:solidFill>
                <a:schemeClr val="tx1"/>
              </a:solidFill>
            </a:endParaRP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Positive perception means &gt; overall % perceiving success</a:t>
            </a:r>
          </a:p>
          <a:p>
            <a:pPr algn="l"/>
            <a:r>
              <a:rPr lang="en-US" sz="1200" dirty="0">
                <a:solidFill>
                  <a:schemeClr val="tx1"/>
                </a:solidFill>
              </a:rPr>
              <a:t>Overall % perceiving success = 34%</a:t>
            </a:r>
          </a:p>
          <a:p>
            <a:pPr algn="l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1D3441-C1A1-504D-8455-95CF9C109624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2354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1D3441-C1A1-504D-8455-95CF9C109624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598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222E-8E78-FD4A-9F42-27A2D928FC7A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675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Multiple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830388"/>
            <a:ext cx="9144000" cy="1828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5" name="Picture 7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tag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650" y="6138863"/>
            <a:ext cx="4827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1830388"/>
            <a:ext cx="9144000" cy="1828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8" name="Picture 10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tag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650" y="6138863"/>
            <a:ext cx="4827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0" y="1830388"/>
            <a:ext cx="9144000" cy="1828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13" name="Picture 13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4" descr="tag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650" y="6138863"/>
            <a:ext cx="4827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1830388"/>
            <a:ext cx="9144000" cy="1828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16" name="Picture 16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7" descr="tag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650" y="6138863"/>
            <a:ext cx="4827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251200" y="5608320"/>
            <a:ext cx="2621280" cy="4064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85800" y="1830388"/>
            <a:ext cx="7772400" cy="18288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34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0" y="1830388"/>
            <a:ext cx="9144000" cy="1828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9" name="Picture 18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475" y="6620272"/>
            <a:ext cx="4827710" cy="237728"/>
          </a:xfrm>
          <a:prstGeom prst="rect">
            <a:avLst/>
          </a:prstGeom>
        </p:spPr>
      </p:pic>
      <p:pic>
        <p:nvPicPr>
          <p:cNvPr id="20" name="Picture 19" descr="tag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2650" y="6139180"/>
            <a:ext cx="4827710" cy="21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81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 Dark Heading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TYT_PPHeader_0001_159268989_smal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>
            <a:fillRect/>
          </a:stretch>
        </p:blipFill>
        <p:spPr bwMode="auto">
          <a:xfrm>
            <a:off x="0" y="0"/>
            <a:ext cx="9144000" cy="109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" name="Picture 8" descr="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142" y="1139825"/>
            <a:ext cx="3971245" cy="639762"/>
          </a:xfrm>
          <a:solidFill>
            <a:schemeClr val="tx2"/>
          </a:solidFill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6142" y="1779587"/>
            <a:ext cx="3971245" cy="4346576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39825"/>
            <a:ext cx="3936546" cy="639762"/>
          </a:xfrm>
          <a:solidFill>
            <a:schemeClr val="tx2"/>
          </a:solidFill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9587"/>
            <a:ext cx="3936546" cy="4346576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TYT_PPHeader_0001_159268989_smal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/>
        </p:blipFill>
        <p:spPr>
          <a:xfrm>
            <a:off x="0" y="0"/>
            <a:ext cx="9144000" cy="1094106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foote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7" name="Slide Number Placeholder 12"/>
          <p:cNvSpPr>
            <a:spLocks noGrp="1"/>
          </p:cNvSpPr>
          <p:nvPr>
            <p:ph type="sldNum" sz="quarter" idx="15"/>
          </p:nvPr>
        </p:nvSpPr>
        <p:spPr>
          <a:xfrm>
            <a:off x="8204200" y="6358805"/>
            <a:ext cx="490538" cy="365125"/>
          </a:xfrm>
        </p:spPr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543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TYT_PPHeader_0001_159268989_smal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>
            <a:fillRect/>
          </a:stretch>
        </p:blipFill>
        <p:spPr bwMode="auto">
          <a:xfrm>
            <a:off x="0" y="0"/>
            <a:ext cx="9144000" cy="109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8" descr="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TYT_PPHeader_0001_159268989_smal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/>
        </p:blipFill>
        <p:spPr>
          <a:xfrm>
            <a:off x="0" y="0"/>
            <a:ext cx="9144000" cy="109410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foote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>
          <a:xfrm>
            <a:off x="8204200" y="6358805"/>
            <a:ext cx="490538" cy="365125"/>
          </a:xfrm>
        </p:spPr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5422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TYT_PPHeader_0002_145038825_smal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>
            <a:fillRect/>
          </a:stretch>
        </p:blipFill>
        <p:spPr bwMode="auto">
          <a:xfrm>
            <a:off x="0" y="0"/>
            <a:ext cx="9144000" cy="109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8" descr="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TYT_PPHeader_0002_145038825_smal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/>
        </p:blipFill>
        <p:spPr>
          <a:xfrm>
            <a:off x="0" y="0"/>
            <a:ext cx="9144000" cy="109410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foote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3" name="Slide Number Placeholder 12"/>
          <p:cNvSpPr>
            <a:spLocks noGrp="1"/>
          </p:cNvSpPr>
          <p:nvPr>
            <p:ph type="sldNum" sz="quarter" idx="15"/>
          </p:nvPr>
        </p:nvSpPr>
        <p:spPr>
          <a:xfrm>
            <a:off x="8204200" y="6358805"/>
            <a:ext cx="490538" cy="365125"/>
          </a:xfrm>
        </p:spPr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316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4" name="Picture 7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9" name="Slide Number Placeholder 12"/>
          <p:cNvSpPr>
            <a:spLocks noGrp="1"/>
          </p:cNvSpPr>
          <p:nvPr>
            <p:ph type="sldNum" sz="quarter" idx="15"/>
          </p:nvPr>
        </p:nvSpPr>
        <p:spPr>
          <a:xfrm>
            <a:off x="8204200" y="6358805"/>
            <a:ext cx="490538" cy="365125"/>
          </a:xfrm>
        </p:spPr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825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itle_Image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 descr="Title_Image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" descr="Title_Image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Title_Image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Title_Image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095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itle_Image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 descr="Title_Image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" descr="Title_Image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Title_Image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Title_Image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161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Bulle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8204905" y="6373452"/>
            <a:ext cx="489186" cy="365125"/>
          </a:xfrm>
        </p:spPr>
        <p:txBody>
          <a:bodyPr/>
          <a:lstStyle/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0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s and notes.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263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11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4"/>
          <p:cNvSpPr txBox="1">
            <a:spLocks/>
          </p:cNvSpPr>
          <p:nvPr/>
        </p:nvSpPr>
        <p:spPr>
          <a:xfrm>
            <a:off x="8205788" y="6373813"/>
            <a:ext cx="4889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D9EC201B-0F7A-D142-A9D4-81B384D64ED8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6798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000" i="1"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s and notes.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3632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000" i="1"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s and notes.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01913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Only Tyt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830388"/>
            <a:ext cx="9144000" cy="18288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5" name="Picture 7" descr="arc_light 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tag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650" y="6138863"/>
            <a:ext cx="4827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Tyton 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6973" y="4528821"/>
            <a:ext cx="1700213" cy="81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85800" y="1830388"/>
            <a:ext cx="7772400" cy="18288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34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251200" y="5608320"/>
            <a:ext cx="2621280" cy="4064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32553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Tx/>
              <a:buNone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8204905" y="6373452"/>
            <a:ext cx="489186" cy="365125"/>
          </a:xfrm>
        </p:spPr>
        <p:txBody>
          <a:bodyPr/>
          <a:lstStyle/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footer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0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s and notes.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344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1000" i="1"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s and notes.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76212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8400" y="1139826"/>
            <a:ext cx="7413171" cy="49863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400"/>
              </a:spcBef>
              <a:buFontTx/>
              <a:buNone/>
              <a:tabLst>
                <a:tab pos="568325" algn="l"/>
              </a:tabLst>
              <a:defRPr sz="2400" i="0">
                <a:solidFill>
                  <a:schemeClr val="tx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526143" y="1139826"/>
            <a:ext cx="642257" cy="49863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400"/>
              </a:spcBef>
              <a:buFontTx/>
              <a:buNone/>
              <a:tabLst>
                <a:tab pos="568325" algn="l"/>
              </a:tabLst>
              <a:defRPr sz="2400" i="0">
                <a:solidFill>
                  <a:schemeClr val="accent3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205788" y="6373813"/>
            <a:ext cx="488950" cy="365125"/>
          </a:xfrm>
        </p:spPr>
        <p:txBody>
          <a:bodyPr/>
          <a:lstStyle>
            <a:lvl1pPr>
              <a:defRPr b="0"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438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Circle Drk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ircle graphic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84263"/>
            <a:ext cx="4632325" cy="422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arc_dark blu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circle graphic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84263"/>
            <a:ext cx="4632325" cy="422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arc_dark blu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475" y="6619875"/>
            <a:ext cx="4827588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0275" y="2866073"/>
            <a:ext cx="735965" cy="679767"/>
          </a:xfrm>
        </p:spPr>
        <p:txBody>
          <a:bodyPr anchor="t">
            <a:normAutofit/>
          </a:bodyPr>
          <a:lstStyle>
            <a:lvl1pPr algn="l">
              <a:defRPr sz="3400" b="0" cap="all">
                <a:solidFill>
                  <a:srgbClr val="ED212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15920" y="2866073"/>
            <a:ext cx="5628640" cy="2874327"/>
          </a:xfrm>
        </p:spPr>
        <p:txBody>
          <a:bodyPr>
            <a:normAutofit/>
          </a:bodyPr>
          <a:lstStyle>
            <a:lvl1pPr marL="0" indent="0">
              <a:buNone/>
              <a:defRPr sz="34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6158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6142" y="1139826"/>
            <a:ext cx="3969657" cy="498633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39826"/>
            <a:ext cx="3933371" cy="4986338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b="0"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0903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Dar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8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1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142" y="1139825"/>
            <a:ext cx="3971245" cy="639762"/>
          </a:xfrm>
          <a:solidFill>
            <a:schemeClr val="tx2"/>
          </a:solidFill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6142" y="1779587"/>
            <a:ext cx="3971245" cy="4346576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39825"/>
            <a:ext cx="3936546" cy="639762"/>
          </a:xfrm>
          <a:solidFill>
            <a:schemeClr val="tx2"/>
          </a:solidFill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9587"/>
            <a:ext cx="3936546" cy="4346576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959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11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4"/>
          <p:cNvSpPr txBox="1">
            <a:spLocks/>
          </p:cNvSpPr>
          <p:nvPr/>
        </p:nvSpPr>
        <p:spPr>
          <a:xfrm>
            <a:off x="8205788" y="6373813"/>
            <a:ext cx="48895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D9EC201B-0F7A-D142-A9D4-81B384D64ED8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690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560388" y="1036638"/>
            <a:ext cx="8021637" cy="22225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Tx/>
              <a:buNone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560677" y="1037196"/>
            <a:ext cx="8020894" cy="21494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footer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4" name="Slide Number Placeholder 12"/>
          <p:cNvSpPr>
            <a:spLocks noGrp="1"/>
          </p:cNvSpPr>
          <p:nvPr>
            <p:ph type="sldNum" sz="quarter" idx="15"/>
          </p:nvPr>
        </p:nvSpPr>
        <p:spPr>
          <a:xfrm>
            <a:off x="8204200" y="6358805"/>
            <a:ext cx="490538" cy="365125"/>
          </a:xfrm>
        </p:spPr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78125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TYT_PPHeader_0001_159268989_smal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>
            <a:fillRect/>
          </a:stretch>
        </p:blipFill>
        <p:spPr bwMode="auto">
          <a:xfrm>
            <a:off x="0" y="0"/>
            <a:ext cx="9144000" cy="109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8307388" y="6419850"/>
            <a:ext cx="284162" cy="28575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" name="Picture 8" descr="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>
            <a:fillRect/>
          </a:stretch>
        </p:blipFill>
        <p:spPr bwMode="auto">
          <a:xfrm>
            <a:off x="6816725" y="6284913"/>
            <a:ext cx="1387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142" y="1139825"/>
            <a:ext cx="3971245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6142" y="1779587"/>
            <a:ext cx="3971245" cy="4346576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39825"/>
            <a:ext cx="3936546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9587"/>
            <a:ext cx="3936546" cy="4346576"/>
          </a:xfrm>
        </p:spPr>
        <p:txBody>
          <a:bodyPr>
            <a:normAutofit/>
          </a:bodyPr>
          <a:lstStyle>
            <a:lvl1pPr>
              <a:defRPr sz="14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/>
          </p:nvPr>
        </p:nvSpPr>
        <p:spPr>
          <a:xfrm>
            <a:off x="526143" y="6126165"/>
            <a:ext cx="6291218" cy="643102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900" i="1">
                <a:solidFill>
                  <a:srgbClr val="000000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526142" y="101600"/>
            <a:ext cx="8065996" cy="94661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4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173037" indent="0">
              <a:buFontTx/>
              <a:buNone/>
              <a:defRPr/>
            </a:lvl2pPr>
            <a:lvl3pPr marL="346075" indent="0">
              <a:buFontTx/>
              <a:buNone/>
              <a:defRPr/>
            </a:lvl3pPr>
            <a:lvl4pPr marL="517525" indent="0">
              <a:buFontTx/>
              <a:buNone/>
              <a:defRPr/>
            </a:lvl4pPr>
            <a:lvl5pPr marL="69056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TYT_PPHeader_0001_159268989_smal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1"/>
          <a:stretch/>
        </p:blipFill>
        <p:spPr>
          <a:xfrm>
            <a:off x="0" y="0"/>
            <a:ext cx="9144000" cy="1094106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8306858" y="6420487"/>
            <a:ext cx="285280" cy="285280"/>
          </a:xfrm>
          <a:prstGeom prst="rect">
            <a:avLst/>
          </a:prstGeom>
          <a:solidFill>
            <a:srgbClr val="C398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footer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6"/>
          <a:stretch/>
        </p:blipFill>
        <p:spPr>
          <a:xfrm>
            <a:off x="6817361" y="6285014"/>
            <a:ext cx="1387544" cy="572986"/>
          </a:xfrm>
          <a:prstGeom prst="rect">
            <a:avLst/>
          </a:prstGeom>
        </p:spPr>
      </p:pic>
      <p:sp>
        <p:nvSpPr>
          <p:cNvPr id="17" name="Slide Number Placeholder 12"/>
          <p:cNvSpPr>
            <a:spLocks noGrp="1"/>
          </p:cNvSpPr>
          <p:nvPr>
            <p:ph type="sldNum" sz="quarter" idx="15"/>
          </p:nvPr>
        </p:nvSpPr>
        <p:spPr>
          <a:xfrm>
            <a:off x="8204200" y="6358805"/>
            <a:ext cx="490538" cy="365125"/>
          </a:xfrm>
        </p:spPr>
        <p:txBody>
          <a:bodyPr/>
          <a:lstStyle>
            <a:lvl1pPr>
              <a:defRPr/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25463" y="201613"/>
            <a:ext cx="8056562" cy="8445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49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25463" y="201613"/>
            <a:ext cx="8056562" cy="84455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5463" y="1139825"/>
            <a:ext cx="8056562" cy="49863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05788" y="6373813"/>
            <a:ext cx="488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fld id="{56061281-BD0D-6F47-BBB8-8F6BE6AA34E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lide Number Placeholder 12"/>
          <p:cNvSpPr txBox="1">
            <a:spLocks/>
          </p:cNvSpPr>
          <p:nvPr/>
        </p:nvSpPr>
        <p:spPr>
          <a:xfrm>
            <a:off x="8204200" y="6373813"/>
            <a:ext cx="490538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6061281-BD0D-6F47-BBB8-8F6BE6AA34E7}" type="slidenum">
              <a:rPr lang="en-US" sz="1000" smtClean="0">
                <a:solidFill>
                  <a:schemeClr val="bg1"/>
                </a:solidFill>
              </a:rPr>
              <a:pPr algn="ct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777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  <p:sldLayoutId id="2147484066" r:id="rId4"/>
    <p:sldLayoutId id="2147484067" r:id="rId5"/>
    <p:sldLayoutId id="2147484068" r:id="rId6"/>
    <p:sldLayoutId id="2147484069" r:id="rId7"/>
    <p:sldLayoutId id="2147484070" r:id="rId8"/>
    <p:sldLayoutId id="2147484071" r:id="rId9"/>
    <p:sldLayoutId id="2147484072" r:id="rId10"/>
    <p:sldLayoutId id="2147484073" r:id="rId11"/>
    <p:sldLayoutId id="2147484074" r:id="rId12"/>
    <p:sldLayoutId id="2147484075" r:id="rId13"/>
    <p:sldLayoutId id="2147484076" r:id="rId14"/>
    <p:sldLayoutId id="2147484077" r:id="rId15"/>
    <p:sldLayoutId id="2147484082" r:id="rId16"/>
    <p:sldLayoutId id="2147484084" r:id="rId17"/>
    <p:sldLayoutId id="2147484085" r:id="rId18"/>
    <p:sldLayoutId id="2147484086" r:id="rId19"/>
    <p:sldLayoutId id="2147484087" r:id="rId20"/>
    <p:sldLayoutId id="2147484088" r:id="rId2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173038" indent="-1730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344488" indent="-17303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517525" indent="-17145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688975" indent="-17145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862013" indent="-17303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214.xml"/><Relationship Id="rId21" Type="http://schemas.openxmlformats.org/officeDocument/2006/relationships/tags" Target="../tags/tag209.xml"/><Relationship Id="rId42" Type="http://schemas.openxmlformats.org/officeDocument/2006/relationships/tags" Target="../tags/tag230.xml"/><Relationship Id="rId47" Type="http://schemas.openxmlformats.org/officeDocument/2006/relationships/tags" Target="../tags/tag235.xml"/><Relationship Id="rId63" Type="http://schemas.openxmlformats.org/officeDocument/2006/relationships/tags" Target="../tags/tag251.xml"/><Relationship Id="rId68" Type="http://schemas.openxmlformats.org/officeDocument/2006/relationships/tags" Target="../tags/tag256.xml"/><Relationship Id="rId16" Type="http://schemas.openxmlformats.org/officeDocument/2006/relationships/tags" Target="../tags/tag204.xml"/><Relationship Id="rId11" Type="http://schemas.openxmlformats.org/officeDocument/2006/relationships/tags" Target="../tags/tag199.xml"/><Relationship Id="rId32" Type="http://schemas.openxmlformats.org/officeDocument/2006/relationships/tags" Target="../tags/tag220.xml"/><Relationship Id="rId37" Type="http://schemas.openxmlformats.org/officeDocument/2006/relationships/tags" Target="../tags/tag225.xml"/><Relationship Id="rId53" Type="http://schemas.openxmlformats.org/officeDocument/2006/relationships/tags" Target="../tags/tag241.xml"/><Relationship Id="rId58" Type="http://schemas.openxmlformats.org/officeDocument/2006/relationships/tags" Target="../tags/tag246.xml"/><Relationship Id="rId74" Type="http://schemas.openxmlformats.org/officeDocument/2006/relationships/tags" Target="../tags/tag262.xml"/><Relationship Id="rId79" Type="http://schemas.openxmlformats.org/officeDocument/2006/relationships/tags" Target="../tags/tag267.xml"/><Relationship Id="rId5" Type="http://schemas.openxmlformats.org/officeDocument/2006/relationships/tags" Target="../tags/tag193.xml"/><Relationship Id="rId61" Type="http://schemas.openxmlformats.org/officeDocument/2006/relationships/tags" Target="../tags/tag249.xml"/><Relationship Id="rId82" Type="http://schemas.openxmlformats.org/officeDocument/2006/relationships/slideLayout" Target="../slideLayouts/slideLayout7.xml"/><Relationship Id="rId19" Type="http://schemas.openxmlformats.org/officeDocument/2006/relationships/tags" Target="../tags/tag20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Relationship Id="rId30" Type="http://schemas.openxmlformats.org/officeDocument/2006/relationships/tags" Target="../tags/tag218.xml"/><Relationship Id="rId35" Type="http://schemas.openxmlformats.org/officeDocument/2006/relationships/tags" Target="../tags/tag223.xml"/><Relationship Id="rId43" Type="http://schemas.openxmlformats.org/officeDocument/2006/relationships/tags" Target="../tags/tag231.xml"/><Relationship Id="rId48" Type="http://schemas.openxmlformats.org/officeDocument/2006/relationships/tags" Target="../tags/tag236.xml"/><Relationship Id="rId56" Type="http://schemas.openxmlformats.org/officeDocument/2006/relationships/tags" Target="../tags/tag244.xml"/><Relationship Id="rId64" Type="http://schemas.openxmlformats.org/officeDocument/2006/relationships/tags" Target="../tags/tag252.xml"/><Relationship Id="rId69" Type="http://schemas.openxmlformats.org/officeDocument/2006/relationships/tags" Target="../tags/tag257.xml"/><Relationship Id="rId77" Type="http://schemas.openxmlformats.org/officeDocument/2006/relationships/tags" Target="../tags/tag265.xml"/><Relationship Id="rId8" Type="http://schemas.openxmlformats.org/officeDocument/2006/relationships/tags" Target="../tags/tag196.xml"/><Relationship Id="rId51" Type="http://schemas.openxmlformats.org/officeDocument/2006/relationships/tags" Target="../tags/tag239.xml"/><Relationship Id="rId72" Type="http://schemas.openxmlformats.org/officeDocument/2006/relationships/tags" Target="../tags/tag260.xml"/><Relationship Id="rId80" Type="http://schemas.openxmlformats.org/officeDocument/2006/relationships/tags" Target="../tags/tag268.xml"/><Relationship Id="rId3" Type="http://schemas.openxmlformats.org/officeDocument/2006/relationships/tags" Target="../tags/tag191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33" Type="http://schemas.openxmlformats.org/officeDocument/2006/relationships/tags" Target="../tags/tag221.xml"/><Relationship Id="rId38" Type="http://schemas.openxmlformats.org/officeDocument/2006/relationships/tags" Target="../tags/tag226.xml"/><Relationship Id="rId46" Type="http://schemas.openxmlformats.org/officeDocument/2006/relationships/tags" Target="../tags/tag234.xml"/><Relationship Id="rId59" Type="http://schemas.openxmlformats.org/officeDocument/2006/relationships/tags" Target="../tags/tag247.xml"/><Relationship Id="rId67" Type="http://schemas.openxmlformats.org/officeDocument/2006/relationships/tags" Target="../tags/tag255.xml"/><Relationship Id="rId20" Type="http://schemas.openxmlformats.org/officeDocument/2006/relationships/tags" Target="../tags/tag208.xml"/><Relationship Id="rId41" Type="http://schemas.openxmlformats.org/officeDocument/2006/relationships/tags" Target="../tags/tag229.xml"/><Relationship Id="rId54" Type="http://schemas.openxmlformats.org/officeDocument/2006/relationships/tags" Target="../tags/tag242.xml"/><Relationship Id="rId62" Type="http://schemas.openxmlformats.org/officeDocument/2006/relationships/tags" Target="../tags/tag250.xml"/><Relationship Id="rId70" Type="http://schemas.openxmlformats.org/officeDocument/2006/relationships/tags" Target="../tags/tag258.xml"/><Relationship Id="rId75" Type="http://schemas.openxmlformats.org/officeDocument/2006/relationships/tags" Target="../tags/tag263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tags" Target="../tags/tag216.xml"/><Relationship Id="rId36" Type="http://schemas.openxmlformats.org/officeDocument/2006/relationships/tags" Target="../tags/tag224.xml"/><Relationship Id="rId49" Type="http://schemas.openxmlformats.org/officeDocument/2006/relationships/tags" Target="../tags/tag237.xml"/><Relationship Id="rId57" Type="http://schemas.openxmlformats.org/officeDocument/2006/relationships/tags" Target="../tags/tag245.xml"/><Relationship Id="rId10" Type="http://schemas.openxmlformats.org/officeDocument/2006/relationships/tags" Target="../tags/tag198.xml"/><Relationship Id="rId31" Type="http://schemas.openxmlformats.org/officeDocument/2006/relationships/tags" Target="../tags/tag219.xml"/><Relationship Id="rId44" Type="http://schemas.openxmlformats.org/officeDocument/2006/relationships/tags" Target="../tags/tag232.xml"/><Relationship Id="rId52" Type="http://schemas.openxmlformats.org/officeDocument/2006/relationships/tags" Target="../tags/tag240.xml"/><Relationship Id="rId60" Type="http://schemas.openxmlformats.org/officeDocument/2006/relationships/tags" Target="../tags/tag248.xml"/><Relationship Id="rId65" Type="http://schemas.openxmlformats.org/officeDocument/2006/relationships/tags" Target="../tags/tag253.xml"/><Relationship Id="rId73" Type="http://schemas.openxmlformats.org/officeDocument/2006/relationships/tags" Target="../tags/tag261.xml"/><Relationship Id="rId78" Type="http://schemas.openxmlformats.org/officeDocument/2006/relationships/tags" Target="../tags/tag266.xml"/><Relationship Id="rId81" Type="http://schemas.openxmlformats.org/officeDocument/2006/relationships/tags" Target="../tags/tag269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39" Type="http://schemas.openxmlformats.org/officeDocument/2006/relationships/tags" Target="../tags/tag227.xml"/><Relationship Id="rId34" Type="http://schemas.openxmlformats.org/officeDocument/2006/relationships/tags" Target="../tags/tag222.xml"/><Relationship Id="rId50" Type="http://schemas.openxmlformats.org/officeDocument/2006/relationships/tags" Target="../tags/tag238.xml"/><Relationship Id="rId55" Type="http://schemas.openxmlformats.org/officeDocument/2006/relationships/tags" Target="../tags/tag243.xml"/><Relationship Id="rId76" Type="http://schemas.openxmlformats.org/officeDocument/2006/relationships/tags" Target="../tags/tag264.xml"/><Relationship Id="rId7" Type="http://schemas.openxmlformats.org/officeDocument/2006/relationships/tags" Target="../tags/tag195.xml"/><Relationship Id="rId71" Type="http://schemas.openxmlformats.org/officeDocument/2006/relationships/tags" Target="../tags/tag259.xml"/><Relationship Id="rId2" Type="http://schemas.openxmlformats.org/officeDocument/2006/relationships/tags" Target="../tags/tag190.xml"/><Relationship Id="rId29" Type="http://schemas.openxmlformats.org/officeDocument/2006/relationships/tags" Target="../tags/tag217.xml"/><Relationship Id="rId24" Type="http://schemas.openxmlformats.org/officeDocument/2006/relationships/tags" Target="../tags/tag212.xml"/><Relationship Id="rId40" Type="http://schemas.openxmlformats.org/officeDocument/2006/relationships/tags" Target="../tags/tag228.xml"/><Relationship Id="rId45" Type="http://schemas.openxmlformats.org/officeDocument/2006/relationships/tags" Target="../tags/tag233.xml"/><Relationship Id="rId66" Type="http://schemas.openxmlformats.org/officeDocument/2006/relationships/tags" Target="../tags/tag25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82.xml"/><Relationship Id="rId18" Type="http://schemas.openxmlformats.org/officeDocument/2006/relationships/tags" Target="../tags/tag287.xml"/><Relationship Id="rId26" Type="http://schemas.openxmlformats.org/officeDocument/2006/relationships/tags" Target="../tags/tag295.xml"/><Relationship Id="rId39" Type="http://schemas.openxmlformats.org/officeDocument/2006/relationships/tags" Target="../tags/tag308.xml"/><Relationship Id="rId21" Type="http://schemas.openxmlformats.org/officeDocument/2006/relationships/tags" Target="../tags/tag290.xml"/><Relationship Id="rId34" Type="http://schemas.openxmlformats.org/officeDocument/2006/relationships/tags" Target="../tags/tag303.xml"/><Relationship Id="rId42" Type="http://schemas.openxmlformats.org/officeDocument/2006/relationships/tags" Target="../tags/tag311.xml"/><Relationship Id="rId47" Type="http://schemas.openxmlformats.org/officeDocument/2006/relationships/tags" Target="../tags/tag316.xml"/><Relationship Id="rId7" Type="http://schemas.openxmlformats.org/officeDocument/2006/relationships/tags" Target="../tags/tag276.xml"/><Relationship Id="rId2" Type="http://schemas.openxmlformats.org/officeDocument/2006/relationships/tags" Target="../tags/tag271.xml"/><Relationship Id="rId16" Type="http://schemas.openxmlformats.org/officeDocument/2006/relationships/tags" Target="../tags/tag285.xml"/><Relationship Id="rId29" Type="http://schemas.openxmlformats.org/officeDocument/2006/relationships/tags" Target="../tags/tag298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tags" Target="../tags/tag280.xml"/><Relationship Id="rId24" Type="http://schemas.openxmlformats.org/officeDocument/2006/relationships/tags" Target="../tags/tag293.xml"/><Relationship Id="rId32" Type="http://schemas.openxmlformats.org/officeDocument/2006/relationships/tags" Target="../tags/tag301.xml"/><Relationship Id="rId37" Type="http://schemas.openxmlformats.org/officeDocument/2006/relationships/tags" Target="../tags/tag306.xml"/><Relationship Id="rId40" Type="http://schemas.openxmlformats.org/officeDocument/2006/relationships/tags" Target="../tags/tag309.xml"/><Relationship Id="rId45" Type="http://schemas.openxmlformats.org/officeDocument/2006/relationships/tags" Target="../tags/tag314.xml"/><Relationship Id="rId5" Type="http://schemas.openxmlformats.org/officeDocument/2006/relationships/tags" Target="../tags/tag274.xml"/><Relationship Id="rId15" Type="http://schemas.openxmlformats.org/officeDocument/2006/relationships/tags" Target="../tags/tag284.xml"/><Relationship Id="rId23" Type="http://schemas.openxmlformats.org/officeDocument/2006/relationships/tags" Target="../tags/tag292.xml"/><Relationship Id="rId28" Type="http://schemas.openxmlformats.org/officeDocument/2006/relationships/tags" Target="../tags/tag297.xml"/><Relationship Id="rId36" Type="http://schemas.openxmlformats.org/officeDocument/2006/relationships/tags" Target="../tags/tag305.xml"/><Relationship Id="rId10" Type="http://schemas.openxmlformats.org/officeDocument/2006/relationships/tags" Target="../tags/tag279.xml"/><Relationship Id="rId19" Type="http://schemas.openxmlformats.org/officeDocument/2006/relationships/tags" Target="../tags/tag288.xml"/><Relationship Id="rId31" Type="http://schemas.openxmlformats.org/officeDocument/2006/relationships/tags" Target="../tags/tag300.xml"/><Relationship Id="rId44" Type="http://schemas.openxmlformats.org/officeDocument/2006/relationships/tags" Target="../tags/tag313.xml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tags" Target="../tags/tag283.xml"/><Relationship Id="rId22" Type="http://schemas.openxmlformats.org/officeDocument/2006/relationships/tags" Target="../tags/tag291.xml"/><Relationship Id="rId27" Type="http://schemas.openxmlformats.org/officeDocument/2006/relationships/tags" Target="../tags/tag296.xml"/><Relationship Id="rId30" Type="http://schemas.openxmlformats.org/officeDocument/2006/relationships/tags" Target="../tags/tag299.xml"/><Relationship Id="rId35" Type="http://schemas.openxmlformats.org/officeDocument/2006/relationships/tags" Target="../tags/tag304.xml"/><Relationship Id="rId43" Type="http://schemas.openxmlformats.org/officeDocument/2006/relationships/tags" Target="../tags/tag312.xml"/><Relationship Id="rId48" Type="http://schemas.openxmlformats.org/officeDocument/2006/relationships/slideLayout" Target="../slideLayouts/slideLayout17.xml"/><Relationship Id="rId8" Type="http://schemas.openxmlformats.org/officeDocument/2006/relationships/tags" Target="../tags/tag277.xml"/><Relationship Id="rId3" Type="http://schemas.openxmlformats.org/officeDocument/2006/relationships/tags" Target="../tags/tag272.xml"/><Relationship Id="rId12" Type="http://schemas.openxmlformats.org/officeDocument/2006/relationships/tags" Target="../tags/tag281.xml"/><Relationship Id="rId17" Type="http://schemas.openxmlformats.org/officeDocument/2006/relationships/tags" Target="../tags/tag286.xml"/><Relationship Id="rId25" Type="http://schemas.openxmlformats.org/officeDocument/2006/relationships/tags" Target="../tags/tag294.xml"/><Relationship Id="rId33" Type="http://schemas.openxmlformats.org/officeDocument/2006/relationships/tags" Target="../tags/tag302.xml"/><Relationship Id="rId38" Type="http://schemas.openxmlformats.org/officeDocument/2006/relationships/tags" Target="../tags/tag307.xml"/><Relationship Id="rId46" Type="http://schemas.openxmlformats.org/officeDocument/2006/relationships/tags" Target="../tags/tag315.xml"/><Relationship Id="rId20" Type="http://schemas.openxmlformats.org/officeDocument/2006/relationships/tags" Target="../tags/tag289.xml"/><Relationship Id="rId41" Type="http://schemas.openxmlformats.org/officeDocument/2006/relationships/tags" Target="../tags/tag3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13" Type="http://schemas.openxmlformats.org/officeDocument/2006/relationships/tags" Target="../tags/tag329.xml"/><Relationship Id="rId18" Type="http://schemas.openxmlformats.org/officeDocument/2006/relationships/tags" Target="../tags/tag334.xml"/><Relationship Id="rId3" Type="http://schemas.openxmlformats.org/officeDocument/2006/relationships/tags" Target="../tags/tag319.xml"/><Relationship Id="rId21" Type="http://schemas.openxmlformats.org/officeDocument/2006/relationships/tags" Target="../tags/tag337.xml"/><Relationship Id="rId7" Type="http://schemas.openxmlformats.org/officeDocument/2006/relationships/tags" Target="../tags/tag323.xml"/><Relationship Id="rId12" Type="http://schemas.openxmlformats.org/officeDocument/2006/relationships/tags" Target="../tags/tag328.xml"/><Relationship Id="rId17" Type="http://schemas.openxmlformats.org/officeDocument/2006/relationships/tags" Target="../tags/tag333.xml"/><Relationship Id="rId2" Type="http://schemas.openxmlformats.org/officeDocument/2006/relationships/tags" Target="../tags/tag318.xml"/><Relationship Id="rId16" Type="http://schemas.openxmlformats.org/officeDocument/2006/relationships/tags" Target="../tags/tag332.xml"/><Relationship Id="rId20" Type="http://schemas.openxmlformats.org/officeDocument/2006/relationships/tags" Target="../tags/tag336.xml"/><Relationship Id="rId1" Type="http://schemas.openxmlformats.org/officeDocument/2006/relationships/tags" Target="../tags/tag317.xml"/><Relationship Id="rId6" Type="http://schemas.openxmlformats.org/officeDocument/2006/relationships/tags" Target="../tags/tag322.xml"/><Relationship Id="rId11" Type="http://schemas.openxmlformats.org/officeDocument/2006/relationships/tags" Target="../tags/tag327.xml"/><Relationship Id="rId24" Type="http://schemas.openxmlformats.org/officeDocument/2006/relationships/slideLayout" Target="../slideLayouts/slideLayout8.xml"/><Relationship Id="rId5" Type="http://schemas.openxmlformats.org/officeDocument/2006/relationships/tags" Target="../tags/tag321.xml"/><Relationship Id="rId15" Type="http://schemas.openxmlformats.org/officeDocument/2006/relationships/tags" Target="../tags/tag331.xml"/><Relationship Id="rId23" Type="http://schemas.openxmlformats.org/officeDocument/2006/relationships/tags" Target="../tags/tag339.xml"/><Relationship Id="rId10" Type="http://schemas.openxmlformats.org/officeDocument/2006/relationships/tags" Target="../tags/tag326.xml"/><Relationship Id="rId19" Type="http://schemas.openxmlformats.org/officeDocument/2006/relationships/tags" Target="../tags/tag335.xml"/><Relationship Id="rId4" Type="http://schemas.openxmlformats.org/officeDocument/2006/relationships/tags" Target="../tags/tag320.xml"/><Relationship Id="rId9" Type="http://schemas.openxmlformats.org/officeDocument/2006/relationships/tags" Target="../tags/tag325.xml"/><Relationship Id="rId14" Type="http://schemas.openxmlformats.org/officeDocument/2006/relationships/tags" Target="../tags/tag330.xml"/><Relationship Id="rId22" Type="http://schemas.openxmlformats.org/officeDocument/2006/relationships/tags" Target="../tags/tag338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352.xml"/><Relationship Id="rId18" Type="http://schemas.openxmlformats.org/officeDocument/2006/relationships/tags" Target="../tags/tag357.xml"/><Relationship Id="rId26" Type="http://schemas.openxmlformats.org/officeDocument/2006/relationships/tags" Target="../tags/tag365.xml"/><Relationship Id="rId39" Type="http://schemas.openxmlformats.org/officeDocument/2006/relationships/tags" Target="../tags/tag378.xml"/><Relationship Id="rId21" Type="http://schemas.openxmlformats.org/officeDocument/2006/relationships/tags" Target="../tags/tag360.xml"/><Relationship Id="rId34" Type="http://schemas.openxmlformats.org/officeDocument/2006/relationships/tags" Target="../tags/tag373.xml"/><Relationship Id="rId42" Type="http://schemas.openxmlformats.org/officeDocument/2006/relationships/tags" Target="../tags/tag381.xml"/><Relationship Id="rId47" Type="http://schemas.openxmlformats.org/officeDocument/2006/relationships/tags" Target="../tags/tag386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6" Type="http://schemas.openxmlformats.org/officeDocument/2006/relationships/tags" Target="../tags/tag355.xml"/><Relationship Id="rId29" Type="http://schemas.openxmlformats.org/officeDocument/2006/relationships/tags" Target="../tags/tag368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11" Type="http://schemas.openxmlformats.org/officeDocument/2006/relationships/tags" Target="../tags/tag350.xml"/><Relationship Id="rId24" Type="http://schemas.openxmlformats.org/officeDocument/2006/relationships/tags" Target="../tags/tag363.xml"/><Relationship Id="rId32" Type="http://schemas.openxmlformats.org/officeDocument/2006/relationships/tags" Target="../tags/tag371.xml"/><Relationship Id="rId37" Type="http://schemas.openxmlformats.org/officeDocument/2006/relationships/tags" Target="../tags/tag376.xml"/><Relationship Id="rId40" Type="http://schemas.openxmlformats.org/officeDocument/2006/relationships/tags" Target="../tags/tag379.xml"/><Relationship Id="rId45" Type="http://schemas.openxmlformats.org/officeDocument/2006/relationships/tags" Target="../tags/tag384.xml"/><Relationship Id="rId5" Type="http://schemas.openxmlformats.org/officeDocument/2006/relationships/tags" Target="../tags/tag344.xml"/><Relationship Id="rId15" Type="http://schemas.openxmlformats.org/officeDocument/2006/relationships/tags" Target="../tags/tag354.xml"/><Relationship Id="rId23" Type="http://schemas.openxmlformats.org/officeDocument/2006/relationships/tags" Target="../tags/tag362.xml"/><Relationship Id="rId28" Type="http://schemas.openxmlformats.org/officeDocument/2006/relationships/tags" Target="../tags/tag367.xml"/><Relationship Id="rId36" Type="http://schemas.openxmlformats.org/officeDocument/2006/relationships/tags" Target="../tags/tag375.xml"/><Relationship Id="rId10" Type="http://schemas.openxmlformats.org/officeDocument/2006/relationships/tags" Target="../tags/tag349.xml"/><Relationship Id="rId19" Type="http://schemas.openxmlformats.org/officeDocument/2006/relationships/tags" Target="../tags/tag358.xml"/><Relationship Id="rId31" Type="http://schemas.openxmlformats.org/officeDocument/2006/relationships/tags" Target="../tags/tag370.xml"/><Relationship Id="rId44" Type="http://schemas.openxmlformats.org/officeDocument/2006/relationships/tags" Target="../tags/tag383.xml"/><Relationship Id="rId4" Type="http://schemas.openxmlformats.org/officeDocument/2006/relationships/tags" Target="../tags/tag343.xml"/><Relationship Id="rId9" Type="http://schemas.openxmlformats.org/officeDocument/2006/relationships/tags" Target="../tags/tag348.xml"/><Relationship Id="rId14" Type="http://schemas.openxmlformats.org/officeDocument/2006/relationships/tags" Target="../tags/tag353.xml"/><Relationship Id="rId22" Type="http://schemas.openxmlformats.org/officeDocument/2006/relationships/tags" Target="../tags/tag361.xml"/><Relationship Id="rId27" Type="http://schemas.openxmlformats.org/officeDocument/2006/relationships/tags" Target="../tags/tag366.xml"/><Relationship Id="rId30" Type="http://schemas.openxmlformats.org/officeDocument/2006/relationships/tags" Target="../tags/tag369.xml"/><Relationship Id="rId35" Type="http://schemas.openxmlformats.org/officeDocument/2006/relationships/tags" Target="../tags/tag374.xml"/><Relationship Id="rId43" Type="http://schemas.openxmlformats.org/officeDocument/2006/relationships/tags" Target="../tags/tag382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347.xml"/><Relationship Id="rId3" Type="http://schemas.openxmlformats.org/officeDocument/2006/relationships/tags" Target="../tags/tag342.xml"/><Relationship Id="rId12" Type="http://schemas.openxmlformats.org/officeDocument/2006/relationships/tags" Target="../tags/tag351.xml"/><Relationship Id="rId17" Type="http://schemas.openxmlformats.org/officeDocument/2006/relationships/tags" Target="../tags/tag356.xml"/><Relationship Id="rId25" Type="http://schemas.openxmlformats.org/officeDocument/2006/relationships/tags" Target="../tags/tag364.xml"/><Relationship Id="rId33" Type="http://schemas.openxmlformats.org/officeDocument/2006/relationships/tags" Target="../tags/tag372.xml"/><Relationship Id="rId38" Type="http://schemas.openxmlformats.org/officeDocument/2006/relationships/tags" Target="../tags/tag377.xml"/><Relationship Id="rId46" Type="http://schemas.openxmlformats.org/officeDocument/2006/relationships/tags" Target="../tags/tag385.xml"/><Relationship Id="rId20" Type="http://schemas.openxmlformats.org/officeDocument/2006/relationships/tags" Target="../tags/tag359.xml"/><Relationship Id="rId41" Type="http://schemas.openxmlformats.org/officeDocument/2006/relationships/tags" Target="../tags/tag38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13" Type="http://schemas.openxmlformats.org/officeDocument/2006/relationships/tags" Target="../tags/tag399.xml"/><Relationship Id="rId18" Type="http://schemas.openxmlformats.org/officeDocument/2006/relationships/tags" Target="../tags/tag404.xml"/><Relationship Id="rId26" Type="http://schemas.openxmlformats.org/officeDocument/2006/relationships/slideLayout" Target="../slideLayouts/slideLayout8.xml"/><Relationship Id="rId3" Type="http://schemas.openxmlformats.org/officeDocument/2006/relationships/tags" Target="../tags/tag389.xml"/><Relationship Id="rId21" Type="http://schemas.openxmlformats.org/officeDocument/2006/relationships/tags" Target="../tags/tag407.xml"/><Relationship Id="rId7" Type="http://schemas.openxmlformats.org/officeDocument/2006/relationships/tags" Target="../tags/tag393.xml"/><Relationship Id="rId12" Type="http://schemas.openxmlformats.org/officeDocument/2006/relationships/tags" Target="../tags/tag398.xml"/><Relationship Id="rId17" Type="http://schemas.openxmlformats.org/officeDocument/2006/relationships/tags" Target="../tags/tag403.xml"/><Relationship Id="rId25" Type="http://schemas.openxmlformats.org/officeDocument/2006/relationships/tags" Target="../tags/tag411.xml"/><Relationship Id="rId2" Type="http://schemas.openxmlformats.org/officeDocument/2006/relationships/tags" Target="../tags/tag388.xml"/><Relationship Id="rId16" Type="http://schemas.openxmlformats.org/officeDocument/2006/relationships/tags" Target="../tags/tag402.xml"/><Relationship Id="rId20" Type="http://schemas.openxmlformats.org/officeDocument/2006/relationships/tags" Target="../tags/tag406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tags" Target="../tags/tag397.xml"/><Relationship Id="rId24" Type="http://schemas.openxmlformats.org/officeDocument/2006/relationships/tags" Target="../tags/tag410.xml"/><Relationship Id="rId5" Type="http://schemas.openxmlformats.org/officeDocument/2006/relationships/tags" Target="../tags/tag391.xml"/><Relationship Id="rId15" Type="http://schemas.openxmlformats.org/officeDocument/2006/relationships/tags" Target="../tags/tag401.xml"/><Relationship Id="rId23" Type="http://schemas.openxmlformats.org/officeDocument/2006/relationships/tags" Target="../tags/tag409.xml"/><Relationship Id="rId10" Type="http://schemas.openxmlformats.org/officeDocument/2006/relationships/tags" Target="../tags/tag396.xml"/><Relationship Id="rId19" Type="http://schemas.openxmlformats.org/officeDocument/2006/relationships/tags" Target="../tags/tag405.xml"/><Relationship Id="rId4" Type="http://schemas.openxmlformats.org/officeDocument/2006/relationships/tags" Target="../tags/tag390.xml"/><Relationship Id="rId9" Type="http://schemas.openxmlformats.org/officeDocument/2006/relationships/tags" Target="../tags/tag395.xml"/><Relationship Id="rId14" Type="http://schemas.openxmlformats.org/officeDocument/2006/relationships/tags" Target="../tags/tag400.xml"/><Relationship Id="rId22" Type="http://schemas.openxmlformats.org/officeDocument/2006/relationships/tags" Target="../tags/tag408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424.xml"/><Relationship Id="rId18" Type="http://schemas.openxmlformats.org/officeDocument/2006/relationships/tags" Target="../tags/tag429.xml"/><Relationship Id="rId26" Type="http://schemas.openxmlformats.org/officeDocument/2006/relationships/tags" Target="../tags/tag437.xml"/><Relationship Id="rId39" Type="http://schemas.openxmlformats.org/officeDocument/2006/relationships/tags" Target="../tags/tag450.xml"/><Relationship Id="rId21" Type="http://schemas.openxmlformats.org/officeDocument/2006/relationships/tags" Target="../tags/tag432.xml"/><Relationship Id="rId34" Type="http://schemas.openxmlformats.org/officeDocument/2006/relationships/tags" Target="../tags/tag445.xml"/><Relationship Id="rId42" Type="http://schemas.openxmlformats.org/officeDocument/2006/relationships/tags" Target="../tags/tag453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6" Type="http://schemas.openxmlformats.org/officeDocument/2006/relationships/tags" Target="../tags/tag427.xml"/><Relationship Id="rId29" Type="http://schemas.openxmlformats.org/officeDocument/2006/relationships/tags" Target="../tags/tag440.xml"/><Relationship Id="rId1" Type="http://schemas.openxmlformats.org/officeDocument/2006/relationships/tags" Target="../tags/tag412.xml"/><Relationship Id="rId6" Type="http://schemas.openxmlformats.org/officeDocument/2006/relationships/tags" Target="../tags/tag417.xml"/><Relationship Id="rId11" Type="http://schemas.openxmlformats.org/officeDocument/2006/relationships/tags" Target="../tags/tag422.xml"/><Relationship Id="rId24" Type="http://schemas.openxmlformats.org/officeDocument/2006/relationships/tags" Target="../tags/tag435.xml"/><Relationship Id="rId32" Type="http://schemas.openxmlformats.org/officeDocument/2006/relationships/tags" Target="../tags/tag443.xml"/><Relationship Id="rId37" Type="http://schemas.openxmlformats.org/officeDocument/2006/relationships/tags" Target="../tags/tag448.xml"/><Relationship Id="rId40" Type="http://schemas.openxmlformats.org/officeDocument/2006/relationships/tags" Target="../tags/tag451.xml"/><Relationship Id="rId45" Type="http://schemas.openxmlformats.org/officeDocument/2006/relationships/tags" Target="../tags/tag456.xml"/><Relationship Id="rId5" Type="http://schemas.openxmlformats.org/officeDocument/2006/relationships/tags" Target="../tags/tag416.xml"/><Relationship Id="rId15" Type="http://schemas.openxmlformats.org/officeDocument/2006/relationships/tags" Target="../tags/tag426.xml"/><Relationship Id="rId23" Type="http://schemas.openxmlformats.org/officeDocument/2006/relationships/tags" Target="../tags/tag434.xml"/><Relationship Id="rId28" Type="http://schemas.openxmlformats.org/officeDocument/2006/relationships/tags" Target="../tags/tag439.xml"/><Relationship Id="rId36" Type="http://schemas.openxmlformats.org/officeDocument/2006/relationships/tags" Target="../tags/tag447.xml"/><Relationship Id="rId10" Type="http://schemas.openxmlformats.org/officeDocument/2006/relationships/tags" Target="../tags/tag421.xml"/><Relationship Id="rId19" Type="http://schemas.openxmlformats.org/officeDocument/2006/relationships/tags" Target="../tags/tag430.xml"/><Relationship Id="rId31" Type="http://schemas.openxmlformats.org/officeDocument/2006/relationships/tags" Target="../tags/tag442.xml"/><Relationship Id="rId44" Type="http://schemas.openxmlformats.org/officeDocument/2006/relationships/tags" Target="../tags/tag455.xml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4" Type="http://schemas.openxmlformats.org/officeDocument/2006/relationships/tags" Target="../tags/tag425.xml"/><Relationship Id="rId22" Type="http://schemas.openxmlformats.org/officeDocument/2006/relationships/tags" Target="../tags/tag433.xml"/><Relationship Id="rId27" Type="http://schemas.openxmlformats.org/officeDocument/2006/relationships/tags" Target="../tags/tag438.xml"/><Relationship Id="rId30" Type="http://schemas.openxmlformats.org/officeDocument/2006/relationships/tags" Target="../tags/tag441.xml"/><Relationship Id="rId35" Type="http://schemas.openxmlformats.org/officeDocument/2006/relationships/tags" Target="../tags/tag446.xml"/><Relationship Id="rId43" Type="http://schemas.openxmlformats.org/officeDocument/2006/relationships/tags" Target="../tags/tag454.xml"/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12" Type="http://schemas.openxmlformats.org/officeDocument/2006/relationships/tags" Target="../tags/tag423.xml"/><Relationship Id="rId17" Type="http://schemas.openxmlformats.org/officeDocument/2006/relationships/tags" Target="../tags/tag428.xml"/><Relationship Id="rId25" Type="http://schemas.openxmlformats.org/officeDocument/2006/relationships/tags" Target="../tags/tag436.xml"/><Relationship Id="rId33" Type="http://schemas.openxmlformats.org/officeDocument/2006/relationships/tags" Target="../tags/tag444.xml"/><Relationship Id="rId38" Type="http://schemas.openxmlformats.org/officeDocument/2006/relationships/tags" Target="../tags/tag449.xml"/><Relationship Id="rId46" Type="http://schemas.openxmlformats.org/officeDocument/2006/relationships/slideLayout" Target="../slideLayouts/slideLayout8.xml"/><Relationship Id="rId20" Type="http://schemas.openxmlformats.org/officeDocument/2006/relationships/tags" Target="../tags/tag431.xml"/><Relationship Id="rId41" Type="http://schemas.openxmlformats.org/officeDocument/2006/relationships/tags" Target="../tags/tag45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482.xml"/><Relationship Id="rId21" Type="http://schemas.openxmlformats.org/officeDocument/2006/relationships/tags" Target="../tags/tag477.xml"/><Relationship Id="rId42" Type="http://schemas.openxmlformats.org/officeDocument/2006/relationships/tags" Target="../tags/tag498.xml"/><Relationship Id="rId47" Type="http://schemas.openxmlformats.org/officeDocument/2006/relationships/tags" Target="../tags/tag503.xml"/><Relationship Id="rId63" Type="http://schemas.openxmlformats.org/officeDocument/2006/relationships/tags" Target="../tags/tag519.xml"/><Relationship Id="rId68" Type="http://schemas.openxmlformats.org/officeDocument/2006/relationships/tags" Target="../tags/tag524.xml"/><Relationship Id="rId84" Type="http://schemas.openxmlformats.org/officeDocument/2006/relationships/tags" Target="../tags/tag540.xml"/><Relationship Id="rId89" Type="http://schemas.openxmlformats.org/officeDocument/2006/relationships/tags" Target="../tags/tag545.xml"/><Relationship Id="rId16" Type="http://schemas.openxmlformats.org/officeDocument/2006/relationships/tags" Target="../tags/tag472.xml"/><Relationship Id="rId11" Type="http://schemas.openxmlformats.org/officeDocument/2006/relationships/tags" Target="../tags/tag467.xml"/><Relationship Id="rId32" Type="http://schemas.openxmlformats.org/officeDocument/2006/relationships/tags" Target="../tags/tag488.xml"/><Relationship Id="rId37" Type="http://schemas.openxmlformats.org/officeDocument/2006/relationships/tags" Target="../tags/tag493.xml"/><Relationship Id="rId53" Type="http://schemas.openxmlformats.org/officeDocument/2006/relationships/tags" Target="../tags/tag509.xml"/><Relationship Id="rId58" Type="http://schemas.openxmlformats.org/officeDocument/2006/relationships/tags" Target="../tags/tag514.xml"/><Relationship Id="rId74" Type="http://schemas.openxmlformats.org/officeDocument/2006/relationships/tags" Target="../tags/tag530.xml"/><Relationship Id="rId79" Type="http://schemas.openxmlformats.org/officeDocument/2006/relationships/tags" Target="../tags/tag535.xml"/><Relationship Id="rId102" Type="http://schemas.openxmlformats.org/officeDocument/2006/relationships/slideLayout" Target="../slideLayouts/slideLayout8.xml"/><Relationship Id="rId5" Type="http://schemas.openxmlformats.org/officeDocument/2006/relationships/tags" Target="../tags/tag461.xml"/><Relationship Id="rId90" Type="http://schemas.openxmlformats.org/officeDocument/2006/relationships/tags" Target="../tags/tag546.xml"/><Relationship Id="rId95" Type="http://schemas.openxmlformats.org/officeDocument/2006/relationships/tags" Target="../tags/tag551.xml"/><Relationship Id="rId22" Type="http://schemas.openxmlformats.org/officeDocument/2006/relationships/tags" Target="../tags/tag478.xml"/><Relationship Id="rId27" Type="http://schemas.openxmlformats.org/officeDocument/2006/relationships/tags" Target="../tags/tag483.xml"/><Relationship Id="rId43" Type="http://schemas.openxmlformats.org/officeDocument/2006/relationships/tags" Target="../tags/tag499.xml"/><Relationship Id="rId48" Type="http://schemas.openxmlformats.org/officeDocument/2006/relationships/tags" Target="../tags/tag504.xml"/><Relationship Id="rId64" Type="http://schemas.openxmlformats.org/officeDocument/2006/relationships/tags" Target="../tags/tag520.xml"/><Relationship Id="rId69" Type="http://schemas.openxmlformats.org/officeDocument/2006/relationships/tags" Target="../tags/tag525.xml"/><Relationship Id="rId80" Type="http://schemas.openxmlformats.org/officeDocument/2006/relationships/tags" Target="../tags/tag536.xml"/><Relationship Id="rId85" Type="http://schemas.openxmlformats.org/officeDocument/2006/relationships/tags" Target="../tags/tag541.xml"/><Relationship Id="rId12" Type="http://schemas.openxmlformats.org/officeDocument/2006/relationships/tags" Target="../tags/tag468.xml"/><Relationship Id="rId17" Type="http://schemas.openxmlformats.org/officeDocument/2006/relationships/tags" Target="../tags/tag473.xml"/><Relationship Id="rId25" Type="http://schemas.openxmlformats.org/officeDocument/2006/relationships/tags" Target="../tags/tag481.xml"/><Relationship Id="rId33" Type="http://schemas.openxmlformats.org/officeDocument/2006/relationships/tags" Target="../tags/tag489.xml"/><Relationship Id="rId38" Type="http://schemas.openxmlformats.org/officeDocument/2006/relationships/tags" Target="../tags/tag494.xml"/><Relationship Id="rId46" Type="http://schemas.openxmlformats.org/officeDocument/2006/relationships/tags" Target="../tags/tag502.xml"/><Relationship Id="rId59" Type="http://schemas.openxmlformats.org/officeDocument/2006/relationships/tags" Target="../tags/tag515.xml"/><Relationship Id="rId67" Type="http://schemas.openxmlformats.org/officeDocument/2006/relationships/tags" Target="../tags/tag523.xml"/><Relationship Id="rId20" Type="http://schemas.openxmlformats.org/officeDocument/2006/relationships/tags" Target="../tags/tag476.xml"/><Relationship Id="rId41" Type="http://schemas.openxmlformats.org/officeDocument/2006/relationships/tags" Target="../tags/tag497.xml"/><Relationship Id="rId54" Type="http://schemas.openxmlformats.org/officeDocument/2006/relationships/tags" Target="../tags/tag510.xml"/><Relationship Id="rId62" Type="http://schemas.openxmlformats.org/officeDocument/2006/relationships/tags" Target="../tags/tag518.xml"/><Relationship Id="rId70" Type="http://schemas.openxmlformats.org/officeDocument/2006/relationships/tags" Target="../tags/tag526.xml"/><Relationship Id="rId75" Type="http://schemas.openxmlformats.org/officeDocument/2006/relationships/tags" Target="../tags/tag531.xml"/><Relationship Id="rId83" Type="http://schemas.openxmlformats.org/officeDocument/2006/relationships/tags" Target="../tags/tag539.xml"/><Relationship Id="rId88" Type="http://schemas.openxmlformats.org/officeDocument/2006/relationships/tags" Target="../tags/tag544.xml"/><Relationship Id="rId91" Type="http://schemas.openxmlformats.org/officeDocument/2006/relationships/tags" Target="../tags/tag547.xml"/><Relationship Id="rId96" Type="http://schemas.openxmlformats.org/officeDocument/2006/relationships/tags" Target="../tags/tag552.xml"/><Relationship Id="rId1" Type="http://schemas.openxmlformats.org/officeDocument/2006/relationships/tags" Target="../tags/tag457.xml"/><Relationship Id="rId6" Type="http://schemas.openxmlformats.org/officeDocument/2006/relationships/tags" Target="../tags/tag462.xml"/><Relationship Id="rId15" Type="http://schemas.openxmlformats.org/officeDocument/2006/relationships/tags" Target="../tags/tag471.xml"/><Relationship Id="rId23" Type="http://schemas.openxmlformats.org/officeDocument/2006/relationships/tags" Target="../tags/tag479.xml"/><Relationship Id="rId28" Type="http://schemas.openxmlformats.org/officeDocument/2006/relationships/tags" Target="../tags/tag484.xml"/><Relationship Id="rId36" Type="http://schemas.openxmlformats.org/officeDocument/2006/relationships/tags" Target="../tags/tag492.xml"/><Relationship Id="rId49" Type="http://schemas.openxmlformats.org/officeDocument/2006/relationships/tags" Target="../tags/tag505.xml"/><Relationship Id="rId57" Type="http://schemas.openxmlformats.org/officeDocument/2006/relationships/tags" Target="../tags/tag513.xml"/><Relationship Id="rId10" Type="http://schemas.openxmlformats.org/officeDocument/2006/relationships/tags" Target="../tags/tag466.xml"/><Relationship Id="rId31" Type="http://schemas.openxmlformats.org/officeDocument/2006/relationships/tags" Target="../tags/tag487.xml"/><Relationship Id="rId44" Type="http://schemas.openxmlformats.org/officeDocument/2006/relationships/tags" Target="../tags/tag500.xml"/><Relationship Id="rId52" Type="http://schemas.openxmlformats.org/officeDocument/2006/relationships/tags" Target="../tags/tag508.xml"/><Relationship Id="rId60" Type="http://schemas.openxmlformats.org/officeDocument/2006/relationships/tags" Target="../tags/tag516.xml"/><Relationship Id="rId65" Type="http://schemas.openxmlformats.org/officeDocument/2006/relationships/tags" Target="../tags/tag521.xml"/><Relationship Id="rId73" Type="http://schemas.openxmlformats.org/officeDocument/2006/relationships/tags" Target="../tags/tag529.xml"/><Relationship Id="rId78" Type="http://schemas.openxmlformats.org/officeDocument/2006/relationships/tags" Target="../tags/tag534.xml"/><Relationship Id="rId81" Type="http://schemas.openxmlformats.org/officeDocument/2006/relationships/tags" Target="../tags/tag537.xml"/><Relationship Id="rId86" Type="http://schemas.openxmlformats.org/officeDocument/2006/relationships/tags" Target="../tags/tag542.xml"/><Relationship Id="rId94" Type="http://schemas.openxmlformats.org/officeDocument/2006/relationships/tags" Target="../tags/tag550.xml"/><Relationship Id="rId99" Type="http://schemas.openxmlformats.org/officeDocument/2006/relationships/tags" Target="../tags/tag555.xml"/><Relationship Id="rId101" Type="http://schemas.openxmlformats.org/officeDocument/2006/relationships/tags" Target="../tags/tag557.xml"/><Relationship Id="rId4" Type="http://schemas.openxmlformats.org/officeDocument/2006/relationships/tags" Target="../tags/tag460.xml"/><Relationship Id="rId9" Type="http://schemas.openxmlformats.org/officeDocument/2006/relationships/tags" Target="../tags/tag465.xml"/><Relationship Id="rId13" Type="http://schemas.openxmlformats.org/officeDocument/2006/relationships/tags" Target="../tags/tag469.xml"/><Relationship Id="rId18" Type="http://schemas.openxmlformats.org/officeDocument/2006/relationships/tags" Target="../tags/tag474.xml"/><Relationship Id="rId39" Type="http://schemas.openxmlformats.org/officeDocument/2006/relationships/tags" Target="../tags/tag495.xml"/><Relationship Id="rId34" Type="http://schemas.openxmlformats.org/officeDocument/2006/relationships/tags" Target="../tags/tag490.xml"/><Relationship Id="rId50" Type="http://schemas.openxmlformats.org/officeDocument/2006/relationships/tags" Target="../tags/tag506.xml"/><Relationship Id="rId55" Type="http://schemas.openxmlformats.org/officeDocument/2006/relationships/tags" Target="../tags/tag511.xml"/><Relationship Id="rId76" Type="http://schemas.openxmlformats.org/officeDocument/2006/relationships/tags" Target="../tags/tag532.xml"/><Relationship Id="rId97" Type="http://schemas.openxmlformats.org/officeDocument/2006/relationships/tags" Target="../tags/tag553.xml"/><Relationship Id="rId7" Type="http://schemas.openxmlformats.org/officeDocument/2006/relationships/tags" Target="../tags/tag463.xml"/><Relationship Id="rId71" Type="http://schemas.openxmlformats.org/officeDocument/2006/relationships/tags" Target="../tags/tag527.xml"/><Relationship Id="rId92" Type="http://schemas.openxmlformats.org/officeDocument/2006/relationships/tags" Target="../tags/tag548.xml"/><Relationship Id="rId2" Type="http://schemas.openxmlformats.org/officeDocument/2006/relationships/tags" Target="../tags/tag458.xml"/><Relationship Id="rId29" Type="http://schemas.openxmlformats.org/officeDocument/2006/relationships/tags" Target="../tags/tag485.xml"/><Relationship Id="rId24" Type="http://schemas.openxmlformats.org/officeDocument/2006/relationships/tags" Target="../tags/tag480.xml"/><Relationship Id="rId40" Type="http://schemas.openxmlformats.org/officeDocument/2006/relationships/tags" Target="../tags/tag496.xml"/><Relationship Id="rId45" Type="http://schemas.openxmlformats.org/officeDocument/2006/relationships/tags" Target="../tags/tag501.xml"/><Relationship Id="rId66" Type="http://schemas.openxmlformats.org/officeDocument/2006/relationships/tags" Target="../tags/tag522.xml"/><Relationship Id="rId87" Type="http://schemas.openxmlformats.org/officeDocument/2006/relationships/tags" Target="../tags/tag543.xml"/><Relationship Id="rId61" Type="http://schemas.openxmlformats.org/officeDocument/2006/relationships/tags" Target="../tags/tag517.xml"/><Relationship Id="rId82" Type="http://schemas.openxmlformats.org/officeDocument/2006/relationships/tags" Target="../tags/tag538.xml"/><Relationship Id="rId19" Type="http://schemas.openxmlformats.org/officeDocument/2006/relationships/tags" Target="../tags/tag475.xml"/><Relationship Id="rId14" Type="http://schemas.openxmlformats.org/officeDocument/2006/relationships/tags" Target="../tags/tag470.xml"/><Relationship Id="rId30" Type="http://schemas.openxmlformats.org/officeDocument/2006/relationships/tags" Target="../tags/tag486.xml"/><Relationship Id="rId35" Type="http://schemas.openxmlformats.org/officeDocument/2006/relationships/tags" Target="../tags/tag491.xml"/><Relationship Id="rId56" Type="http://schemas.openxmlformats.org/officeDocument/2006/relationships/tags" Target="../tags/tag512.xml"/><Relationship Id="rId77" Type="http://schemas.openxmlformats.org/officeDocument/2006/relationships/tags" Target="../tags/tag533.xml"/><Relationship Id="rId100" Type="http://schemas.openxmlformats.org/officeDocument/2006/relationships/tags" Target="../tags/tag556.xml"/><Relationship Id="rId8" Type="http://schemas.openxmlformats.org/officeDocument/2006/relationships/tags" Target="../tags/tag464.xml"/><Relationship Id="rId51" Type="http://schemas.openxmlformats.org/officeDocument/2006/relationships/tags" Target="../tags/tag507.xml"/><Relationship Id="rId72" Type="http://schemas.openxmlformats.org/officeDocument/2006/relationships/tags" Target="../tags/tag528.xml"/><Relationship Id="rId93" Type="http://schemas.openxmlformats.org/officeDocument/2006/relationships/tags" Target="../tags/tag549.xml"/><Relationship Id="rId98" Type="http://schemas.openxmlformats.org/officeDocument/2006/relationships/tags" Target="../tags/tag554.xml"/><Relationship Id="rId3" Type="http://schemas.openxmlformats.org/officeDocument/2006/relationships/tags" Target="../tags/tag45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565.xml"/><Relationship Id="rId13" Type="http://schemas.openxmlformats.org/officeDocument/2006/relationships/tags" Target="../tags/tag570.xml"/><Relationship Id="rId3" Type="http://schemas.openxmlformats.org/officeDocument/2006/relationships/tags" Target="../tags/tag560.xml"/><Relationship Id="rId7" Type="http://schemas.openxmlformats.org/officeDocument/2006/relationships/tags" Target="../tags/tag564.xml"/><Relationship Id="rId12" Type="http://schemas.openxmlformats.org/officeDocument/2006/relationships/tags" Target="../tags/tag569.xml"/><Relationship Id="rId2" Type="http://schemas.openxmlformats.org/officeDocument/2006/relationships/tags" Target="../tags/tag559.xml"/><Relationship Id="rId1" Type="http://schemas.openxmlformats.org/officeDocument/2006/relationships/tags" Target="../tags/tag558.xml"/><Relationship Id="rId6" Type="http://schemas.openxmlformats.org/officeDocument/2006/relationships/tags" Target="../tags/tag563.xml"/><Relationship Id="rId11" Type="http://schemas.openxmlformats.org/officeDocument/2006/relationships/tags" Target="../tags/tag568.xml"/><Relationship Id="rId5" Type="http://schemas.openxmlformats.org/officeDocument/2006/relationships/tags" Target="../tags/tag562.xml"/><Relationship Id="rId10" Type="http://schemas.openxmlformats.org/officeDocument/2006/relationships/tags" Target="../tags/tag567.xml"/><Relationship Id="rId4" Type="http://schemas.openxmlformats.org/officeDocument/2006/relationships/tags" Target="../tags/tag561.xml"/><Relationship Id="rId9" Type="http://schemas.openxmlformats.org/officeDocument/2006/relationships/tags" Target="../tags/tag566.xml"/><Relationship Id="rId14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578.xml"/><Relationship Id="rId13" Type="http://schemas.openxmlformats.org/officeDocument/2006/relationships/tags" Target="../tags/tag583.xml"/><Relationship Id="rId18" Type="http://schemas.openxmlformats.org/officeDocument/2006/relationships/tags" Target="../tags/tag588.xml"/><Relationship Id="rId26" Type="http://schemas.openxmlformats.org/officeDocument/2006/relationships/tags" Target="../tags/tag596.xml"/><Relationship Id="rId3" Type="http://schemas.openxmlformats.org/officeDocument/2006/relationships/tags" Target="../tags/tag573.xml"/><Relationship Id="rId21" Type="http://schemas.openxmlformats.org/officeDocument/2006/relationships/tags" Target="../tags/tag591.xml"/><Relationship Id="rId7" Type="http://schemas.openxmlformats.org/officeDocument/2006/relationships/tags" Target="../tags/tag577.xml"/><Relationship Id="rId12" Type="http://schemas.openxmlformats.org/officeDocument/2006/relationships/tags" Target="../tags/tag582.xml"/><Relationship Id="rId17" Type="http://schemas.openxmlformats.org/officeDocument/2006/relationships/tags" Target="../tags/tag587.xml"/><Relationship Id="rId25" Type="http://schemas.openxmlformats.org/officeDocument/2006/relationships/tags" Target="../tags/tag595.xml"/><Relationship Id="rId2" Type="http://schemas.openxmlformats.org/officeDocument/2006/relationships/tags" Target="../tags/tag572.xml"/><Relationship Id="rId16" Type="http://schemas.openxmlformats.org/officeDocument/2006/relationships/tags" Target="../tags/tag586.xml"/><Relationship Id="rId20" Type="http://schemas.openxmlformats.org/officeDocument/2006/relationships/tags" Target="../tags/tag590.xml"/><Relationship Id="rId1" Type="http://schemas.openxmlformats.org/officeDocument/2006/relationships/tags" Target="../tags/tag571.xml"/><Relationship Id="rId6" Type="http://schemas.openxmlformats.org/officeDocument/2006/relationships/tags" Target="../tags/tag576.xml"/><Relationship Id="rId11" Type="http://schemas.openxmlformats.org/officeDocument/2006/relationships/tags" Target="../tags/tag581.xml"/><Relationship Id="rId24" Type="http://schemas.openxmlformats.org/officeDocument/2006/relationships/tags" Target="../tags/tag594.xml"/><Relationship Id="rId5" Type="http://schemas.openxmlformats.org/officeDocument/2006/relationships/tags" Target="../tags/tag575.xml"/><Relationship Id="rId15" Type="http://schemas.openxmlformats.org/officeDocument/2006/relationships/tags" Target="../tags/tag585.xml"/><Relationship Id="rId23" Type="http://schemas.openxmlformats.org/officeDocument/2006/relationships/tags" Target="../tags/tag593.xml"/><Relationship Id="rId10" Type="http://schemas.openxmlformats.org/officeDocument/2006/relationships/tags" Target="../tags/tag580.xml"/><Relationship Id="rId19" Type="http://schemas.openxmlformats.org/officeDocument/2006/relationships/tags" Target="../tags/tag589.xml"/><Relationship Id="rId4" Type="http://schemas.openxmlformats.org/officeDocument/2006/relationships/tags" Target="../tags/tag574.xml"/><Relationship Id="rId9" Type="http://schemas.openxmlformats.org/officeDocument/2006/relationships/tags" Target="../tags/tag579.xml"/><Relationship Id="rId14" Type="http://schemas.openxmlformats.org/officeDocument/2006/relationships/tags" Target="../tags/tag584.xml"/><Relationship Id="rId22" Type="http://schemas.openxmlformats.org/officeDocument/2006/relationships/tags" Target="../tags/tag592.xml"/><Relationship Id="rId27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604.xml"/><Relationship Id="rId13" Type="http://schemas.openxmlformats.org/officeDocument/2006/relationships/tags" Target="../tags/tag609.xml"/><Relationship Id="rId3" Type="http://schemas.openxmlformats.org/officeDocument/2006/relationships/tags" Target="../tags/tag599.xml"/><Relationship Id="rId7" Type="http://schemas.openxmlformats.org/officeDocument/2006/relationships/tags" Target="../tags/tag603.xml"/><Relationship Id="rId12" Type="http://schemas.openxmlformats.org/officeDocument/2006/relationships/tags" Target="../tags/tag608.xml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6" Type="http://schemas.openxmlformats.org/officeDocument/2006/relationships/tags" Target="../tags/tag602.xml"/><Relationship Id="rId11" Type="http://schemas.openxmlformats.org/officeDocument/2006/relationships/tags" Target="../tags/tag607.xml"/><Relationship Id="rId5" Type="http://schemas.openxmlformats.org/officeDocument/2006/relationships/tags" Target="../tags/tag601.xml"/><Relationship Id="rId10" Type="http://schemas.openxmlformats.org/officeDocument/2006/relationships/tags" Target="../tags/tag606.xml"/><Relationship Id="rId4" Type="http://schemas.openxmlformats.org/officeDocument/2006/relationships/tags" Target="../tags/tag600.xml"/><Relationship Id="rId9" Type="http://schemas.openxmlformats.org/officeDocument/2006/relationships/tags" Target="../tags/tag605.xml"/><Relationship Id="rId14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622.xml"/><Relationship Id="rId18" Type="http://schemas.openxmlformats.org/officeDocument/2006/relationships/tags" Target="../tags/tag627.xml"/><Relationship Id="rId26" Type="http://schemas.openxmlformats.org/officeDocument/2006/relationships/tags" Target="../tags/tag635.xml"/><Relationship Id="rId39" Type="http://schemas.openxmlformats.org/officeDocument/2006/relationships/tags" Target="../tags/tag648.xml"/><Relationship Id="rId21" Type="http://schemas.openxmlformats.org/officeDocument/2006/relationships/tags" Target="../tags/tag630.xml"/><Relationship Id="rId34" Type="http://schemas.openxmlformats.org/officeDocument/2006/relationships/tags" Target="../tags/tag643.xml"/><Relationship Id="rId7" Type="http://schemas.openxmlformats.org/officeDocument/2006/relationships/tags" Target="../tags/tag616.xml"/><Relationship Id="rId12" Type="http://schemas.openxmlformats.org/officeDocument/2006/relationships/tags" Target="../tags/tag621.xml"/><Relationship Id="rId17" Type="http://schemas.openxmlformats.org/officeDocument/2006/relationships/tags" Target="../tags/tag626.xml"/><Relationship Id="rId25" Type="http://schemas.openxmlformats.org/officeDocument/2006/relationships/tags" Target="../tags/tag634.xml"/><Relationship Id="rId33" Type="http://schemas.openxmlformats.org/officeDocument/2006/relationships/tags" Target="../tags/tag642.xml"/><Relationship Id="rId38" Type="http://schemas.openxmlformats.org/officeDocument/2006/relationships/tags" Target="../tags/tag647.xml"/><Relationship Id="rId2" Type="http://schemas.openxmlformats.org/officeDocument/2006/relationships/tags" Target="../tags/tag611.xml"/><Relationship Id="rId16" Type="http://schemas.openxmlformats.org/officeDocument/2006/relationships/tags" Target="../tags/tag625.xml"/><Relationship Id="rId20" Type="http://schemas.openxmlformats.org/officeDocument/2006/relationships/tags" Target="../tags/tag629.xml"/><Relationship Id="rId29" Type="http://schemas.openxmlformats.org/officeDocument/2006/relationships/tags" Target="../tags/tag638.xml"/><Relationship Id="rId1" Type="http://schemas.openxmlformats.org/officeDocument/2006/relationships/tags" Target="../tags/tag610.xml"/><Relationship Id="rId6" Type="http://schemas.openxmlformats.org/officeDocument/2006/relationships/tags" Target="../tags/tag615.xml"/><Relationship Id="rId11" Type="http://schemas.openxmlformats.org/officeDocument/2006/relationships/tags" Target="../tags/tag620.xml"/><Relationship Id="rId24" Type="http://schemas.openxmlformats.org/officeDocument/2006/relationships/tags" Target="../tags/tag633.xml"/><Relationship Id="rId32" Type="http://schemas.openxmlformats.org/officeDocument/2006/relationships/tags" Target="../tags/tag641.xml"/><Relationship Id="rId37" Type="http://schemas.openxmlformats.org/officeDocument/2006/relationships/tags" Target="../tags/tag646.xml"/><Relationship Id="rId40" Type="http://schemas.openxmlformats.org/officeDocument/2006/relationships/slideLayout" Target="../slideLayouts/slideLayout7.xml"/><Relationship Id="rId5" Type="http://schemas.openxmlformats.org/officeDocument/2006/relationships/tags" Target="../tags/tag614.xml"/><Relationship Id="rId15" Type="http://schemas.openxmlformats.org/officeDocument/2006/relationships/tags" Target="../tags/tag624.xml"/><Relationship Id="rId23" Type="http://schemas.openxmlformats.org/officeDocument/2006/relationships/tags" Target="../tags/tag632.xml"/><Relationship Id="rId28" Type="http://schemas.openxmlformats.org/officeDocument/2006/relationships/tags" Target="../tags/tag637.xml"/><Relationship Id="rId36" Type="http://schemas.openxmlformats.org/officeDocument/2006/relationships/tags" Target="../tags/tag645.xml"/><Relationship Id="rId10" Type="http://schemas.openxmlformats.org/officeDocument/2006/relationships/tags" Target="../tags/tag619.xml"/><Relationship Id="rId19" Type="http://schemas.openxmlformats.org/officeDocument/2006/relationships/tags" Target="../tags/tag628.xml"/><Relationship Id="rId31" Type="http://schemas.openxmlformats.org/officeDocument/2006/relationships/tags" Target="../tags/tag640.xml"/><Relationship Id="rId4" Type="http://schemas.openxmlformats.org/officeDocument/2006/relationships/tags" Target="../tags/tag613.xml"/><Relationship Id="rId9" Type="http://schemas.openxmlformats.org/officeDocument/2006/relationships/tags" Target="../tags/tag618.xml"/><Relationship Id="rId14" Type="http://schemas.openxmlformats.org/officeDocument/2006/relationships/tags" Target="../tags/tag623.xml"/><Relationship Id="rId22" Type="http://schemas.openxmlformats.org/officeDocument/2006/relationships/tags" Target="../tags/tag631.xml"/><Relationship Id="rId27" Type="http://schemas.openxmlformats.org/officeDocument/2006/relationships/tags" Target="../tags/tag636.xml"/><Relationship Id="rId30" Type="http://schemas.openxmlformats.org/officeDocument/2006/relationships/tags" Target="../tags/tag639.xml"/><Relationship Id="rId35" Type="http://schemas.openxmlformats.org/officeDocument/2006/relationships/tags" Target="../tags/tag644.xml"/><Relationship Id="rId8" Type="http://schemas.openxmlformats.org/officeDocument/2006/relationships/tags" Target="../tags/tag617.xml"/><Relationship Id="rId3" Type="http://schemas.openxmlformats.org/officeDocument/2006/relationships/tags" Target="../tags/tag61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slideLayout" Target="../slideLayouts/slideLayout20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13" Type="http://schemas.openxmlformats.org/officeDocument/2006/relationships/tags" Target="../tags/tag661.xml"/><Relationship Id="rId18" Type="http://schemas.openxmlformats.org/officeDocument/2006/relationships/tags" Target="../tags/tag666.xml"/><Relationship Id="rId26" Type="http://schemas.openxmlformats.org/officeDocument/2006/relationships/tags" Target="../tags/tag674.xml"/><Relationship Id="rId39" Type="http://schemas.openxmlformats.org/officeDocument/2006/relationships/tags" Target="../tags/tag687.xml"/><Relationship Id="rId21" Type="http://schemas.openxmlformats.org/officeDocument/2006/relationships/tags" Target="../tags/tag669.xml"/><Relationship Id="rId34" Type="http://schemas.openxmlformats.org/officeDocument/2006/relationships/tags" Target="../tags/tag682.xml"/><Relationship Id="rId42" Type="http://schemas.openxmlformats.org/officeDocument/2006/relationships/tags" Target="../tags/tag690.xml"/><Relationship Id="rId7" Type="http://schemas.openxmlformats.org/officeDocument/2006/relationships/tags" Target="../tags/tag655.xml"/><Relationship Id="rId2" Type="http://schemas.openxmlformats.org/officeDocument/2006/relationships/tags" Target="../tags/tag650.xml"/><Relationship Id="rId16" Type="http://schemas.openxmlformats.org/officeDocument/2006/relationships/tags" Target="../tags/tag664.xml"/><Relationship Id="rId20" Type="http://schemas.openxmlformats.org/officeDocument/2006/relationships/tags" Target="../tags/tag668.xml"/><Relationship Id="rId29" Type="http://schemas.openxmlformats.org/officeDocument/2006/relationships/tags" Target="../tags/tag677.xml"/><Relationship Id="rId41" Type="http://schemas.openxmlformats.org/officeDocument/2006/relationships/tags" Target="../tags/tag689.xml"/><Relationship Id="rId1" Type="http://schemas.openxmlformats.org/officeDocument/2006/relationships/tags" Target="../tags/tag649.xml"/><Relationship Id="rId6" Type="http://schemas.openxmlformats.org/officeDocument/2006/relationships/tags" Target="../tags/tag654.xml"/><Relationship Id="rId11" Type="http://schemas.openxmlformats.org/officeDocument/2006/relationships/tags" Target="../tags/tag659.xml"/><Relationship Id="rId24" Type="http://schemas.openxmlformats.org/officeDocument/2006/relationships/tags" Target="../tags/tag672.xml"/><Relationship Id="rId32" Type="http://schemas.openxmlformats.org/officeDocument/2006/relationships/tags" Target="../tags/tag680.xml"/><Relationship Id="rId37" Type="http://schemas.openxmlformats.org/officeDocument/2006/relationships/tags" Target="../tags/tag685.xml"/><Relationship Id="rId40" Type="http://schemas.openxmlformats.org/officeDocument/2006/relationships/tags" Target="../tags/tag688.xml"/><Relationship Id="rId5" Type="http://schemas.openxmlformats.org/officeDocument/2006/relationships/tags" Target="../tags/tag653.xml"/><Relationship Id="rId15" Type="http://schemas.openxmlformats.org/officeDocument/2006/relationships/tags" Target="../tags/tag663.xml"/><Relationship Id="rId23" Type="http://schemas.openxmlformats.org/officeDocument/2006/relationships/tags" Target="../tags/tag671.xml"/><Relationship Id="rId28" Type="http://schemas.openxmlformats.org/officeDocument/2006/relationships/tags" Target="../tags/tag676.xml"/><Relationship Id="rId36" Type="http://schemas.openxmlformats.org/officeDocument/2006/relationships/tags" Target="../tags/tag684.xml"/><Relationship Id="rId10" Type="http://schemas.openxmlformats.org/officeDocument/2006/relationships/tags" Target="../tags/tag658.xml"/><Relationship Id="rId19" Type="http://schemas.openxmlformats.org/officeDocument/2006/relationships/tags" Target="../tags/tag667.xml"/><Relationship Id="rId31" Type="http://schemas.openxmlformats.org/officeDocument/2006/relationships/tags" Target="../tags/tag679.xml"/><Relationship Id="rId4" Type="http://schemas.openxmlformats.org/officeDocument/2006/relationships/tags" Target="../tags/tag652.xml"/><Relationship Id="rId9" Type="http://schemas.openxmlformats.org/officeDocument/2006/relationships/tags" Target="../tags/tag657.xml"/><Relationship Id="rId14" Type="http://schemas.openxmlformats.org/officeDocument/2006/relationships/tags" Target="../tags/tag662.xml"/><Relationship Id="rId22" Type="http://schemas.openxmlformats.org/officeDocument/2006/relationships/tags" Target="../tags/tag670.xml"/><Relationship Id="rId27" Type="http://schemas.openxmlformats.org/officeDocument/2006/relationships/tags" Target="../tags/tag675.xml"/><Relationship Id="rId30" Type="http://schemas.openxmlformats.org/officeDocument/2006/relationships/tags" Target="../tags/tag678.xml"/><Relationship Id="rId35" Type="http://schemas.openxmlformats.org/officeDocument/2006/relationships/tags" Target="../tags/tag683.xml"/><Relationship Id="rId43" Type="http://schemas.openxmlformats.org/officeDocument/2006/relationships/slideLayout" Target="../slideLayouts/slideLayout7.xml"/><Relationship Id="rId8" Type="http://schemas.openxmlformats.org/officeDocument/2006/relationships/tags" Target="../tags/tag656.xml"/><Relationship Id="rId3" Type="http://schemas.openxmlformats.org/officeDocument/2006/relationships/tags" Target="../tags/tag651.xml"/><Relationship Id="rId12" Type="http://schemas.openxmlformats.org/officeDocument/2006/relationships/tags" Target="../tags/tag660.xml"/><Relationship Id="rId17" Type="http://schemas.openxmlformats.org/officeDocument/2006/relationships/tags" Target="../tags/tag665.xml"/><Relationship Id="rId25" Type="http://schemas.openxmlformats.org/officeDocument/2006/relationships/tags" Target="../tags/tag673.xml"/><Relationship Id="rId33" Type="http://schemas.openxmlformats.org/officeDocument/2006/relationships/tags" Target="../tags/tag681.xml"/><Relationship Id="rId38" Type="http://schemas.openxmlformats.org/officeDocument/2006/relationships/tags" Target="../tags/tag68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698.xml"/><Relationship Id="rId13" Type="http://schemas.openxmlformats.org/officeDocument/2006/relationships/tags" Target="../tags/tag703.xml"/><Relationship Id="rId18" Type="http://schemas.openxmlformats.org/officeDocument/2006/relationships/tags" Target="../tags/tag708.xml"/><Relationship Id="rId3" Type="http://schemas.openxmlformats.org/officeDocument/2006/relationships/tags" Target="../tags/tag693.xml"/><Relationship Id="rId21" Type="http://schemas.openxmlformats.org/officeDocument/2006/relationships/tags" Target="../tags/tag711.xml"/><Relationship Id="rId7" Type="http://schemas.openxmlformats.org/officeDocument/2006/relationships/tags" Target="../tags/tag697.xml"/><Relationship Id="rId12" Type="http://schemas.openxmlformats.org/officeDocument/2006/relationships/tags" Target="../tags/tag702.xml"/><Relationship Id="rId17" Type="http://schemas.openxmlformats.org/officeDocument/2006/relationships/tags" Target="../tags/tag707.xml"/><Relationship Id="rId2" Type="http://schemas.openxmlformats.org/officeDocument/2006/relationships/tags" Target="../tags/tag692.xml"/><Relationship Id="rId16" Type="http://schemas.openxmlformats.org/officeDocument/2006/relationships/tags" Target="../tags/tag706.xml"/><Relationship Id="rId20" Type="http://schemas.openxmlformats.org/officeDocument/2006/relationships/tags" Target="../tags/tag710.xml"/><Relationship Id="rId1" Type="http://schemas.openxmlformats.org/officeDocument/2006/relationships/tags" Target="../tags/tag691.xml"/><Relationship Id="rId6" Type="http://schemas.openxmlformats.org/officeDocument/2006/relationships/tags" Target="../tags/tag696.xml"/><Relationship Id="rId11" Type="http://schemas.openxmlformats.org/officeDocument/2006/relationships/tags" Target="../tags/tag701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695.xml"/><Relationship Id="rId15" Type="http://schemas.openxmlformats.org/officeDocument/2006/relationships/tags" Target="../tags/tag705.xml"/><Relationship Id="rId23" Type="http://schemas.openxmlformats.org/officeDocument/2006/relationships/tags" Target="../tags/tag713.xml"/><Relationship Id="rId10" Type="http://schemas.openxmlformats.org/officeDocument/2006/relationships/tags" Target="../tags/tag700.xml"/><Relationship Id="rId19" Type="http://schemas.openxmlformats.org/officeDocument/2006/relationships/tags" Target="../tags/tag709.xml"/><Relationship Id="rId4" Type="http://schemas.openxmlformats.org/officeDocument/2006/relationships/tags" Target="../tags/tag694.xml"/><Relationship Id="rId9" Type="http://schemas.openxmlformats.org/officeDocument/2006/relationships/tags" Target="../tags/tag699.xml"/><Relationship Id="rId14" Type="http://schemas.openxmlformats.org/officeDocument/2006/relationships/tags" Target="../tags/tag704.xml"/><Relationship Id="rId22" Type="http://schemas.openxmlformats.org/officeDocument/2006/relationships/tags" Target="../tags/tag71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721.xml"/><Relationship Id="rId13" Type="http://schemas.openxmlformats.org/officeDocument/2006/relationships/tags" Target="../tags/tag726.xml"/><Relationship Id="rId18" Type="http://schemas.openxmlformats.org/officeDocument/2006/relationships/tags" Target="../tags/tag731.xml"/><Relationship Id="rId3" Type="http://schemas.openxmlformats.org/officeDocument/2006/relationships/tags" Target="../tags/tag716.xml"/><Relationship Id="rId21" Type="http://schemas.openxmlformats.org/officeDocument/2006/relationships/tags" Target="../tags/tag734.xml"/><Relationship Id="rId7" Type="http://schemas.openxmlformats.org/officeDocument/2006/relationships/tags" Target="../tags/tag720.xml"/><Relationship Id="rId12" Type="http://schemas.openxmlformats.org/officeDocument/2006/relationships/tags" Target="../tags/tag725.xml"/><Relationship Id="rId17" Type="http://schemas.openxmlformats.org/officeDocument/2006/relationships/tags" Target="../tags/tag730.xml"/><Relationship Id="rId2" Type="http://schemas.openxmlformats.org/officeDocument/2006/relationships/tags" Target="../tags/tag715.xml"/><Relationship Id="rId16" Type="http://schemas.openxmlformats.org/officeDocument/2006/relationships/tags" Target="../tags/tag729.xml"/><Relationship Id="rId20" Type="http://schemas.openxmlformats.org/officeDocument/2006/relationships/tags" Target="../tags/tag733.xml"/><Relationship Id="rId1" Type="http://schemas.openxmlformats.org/officeDocument/2006/relationships/tags" Target="../tags/tag714.xml"/><Relationship Id="rId6" Type="http://schemas.openxmlformats.org/officeDocument/2006/relationships/tags" Target="../tags/tag719.xml"/><Relationship Id="rId11" Type="http://schemas.openxmlformats.org/officeDocument/2006/relationships/tags" Target="../tags/tag724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718.xml"/><Relationship Id="rId15" Type="http://schemas.openxmlformats.org/officeDocument/2006/relationships/tags" Target="../tags/tag728.xml"/><Relationship Id="rId23" Type="http://schemas.openxmlformats.org/officeDocument/2006/relationships/tags" Target="../tags/tag736.xml"/><Relationship Id="rId10" Type="http://schemas.openxmlformats.org/officeDocument/2006/relationships/tags" Target="../tags/tag723.xml"/><Relationship Id="rId19" Type="http://schemas.openxmlformats.org/officeDocument/2006/relationships/tags" Target="../tags/tag732.xml"/><Relationship Id="rId4" Type="http://schemas.openxmlformats.org/officeDocument/2006/relationships/tags" Target="../tags/tag717.xml"/><Relationship Id="rId9" Type="http://schemas.openxmlformats.org/officeDocument/2006/relationships/tags" Target="../tags/tag722.xml"/><Relationship Id="rId14" Type="http://schemas.openxmlformats.org/officeDocument/2006/relationships/tags" Target="../tags/tag727.xml"/><Relationship Id="rId22" Type="http://schemas.openxmlformats.org/officeDocument/2006/relationships/tags" Target="../tags/tag73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744.xml"/><Relationship Id="rId13" Type="http://schemas.openxmlformats.org/officeDocument/2006/relationships/tags" Target="../tags/tag749.xml"/><Relationship Id="rId18" Type="http://schemas.openxmlformats.org/officeDocument/2006/relationships/tags" Target="../tags/tag754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739.xml"/><Relationship Id="rId21" Type="http://schemas.openxmlformats.org/officeDocument/2006/relationships/tags" Target="../tags/tag757.xml"/><Relationship Id="rId7" Type="http://schemas.openxmlformats.org/officeDocument/2006/relationships/tags" Target="../tags/tag743.xml"/><Relationship Id="rId12" Type="http://schemas.openxmlformats.org/officeDocument/2006/relationships/tags" Target="../tags/tag748.xml"/><Relationship Id="rId17" Type="http://schemas.openxmlformats.org/officeDocument/2006/relationships/tags" Target="../tags/tag753.xml"/><Relationship Id="rId25" Type="http://schemas.openxmlformats.org/officeDocument/2006/relationships/tags" Target="../tags/tag761.xml"/><Relationship Id="rId2" Type="http://schemas.openxmlformats.org/officeDocument/2006/relationships/tags" Target="../tags/tag738.xml"/><Relationship Id="rId16" Type="http://schemas.openxmlformats.org/officeDocument/2006/relationships/tags" Target="../tags/tag752.xml"/><Relationship Id="rId20" Type="http://schemas.openxmlformats.org/officeDocument/2006/relationships/tags" Target="../tags/tag756.xml"/><Relationship Id="rId1" Type="http://schemas.openxmlformats.org/officeDocument/2006/relationships/tags" Target="../tags/tag737.xml"/><Relationship Id="rId6" Type="http://schemas.openxmlformats.org/officeDocument/2006/relationships/tags" Target="../tags/tag742.xml"/><Relationship Id="rId11" Type="http://schemas.openxmlformats.org/officeDocument/2006/relationships/tags" Target="../tags/tag747.xml"/><Relationship Id="rId24" Type="http://schemas.openxmlformats.org/officeDocument/2006/relationships/tags" Target="../tags/tag760.xml"/><Relationship Id="rId5" Type="http://schemas.openxmlformats.org/officeDocument/2006/relationships/tags" Target="../tags/tag741.xml"/><Relationship Id="rId15" Type="http://schemas.openxmlformats.org/officeDocument/2006/relationships/tags" Target="../tags/tag751.xml"/><Relationship Id="rId23" Type="http://schemas.openxmlformats.org/officeDocument/2006/relationships/tags" Target="../tags/tag759.xml"/><Relationship Id="rId10" Type="http://schemas.openxmlformats.org/officeDocument/2006/relationships/tags" Target="../tags/tag746.xml"/><Relationship Id="rId19" Type="http://schemas.openxmlformats.org/officeDocument/2006/relationships/tags" Target="../tags/tag755.xml"/><Relationship Id="rId4" Type="http://schemas.openxmlformats.org/officeDocument/2006/relationships/tags" Target="../tags/tag740.xml"/><Relationship Id="rId9" Type="http://schemas.openxmlformats.org/officeDocument/2006/relationships/tags" Target="../tags/tag745.xml"/><Relationship Id="rId14" Type="http://schemas.openxmlformats.org/officeDocument/2006/relationships/tags" Target="../tags/tag750.xml"/><Relationship Id="rId22" Type="http://schemas.openxmlformats.org/officeDocument/2006/relationships/tags" Target="../tags/tag75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0.tiff"/><Relationship Id="rId5" Type="http://schemas.openxmlformats.org/officeDocument/2006/relationships/image" Target="../media/image29.tiff"/><Relationship Id="rId4" Type="http://schemas.openxmlformats.org/officeDocument/2006/relationships/image" Target="../media/image28.tif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mailto:njava@tytonpartners.com" TargetMode="External"/><Relationship Id="rId7" Type="http://schemas.openxmlformats.org/officeDocument/2006/relationships/hyperlink" Target="https://events.educause.edu/annual-conference" TargetMode="External"/><Relationship Id="rId2" Type="http://schemas.openxmlformats.org/officeDocument/2006/relationships/hyperlink" Target="mailto:gbryant@tytonpartners.com" TargetMode="Externa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twitter.com/tytonpartners?lang=en" TargetMode="External"/><Relationship Id="rId5" Type="http://schemas.openxmlformats.org/officeDocument/2006/relationships/hyperlink" Target="http://tytonpartners.com/" TargetMode="External"/><Relationship Id="rId4" Type="http://schemas.openxmlformats.org/officeDocument/2006/relationships/hyperlink" Target="http://drivetodegree.org/" TargetMode="External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47" Type="http://schemas.openxmlformats.org/officeDocument/2006/relationships/tags" Target="../tags/tag89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9" Type="http://schemas.openxmlformats.org/officeDocument/2006/relationships/tags" Target="../tags/tag71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45" Type="http://schemas.openxmlformats.org/officeDocument/2006/relationships/tags" Target="../tags/tag87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49" Type="http://schemas.openxmlformats.org/officeDocument/2006/relationships/slideLayout" Target="../slideLayouts/slideLayout20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4" Type="http://schemas.openxmlformats.org/officeDocument/2006/relationships/tags" Target="../tags/tag86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tags" Target="../tags/tag85.xml"/><Relationship Id="rId48" Type="http://schemas.openxmlformats.org/officeDocument/2006/relationships/tags" Target="../tags/tag90.xml"/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46" Type="http://schemas.openxmlformats.org/officeDocument/2006/relationships/tags" Target="../tags/tag88.xml"/><Relationship Id="rId20" Type="http://schemas.openxmlformats.org/officeDocument/2006/relationships/tags" Target="../tags/tag62.xml"/><Relationship Id="rId41" Type="http://schemas.openxmlformats.org/officeDocument/2006/relationships/tags" Target="../tags/tag83.xml"/><Relationship Id="rId1" Type="http://schemas.openxmlformats.org/officeDocument/2006/relationships/tags" Target="../tags/tag43.xml"/><Relationship Id="rId6" Type="http://schemas.openxmlformats.org/officeDocument/2006/relationships/tags" Target="../tags/tag48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slideLayout" Target="../slideLayouts/slideLayout7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40" Type="http://schemas.openxmlformats.org/officeDocument/2006/relationships/notesSlide" Target="../notesSlides/notesSlide1.xm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8" Type="http://schemas.openxmlformats.org/officeDocument/2006/relationships/tags" Target="../tags/tag98.xml"/><Relationship Id="rId3" Type="http://schemas.openxmlformats.org/officeDocument/2006/relationships/tags" Target="../tags/tag9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5" Type="http://schemas.openxmlformats.org/officeDocument/2006/relationships/tags" Target="../tags/tag133.xml"/><Relationship Id="rId10" Type="http://schemas.openxmlformats.org/officeDocument/2006/relationships/tags" Target="../tags/tag138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tags" Target="../tags/tag167.xml"/><Relationship Id="rId39" Type="http://schemas.openxmlformats.org/officeDocument/2006/relationships/tags" Target="../tags/tag180.xml"/><Relationship Id="rId21" Type="http://schemas.openxmlformats.org/officeDocument/2006/relationships/tags" Target="../tags/tag162.xml"/><Relationship Id="rId34" Type="http://schemas.openxmlformats.org/officeDocument/2006/relationships/tags" Target="../tags/tag175.xml"/><Relationship Id="rId42" Type="http://schemas.openxmlformats.org/officeDocument/2006/relationships/tags" Target="../tags/tag183.xml"/><Relationship Id="rId47" Type="http://schemas.openxmlformats.org/officeDocument/2006/relationships/tags" Target="../tags/tag188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9" Type="http://schemas.openxmlformats.org/officeDocument/2006/relationships/tags" Target="../tags/tag170.xml"/><Relationship Id="rId11" Type="http://schemas.openxmlformats.org/officeDocument/2006/relationships/tags" Target="../tags/tag152.xml"/><Relationship Id="rId24" Type="http://schemas.openxmlformats.org/officeDocument/2006/relationships/tags" Target="../tags/tag165.xml"/><Relationship Id="rId32" Type="http://schemas.openxmlformats.org/officeDocument/2006/relationships/tags" Target="../tags/tag173.xml"/><Relationship Id="rId37" Type="http://schemas.openxmlformats.org/officeDocument/2006/relationships/tags" Target="../tags/tag178.xml"/><Relationship Id="rId40" Type="http://schemas.openxmlformats.org/officeDocument/2006/relationships/tags" Target="../tags/tag181.xml"/><Relationship Id="rId45" Type="http://schemas.openxmlformats.org/officeDocument/2006/relationships/tags" Target="../tags/tag186.xm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tags" Target="../tags/tag169.xml"/><Relationship Id="rId36" Type="http://schemas.openxmlformats.org/officeDocument/2006/relationships/tags" Target="../tags/tag177.xml"/><Relationship Id="rId49" Type="http://schemas.openxmlformats.org/officeDocument/2006/relationships/notesSlide" Target="../notesSlides/notesSlide3.xml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31" Type="http://schemas.openxmlformats.org/officeDocument/2006/relationships/tags" Target="../tags/tag172.xml"/><Relationship Id="rId44" Type="http://schemas.openxmlformats.org/officeDocument/2006/relationships/tags" Target="../tags/tag185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tags" Target="../tags/tag168.xml"/><Relationship Id="rId30" Type="http://schemas.openxmlformats.org/officeDocument/2006/relationships/tags" Target="../tags/tag171.xml"/><Relationship Id="rId35" Type="http://schemas.openxmlformats.org/officeDocument/2006/relationships/tags" Target="../tags/tag176.xml"/><Relationship Id="rId43" Type="http://schemas.openxmlformats.org/officeDocument/2006/relationships/tags" Target="../tags/tag184.xml"/><Relationship Id="rId48" Type="http://schemas.openxmlformats.org/officeDocument/2006/relationships/slideLayout" Target="../slideLayouts/slideLayout7.xml"/><Relationship Id="rId8" Type="http://schemas.openxmlformats.org/officeDocument/2006/relationships/tags" Target="../tags/tag149.xml"/><Relationship Id="rId3" Type="http://schemas.openxmlformats.org/officeDocument/2006/relationships/tags" Target="../tags/tag144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33" Type="http://schemas.openxmlformats.org/officeDocument/2006/relationships/tags" Target="../tags/tag174.xml"/><Relationship Id="rId38" Type="http://schemas.openxmlformats.org/officeDocument/2006/relationships/tags" Target="../tags/tag179.xml"/><Relationship Id="rId46" Type="http://schemas.openxmlformats.org/officeDocument/2006/relationships/tags" Target="../tags/tag187.xml"/><Relationship Id="rId20" Type="http://schemas.openxmlformats.org/officeDocument/2006/relationships/tags" Target="../tags/tag161.xml"/><Relationship Id="rId41" Type="http://schemas.openxmlformats.org/officeDocument/2006/relationships/tags" Target="../tags/tag182.xml"/><Relationship Id="rId1" Type="http://schemas.openxmlformats.org/officeDocument/2006/relationships/tags" Target="../tags/tag142.xml"/><Relationship Id="rId6" Type="http://schemas.openxmlformats.org/officeDocument/2006/relationships/tags" Target="../tags/tag1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769578"/>
            <a:ext cx="9144000" cy="19997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idx="14"/>
          </p:nvPr>
        </p:nvSpPr>
        <p:spPr>
          <a:xfrm>
            <a:off x="685800" y="2522598"/>
            <a:ext cx="7772400" cy="1828800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The Evolution of Academic Advising in Higher Educa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ctober 11, 2017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2" t="7767" r="12934" b="59167"/>
          <a:stretch/>
        </p:blipFill>
        <p:spPr>
          <a:xfrm>
            <a:off x="2469537" y="999858"/>
            <a:ext cx="4204926" cy="159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65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4770115" y="3089883"/>
            <a:ext cx="3037849" cy="1901126"/>
          </a:xfrm>
          <a:prstGeom prst="rect">
            <a:avLst/>
          </a:prstGeom>
          <a:solidFill>
            <a:srgbClr val="FFFF0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4770116" y="1232862"/>
            <a:ext cx="3037849" cy="1853991"/>
          </a:xfrm>
          <a:prstGeom prst="rect">
            <a:avLst/>
          </a:prstGeom>
          <a:solidFill>
            <a:srgbClr val="92D05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1744773" y="1241112"/>
            <a:ext cx="3037849" cy="1874022"/>
          </a:xfrm>
          <a:prstGeom prst="rect">
            <a:avLst/>
          </a:prstGeom>
          <a:solidFill>
            <a:srgbClr val="FFFF0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1732267" y="3095400"/>
            <a:ext cx="3037849" cy="1901126"/>
          </a:xfrm>
          <a:prstGeom prst="rect">
            <a:avLst/>
          </a:prstGeom>
          <a:solidFill>
            <a:srgbClr val="FF000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5530" y="201613"/>
            <a:ext cx="8537730" cy="844550"/>
          </a:xfrm>
        </p:spPr>
        <p:txBody>
          <a:bodyPr/>
          <a:lstStyle/>
          <a:p>
            <a:r>
              <a:rPr lang="en-US" sz="2200" dirty="0"/>
              <a:t>For </a:t>
            </a:r>
            <a:r>
              <a:rPr lang="en-US" sz="2200" dirty="0" smtClean="0"/>
              <a:t>Self-contained</a:t>
            </a:r>
            <a:r>
              <a:rPr lang="en-US" sz="2200" smtClean="0"/>
              <a:t>, Supplementary, </a:t>
            </a:r>
            <a:r>
              <a:rPr lang="en-US" sz="2200" dirty="0"/>
              <a:t>and </a:t>
            </a:r>
            <a:r>
              <a:rPr lang="en-US" sz="2200" dirty="0" smtClean="0"/>
              <a:t>Faculty Only </a:t>
            </a:r>
            <a:r>
              <a:rPr lang="en-US" sz="2200" dirty="0"/>
              <a:t>Models, Perception of Success Deviates from Observed Student Outcome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334717" y="3711298"/>
            <a:ext cx="1921620" cy="61093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050" b="1" dirty="0">
                <a:ea typeface="Calibri"/>
                <a:cs typeface="Times New Roman"/>
              </a:rPr>
              <a:t>Self-contained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51%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32%</a:t>
            </a:r>
            <a:endParaRPr lang="en-US" sz="1050" dirty="0">
              <a:ea typeface="Calibri"/>
              <a:cs typeface="Times New Roman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2291432" y="1374974"/>
            <a:ext cx="1944530" cy="61093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050" b="1" dirty="0">
                <a:ea typeface="Calibri"/>
                <a:cs typeface="Times New Roman"/>
              </a:rPr>
              <a:t>Faculty only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33%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51%</a:t>
            </a:r>
            <a:endParaRPr lang="en-US" sz="1050" dirty="0">
              <a:ea typeface="Calibri"/>
              <a:cs typeface="Times New Roman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291432" y="2231462"/>
            <a:ext cx="1945091" cy="61093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050" b="1" dirty="0">
                <a:ea typeface="Calibri"/>
                <a:cs typeface="Times New Roman"/>
              </a:rPr>
              <a:t>Supplementary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33%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45%</a:t>
            </a:r>
            <a:endParaRPr lang="en-US" sz="1050" dirty="0">
              <a:ea typeface="Calibri"/>
              <a:cs typeface="Times New Roman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283893" y="3732489"/>
            <a:ext cx="1947100" cy="61093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050" b="1" dirty="0">
                <a:ea typeface="Calibri"/>
                <a:cs typeface="Times New Roman"/>
              </a:rPr>
              <a:t>Split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30%</a:t>
            </a:r>
            <a:endParaRPr lang="en-US" sz="105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38%</a:t>
            </a:r>
            <a:endParaRPr lang="en-US" sz="1050" dirty="0">
              <a:ea typeface="Calibri"/>
              <a:cs typeface="Times New Roman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263697" y="5313188"/>
            <a:ext cx="32997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erception of Advising Succes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75530" y="2774572"/>
            <a:ext cx="12070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Student Outcomes</a:t>
            </a:r>
          </a:p>
          <a:p>
            <a:pPr algn="ctr"/>
            <a:endParaRPr lang="en-US" sz="16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5990304" y="5036189"/>
            <a:ext cx="7216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ositiv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810359" y="5036189"/>
            <a:ext cx="7889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Negative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942023" y="3942245"/>
            <a:ext cx="6286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Wors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10596" y="1914676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Better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4770117" y="1232862"/>
            <a:ext cx="0" cy="3764544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1732268" y="3086853"/>
            <a:ext cx="607569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Oval 1"/>
          <p:cNvSpPr/>
          <p:nvPr/>
        </p:nvSpPr>
        <p:spPr>
          <a:xfrm>
            <a:off x="5424643" y="1241112"/>
            <a:ext cx="1831694" cy="178745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What model produces positive outcomes that correspond to the perception of success?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75425" y="5729591"/>
            <a:ext cx="7756637" cy="60123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Perception of success is a </a:t>
            </a:r>
            <a:r>
              <a:rPr lang="en-US" sz="1600" b="1" u="sng" dirty="0" smtClean="0">
                <a:solidFill>
                  <a:schemeClr val="bg1"/>
                </a:solidFill>
              </a:rPr>
              <a:t>leading</a:t>
            </a:r>
            <a:r>
              <a:rPr lang="en-US" sz="1600" b="1" dirty="0" smtClean="0">
                <a:solidFill>
                  <a:schemeClr val="bg1"/>
                </a:solidFill>
              </a:rPr>
              <a:t> indicator, and may forecast upcoming improvements in graduation and retention rates (</a:t>
            </a:r>
            <a:r>
              <a:rPr lang="en-US" sz="1600" b="1" u="sng" dirty="0" smtClean="0">
                <a:solidFill>
                  <a:schemeClr val="bg1"/>
                </a:solidFill>
              </a:rPr>
              <a:t>lagging</a:t>
            </a:r>
            <a:r>
              <a:rPr lang="en-US" sz="1600" b="1" dirty="0" smtClean="0">
                <a:solidFill>
                  <a:schemeClr val="bg1"/>
                </a:solidFill>
              </a:rPr>
              <a:t> indicators)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167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37% of Institutions Report that They Have Too Few Academic Adviso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27430" y="1484643"/>
            <a:ext cx="5063420" cy="4788505"/>
          </a:xfrm>
          <a:prstGeom prst="rect">
            <a:avLst/>
          </a:prstGeom>
        </p:spPr>
      </p:pic>
      <p:sp>
        <p:nvSpPr>
          <p:cNvPr id="8" name="Freeform 7"/>
          <p:cNvSpPr/>
          <p:nvPr/>
        </p:nvSpPr>
        <p:spPr>
          <a:xfrm>
            <a:off x="1795346" y="1260088"/>
            <a:ext cx="4984595" cy="5040351"/>
          </a:xfrm>
          <a:custGeom>
            <a:avLst/>
            <a:gdLst>
              <a:gd name="connsiteX0" fmla="*/ 3925230 w 4984595"/>
              <a:gd name="connsiteY0" fmla="*/ 1449658 h 5040351"/>
              <a:gd name="connsiteX1" fmla="*/ 3936381 w 4984595"/>
              <a:gd name="connsiteY1" fmla="*/ 457200 h 5040351"/>
              <a:gd name="connsiteX2" fmla="*/ 2364059 w 4984595"/>
              <a:gd name="connsiteY2" fmla="*/ 0 h 5040351"/>
              <a:gd name="connsiteX3" fmla="*/ 0 w 4984595"/>
              <a:gd name="connsiteY3" fmla="*/ 1962614 h 5040351"/>
              <a:gd name="connsiteX4" fmla="*/ 1115122 w 4984595"/>
              <a:gd name="connsiteY4" fmla="*/ 5040351 h 5040351"/>
              <a:gd name="connsiteX5" fmla="*/ 4259766 w 4984595"/>
              <a:gd name="connsiteY5" fmla="*/ 4995746 h 5040351"/>
              <a:gd name="connsiteX6" fmla="*/ 4984595 w 4984595"/>
              <a:gd name="connsiteY6" fmla="*/ 3679902 h 5040351"/>
              <a:gd name="connsiteX7" fmla="*/ 4605454 w 4984595"/>
              <a:gd name="connsiteY7" fmla="*/ 3334214 h 5040351"/>
              <a:gd name="connsiteX8" fmla="*/ 4360127 w 4984595"/>
              <a:gd name="connsiteY8" fmla="*/ 3401122 h 5040351"/>
              <a:gd name="connsiteX9" fmla="*/ 4181708 w 4984595"/>
              <a:gd name="connsiteY9" fmla="*/ 3189249 h 5040351"/>
              <a:gd name="connsiteX10" fmla="*/ 3579542 w 4984595"/>
              <a:gd name="connsiteY10" fmla="*/ 2821258 h 5040351"/>
              <a:gd name="connsiteX11" fmla="*/ 3501483 w 4984595"/>
              <a:gd name="connsiteY11" fmla="*/ 1951463 h 5040351"/>
              <a:gd name="connsiteX12" fmla="*/ 3679903 w 4984595"/>
              <a:gd name="connsiteY12" fmla="*/ 1550019 h 5040351"/>
              <a:gd name="connsiteX13" fmla="*/ 3925230 w 4984595"/>
              <a:gd name="connsiteY13" fmla="*/ 1449658 h 5040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84595" h="5040351">
                <a:moveTo>
                  <a:pt x="3925230" y="1449658"/>
                </a:moveTo>
                <a:lnTo>
                  <a:pt x="3936381" y="457200"/>
                </a:lnTo>
                <a:lnTo>
                  <a:pt x="2364059" y="0"/>
                </a:lnTo>
                <a:lnTo>
                  <a:pt x="0" y="1962614"/>
                </a:lnTo>
                <a:lnTo>
                  <a:pt x="1115122" y="5040351"/>
                </a:lnTo>
                <a:lnTo>
                  <a:pt x="4259766" y="4995746"/>
                </a:lnTo>
                <a:lnTo>
                  <a:pt x="4984595" y="3679902"/>
                </a:lnTo>
                <a:lnTo>
                  <a:pt x="4605454" y="3334214"/>
                </a:lnTo>
                <a:lnTo>
                  <a:pt x="4360127" y="3401122"/>
                </a:lnTo>
                <a:lnTo>
                  <a:pt x="4181708" y="3189249"/>
                </a:lnTo>
                <a:lnTo>
                  <a:pt x="3579542" y="2821258"/>
                </a:lnTo>
                <a:lnTo>
                  <a:pt x="3501483" y="1951463"/>
                </a:lnTo>
                <a:lnTo>
                  <a:pt x="3679903" y="1550019"/>
                </a:lnTo>
                <a:lnTo>
                  <a:pt x="3925230" y="1449658"/>
                </a:lnTo>
                <a:close/>
              </a:path>
            </a:pathLst>
          </a:custGeom>
          <a:solidFill>
            <a:schemeClr val="bg1">
              <a:alpha val="6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8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r Institutions Have Larger Advising Caseloads and Report More Spending on Advising Resources</a:t>
            </a:r>
          </a:p>
        </p:txBody>
      </p:sp>
      <p:grpSp>
        <p:nvGrpSpPr>
          <p:cNvPr id="82" name="Group 81"/>
          <p:cNvGrpSpPr/>
          <p:nvPr>
            <p:custDataLst>
              <p:tags r:id="rId2"/>
            </p:custDataLst>
          </p:nvPr>
        </p:nvGrpSpPr>
        <p:grpSpPr>
          <a:xfrm>
            <a:off x="377033" y="2112559"/>
            <a:ext cx="8552467" cy="4306716"/>
            <a:chOff x="377033" y="2112559"/>
            <a:chExt cx="8552467" cy="4306716"/>
          </a:xfrm>
        </p:grpSpPr>
        <p:sp>
          <p:nvSpPr>
            <p:cNvPr id="4" name="Rectangle 3"/>
            <p:cNvSpPr/>
            <p:nvPr>
              <p:custDataLst>
                <p:tags r:id="rId3"/>
              </p:custDataLst>
            </p:nvPr>
          </p:nvSpPr>
          <p:spPr bwMode="gray">
            <a:xfrm>
              <a:off x="2680556" y="2444745"/>
              <a:ext cx="959614" cy="569204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4"/>
              </p:custDataLst>
            </p:nvPr>
          </p:nvSpPr>
          <p:spPr bwMode="gray">
            <a:xfrm>
              <a:off x="4215939" y="2419685"/>
              <a:ext cx="959614" cy="468967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1145173" y="2308709"/>
              <a:ext cx="959615" cy="622903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6"/>
              </p:custDataLst>
            </p:nvPr>
          </p:nvSpPr>
          <p:spPr bwMode="gray">
            <a:xfrm>
              <a:off x="4215939" y="2888653"/>
              <a:ext cx="959614" cy="1235066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7"/>
              </p:custDataLst>
            </p:nvPr>
          </p:nvSpPr>
          <p:spPr bwMode="gray">
            <a:xfrm>
              <a:off x="5751322" y="2888653"/>
              <a:ext cx="959614" cy="1192107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8"/>
              </p:custDataLst>
            </p:nvPr>
          </p:nvSpPr>
          <p:spPr bwMode="gray">
            <a:xfrm>
              <a:off x="7286705" y="2670279"/>
              <a:ext cx="959614" cy="934354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gray">
            <a:xfrm>
              <a:off x="4215939" y="2204891"/>
              <a:ext cx="959614" cy="214794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10"/>
              </p:custDataLst>
            </p:nvPr>
          </p:nvSpPr>
          <p:spPr bwMode="gray">
            <a:xfrm>
              <a:off x="5751322" y="2208472"/>
              <a:ext cx="959614" cy="225534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11"/>
              </p:custDataLst>
            </p:nvPr>
          </p:nvSpPr>
          <p:spPr bwMode="gray">
            <a:xfrm>
              <a:off x="7286705" y="2204891"/>
              <a:ext cx="959614" cy="153936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6" name="Rectangle 15"/>
            <p:cNvSpPr/>
            <p:nvPr>
              <p:custDataLst>
                <p:tags r:id="rId12"/>
              </p:custDataLst>
            </p:nvPr>
          </p:nvSpPr>
          <p:spPr bwMode="gray">
            <a:xfrm>
              <a:off x="2680556" y="2204891"/>
              <a:ext cx="959614" cy="23985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13"/>
              </p:custDataLst>
            </p:nvPr>
          </p:nvSpPr>
          <p:spPr bwMode="gray">
            <a:xfrm>
              <a:off x="5751322" y="2434006"/>
              <a:ext cx="959614" cy="454647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4"/>
              </p:custDataLst>
            </p:nvPr>
          </p:nvSpPr>
          <p:spPr bwMode="gray">
            <a:xfrm>
              <a:off x="7286705" y="2358827"/>
              <a:ext cx="959614" cy="311451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5"/>
              </p:custDataLst>
            </p:nvPr>
          </p:nvSpPr>
          <p:spPr bwMode="gray">
            <a:xfrm>
              <a:off x="1145173" y="2204891"/>
              <a:ext cx="959615" cy="103817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7" name="Rectangle 16"/>
            <p:cNvSpPr/>
            <p:nvPr>
              <p:custDataLst>
                <p:tags r:id="rId16"/>
              </p:custDataLst>
            </p:nvPr>
          </p:nvSpPr>
          <p:spPr bwMode="gray">
            <a:xfrm>
              <a:off x="2680556" y="3013949"/>
              <a:ext cx="959614" cy="1399742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9" name="Rectangle 18"/>
            <p:cNvSpPr/>
            <p:nvPr>
              <p:custDataLst>
                <p:tags r:id="rId17"/>
              </p:custDataLst>
            </p:nvPr>
          </p:nvSpPr>
          <p:spPr bwMode="gray">
            <a:xfrm>
              <a:off x="4215939" y="4123719"/>
              <a:ext cx="959614" cy="1661074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2" name="Rectangle 21"/>
            <p:cNvSpPr/>
            <p:nvPr>
              <p:custDataLst>
                <p:tags r:id="rId18"/>
              </p:custDataLst>
            </p:nvPr>
          </p:nvSpPr>
          <p:spPr bwMode="gray">
            <a:xfrm>
              <a:off x="2680556" y="4413691"/>
              <a:ext cx="959614" cy="1371102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3" name="Rectangle 22"/>
            <p:cNvSpPr/>
            <p:nvPr>
              <p:custDataLst>
                <p:tags r:id="rId19"/>
              </p:custDataLst>
            </p:nvPr>
          </p:nvSpPr>
          <p:spPr bwMode="gray">
            <a:xfrm>
              <a:off x="7286705" y="3604632"/>
              <a:ext cx="959614" cy="2180160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8" name="Rectangle 17"/>
            <p:cNvSpPr/>
            <p:nvPr>
              <p:custDataLst>
                <p:tags r:id="rId20"/>
              </p:custDataLst>
            </p:nvPr>
          </p:nvSpPr>
          <p:spPr bwMode="gray">
            <a:xfrm>
              <a:off x="1145173" y="2931612"/>
              <a:ext cx="959615" cy="1349623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21"/>
              </p:custDataLst>
            </p:nvPr>
          </p:nvSpPr>
          <p:spPr bwMode="gray">
            <a:xfrm>
              <a:off x="1145173" y="4281234"/>
              <a:ext cx="959615" cy="1503558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0" name="Rectangle 19"/>
            <p:cNvSpPr/>
            <p:nvPr>
              <p:custDataLst>
                <p:tags r:id="rId22"/>
              </p:custDataLst>
            </p:nvPr>
          </p:nvSpPr>
          <p:spPr bwMode="gray">
            <a:xfrm>
              <a:off x="5751322" y="4080760"/>
              <a:ext cx="959614" cy="1704033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24" name="Straight Connector 23"/>
            <p:cNvCxnSpPr/>
            <p:nvPr>
              <p:custDataLst>
                <p:tags r:id="rId23"/>
              </p:custDataLst>
            </p:nvPr>
          </p:nvCxnSpPr>
          <p:spPr bwMode="gray">
            <a:xfrm>
              <a:off x="857288" y="5784793"/>
              <a:ext cx="7676917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>
              <p:custDataLst>
                <p:tags r:id="rId24"/>
              </p:custDataLst>
            </p:nvPr>
          </p:nvCxnSpPr>
          <p:spPr bwMode="gray">
            <a:xfrm flipV="1">
              <a:off x="857288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>
              <p:custDataLst>
                <p:tags r:id="rId25"/>
              </p:custDataLst>
            </p:nvPr>
          </p:nvCxnSpPr>
          <p:spPr bwMode="gray">
            <a:xfrm flipV="1">
              <a:off x="8534205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>
              <p:custDataLst>
                <p:tags r:id="rId26"/>
              </p:custDataLst>
            </p:nvPr>
          </p:nvCxnSpPr>
          <p:spPr bwMode="gray">
            <a:xfrm flipH="1">
              <a:off x="806488" y="363685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>
              <p:custDataLst>
                <p:tags r:id="rId27"/>
              </p:custDataLst>
            </p:nvPr>
          </p:nvCxnSpPr>
          <p:spPr bwMode="gray">
            <a:xfrm flipH="1">
              <a:off x="806488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>
              <p:custDataLst>
                <p:tags r:id="rId28"/>
              </p:custDataLst>
            </p:nvPr>
          </p:nvCxnSpPr>
          <p:spPr bwMode="gray">
            <a:xfrm flipH="1">
              <a:off x="806488" y="292087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>
              <p:custDataLst>
                <p:tags r:id="rId29"/>
              </p:custDataLst>
            </p:nvPr>
          </p:nvCxnSpPr>
          <p:spPr bwMode="gray">
            <a:xfrm flipH="1">
              <a:off x="806488" y="435283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>
              <p:custDataLst>
                <p:tags r:id="rId30"/>
              </p:custDataLst>
            </p:nvPr>
          </p:nvCxnSpPr>
          <p:spPr bwMode="gray">
            <a:xfrm>
              <a:off x="8534205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>
              <p:custDataLst>
                <p:tags r:id="rId31"/>
              </p:custDataLst>
            </p:nvPr>
          </p:nvCxnSpPr>
          <p:spPr bwMode="gray">
            <a:xfrm flipH="1">
              <a:off x="806488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>
              <p:custDataLst>
                <p:tags r:id="rId32"/>
              </p:custDataLst>
            </p:nvPr>
          </p:nvCxnSpPr>
          <p:spPr bwMode="gray">
            <a:xfrm>
              <a:off x="8534205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>
              <p:custDataLst>
                <p:tags r:id="rId33"/>
              </p:custDataLst>
            </p:nvPr>
          </p:nvCxnSpPr>
          <p:spPr bwMode="gray">
            <a:xfrm>
              <a:off x="8534205" y="399484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>
              <p:custDataLst>
                <p:tags r:id="rId34"/>
              </p:custDataLst>
            </p:nvPr>
          </p:nvCxnSpPr>
          <p:spPr bwMode="gray">
            <a:xfrm>
              <a:off x="8534205" y="488981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>
              <p:custDataLst>
                <p:tags r:id="rId35"/>
              </p:custDataLst>
            </p:nvPr>
          </p:nvCxnSpPr>
          <p:spPr bwMode="gray">
            <a:xfrm flipH="1">
              <a:off x="806488" y="506881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>
              <p:custDataLst>
                <p:tags r:id="rId36"/>
              </p:custDataLst>
            </p:nvPr>
          </p:nvCxnSpPr>
          <p:spPr bwMode="gray">
            <a:xfrm>
              <a:off x="8534205" y="309986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Freeform 85"/>
            <p:cNvSpPr/>
            <p:nvPr>
              <p:custDataLst>
                <p:tags r:id="rId37"/>
              </p:custDataLst>
            </p:nvPr>
          </p:nvSpPr>
          <p:spPr bwMode="gray">
            <a:xfrm>
              <a:off x="1624980" y="2652380"/>
              <a:ext cx="6141532" cy="2157884"/>
            </a:xfrm>
            <a:custGeom>
              <a:avLst/>
              <a:gdLst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  <a:gd name="connsiteX0" fmla="*/ 0 w 6141532"/>
                <a:gd name="connsiteY0" fmla="*/ 2058443 h 2157884"/>
                <a:gd name="connsiteX1" fmla="*/ 1535383 w 6141532"/>
                <a:gd name="connsiteY1" fmla="*/ 2058443 h 2157884"/>
                <a:gd name="connsiteX2" fmla="*/ 3070766 w 6141532"/>
                <a:gd name="connsiteY2" fmla="*/ 715980 h 2157884"/>
                <a:gd name="connsiteX3" fmla="*/ 4606149 w 6141532"/>
                <a:gd name="connsiteY3" fmla="*/ 626482 h 2157884"/>
                <a:gd name="connsiteX4" fmla="*/ 6141532 w 6141532"/>
                <a:gd name="connsiteY4" fmla="*/ 0 h 215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41532" h="2157884">
                  <a:moveTo>
                    <a:pt x="0" y="2058443"/>
                  </a:moveTo>
                  <a:cubicBezTo>
                    <a:pt x="511795" y="2058443"/>
                    <a:pt x="1023589" y="2282186"/>
                    <a:pt x="1535383" y="2058443"/>
                  </a:cubicBezTo>
                  <a:cubicBezTo>
                    <a:pt x="2047178" y="1834699"/>
                    <a:pt x="2558972" y="954640"/>
                    <a:pt x="3070766" y="715980"/>
                  </a:cubicBezTo>
                  <a:cubicBezTo>
                    <a:pt x="3582561" y="477319"/>
                    <a:pt x="4094356" y="745812"/>
                    <a:pt x="4606149" y="626482"/>
                  </a:cubicBezTo>
                  <a:cubicBezTo>
                    <a:pt x="5117944" y="507151"/>
                    <a:pt x="5629738" y="208827"/>
                    <a:pt x="6141532" y="0"/>
                  </a:cubicBezTo>
                </a:path>
              </a:pathLst>
            </a:custGeom>
            <a:ln w="76200" cmpd="sng">
              <a:solidFill>
                <a:schemeClr val="accent5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2" name="TextBox 31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546952" y="5692460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0%</a:t>
              </a:r>
            </a:p>
          </p:txBody>
        </p:sp>
        <p:sp>
          <p:nvSpPr>
            <p:cNvPr id="36" name="TextBox 35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461993" y="497648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37" name="TextBox 36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461993" y="426050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87" name="TextBox 86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8585153" y="300753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30%</a:t>
              </a:r>
            </a:p>
          </p:txBody>
        </p:sp>
        <p:sp>
          <p:nvSpPr>
            <p:cNvPr id="34" name="TextBox 33"/>
            <p:cNvSpPr txBox="1"/>
            <p:nvPr>
              <p:custDataLst>
                <p:tags r:id="rId42"/>
              </p:custDataLst>
            </p:nvPr>
          </p:nvSpPr>
          <p:spPr bwMode="gray">
            <a:xfrm>
              <a:off x="377033" y="2112559"/>
              <a:ext cx="42930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100%</a:t>
              </a:r>
            </a:p>
          </p:txBody>
        </p:sp>
        <p:sp>
          <p:nvSpPr>
            <p:cNvPr id="88" name="TextBox 87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8585153" y="390251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89" name="TextBox 88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8585153" y="479748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10%</a:t>
              </a:r>
            </a:p>
          </p:txBody>
        </p:sp>
        <p:sp>
          <p:nvSpPr>
            <p:cNvPr id="90" name="TextBox 89"/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8585153" y="5692460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0%</a:t>
              </a:r>
            </a:p>
          </p:txBody>
        </p:sp>
        <p:sp>
          <p:nvSpPr>
            <p:cNvPr id="33" name="TextBox 32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461993" y="282853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80%</a:t>
              </a:r>
            </a:p>
          </p:txBody>
        </p:sp>
        <p:sp>
          <p:nvSpPr>
            <p:cNvPr id="35" name="TextBox 34"/>
            <p:cNvSpPr txBox="1"/>
            <p:nvPr>
              <p:custDataLst>
                <p:tags r:id="rId47"/>
              </p:custDataLst>
            </p:nvPr>
          </p:nvSpPr>
          <p:spPr bwMode="gray">
            <a:xfrm>
              <a:off x="461993" y="354451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60%</a:t>
              </a:r>
            </a:p>
          </p:txBody>
        </p:sp>
        <p:sp>
          <p:nvSpPr>
            <p:cNvPr id="91" name="TextBox 90"/>
            <p:cNvSpPr txBox="1"/>
            <p:nvPr>
              <p:custDataLst>
                <p:tags r:id="rId48"/>
              </p:custDataLst>
            </p:nvPr>
          </p:nvSpPr>
          <p:spPr bwMode="gray">
            <a:xfrm>
              <a:off x="8585153" y="211255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42" name="TextBox 41"/>
            <p:cNvSpPr txBox="1"/>
            <p:nvPr>
              <p:custDataLst>
                <p:tags r:id="rId49"/>
              </p:custDataLst>
            </p:nvPr>
          </p:nvSpPr>
          <p:spPr bwMode="gray">
            <a:xfrm>
              <a:off x="4224613" y="5848293"/>
              <a:ext cx="94226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5,000 - 9,999</a:t>
              </a:r>
            </a:p>
          </p:txBody>
        </p:sp>
        <p:sp>
          <p:nvSpPr>
            <p:cNvPr id="40" name="TextBox 39"/>
            <p:cNvSpPr txBox="1"/>
            <p:nvPr>
              <p:custDataLst>
                <p:tags r:id="rId50"/>
              </p:custDataLst>
            </p:nvPr>
          </p:nvSpPr>
          <p:spPr bwMode="gray">
            <a:xfrm>
              <a:off x="7446862" y="5848293"/>
              <a:ext cx="63930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20,000 +</a:t>
              </a:r>
            </a:p>
          </p:txBody>
        </p:sp>
        <p:sp>
          <p:nvSpPr>
            <p:cNvPr id="41" name="TextBox 40"/>
            <p:cNvSpPr txBox="1"/>
            <p:nvPr>
              <p:custDataLst>
                <p:tags r:id="rId51"/>
              </p:custDataLst>
            </p:nvPr>
          </p:nvSpPr>
          <p:spPr bwMode="gray">
            <a:xfrm>
              <a:off x="5675036" y="5848293"/>
              <a:ext cx="1112186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10,000 - 19,999</a:t>
              </a:r>
            </a:p>
          </p:txBody>
        </p:sp>
        <p:sp>
          <p:nvSpPr>
            <p:cNvPr id="38" name="TextBox 37"/>
            <p:cNvSpPr txBox="1"/>
            <p:nvPr>
              <p:custDataLst>
                <p:tags r:id="rId52"/>
              </p:custDataLst>
            </p:nvPr>
          </p:nvSpPr>
          <p:spPr bwMode="gray">
            <a:xfrm>
              <a:off x="2689230" y="5848293"/>
              <a:ext cx="94226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1,000 - 4,999</a:t>
              </a:r>
            </a:p>
          </p:txBody>
        </p:sp>
        <p:sp>
          <p:nvSpPr>
            <p:cNvPr id="39" name="TextBox 38"/>
            <p:cNvSpPr txBox="1"/>
            <p:nvPr>
              <p:custDataLst>
                <p:tags r:id="rId53"/>
              </p:custDataLst>
            </p:nvPr>
          </p:nvSpPr>
          <p:spPr bwMode="gray">
            <a:xfrm>
              <a:off x="1347811" y="5848293"/>
              <a:ext cx="55434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&lt; 1,000</a:t>
              </a:r>
            </a:p>
          </p:txBody>
        </p:sp>
        <p:sp>
          <p:nvSpPr>
            <p:cNvPr id="54" name="TextBox 53"/>
            <p:cNvSpPr txBox="1"/>
            <p:nvPr>
              <p:custDataLst>
                <p:tags r:id="rId54"/>
              </p:custDataLst>
            </p:nvPr>
          </p:nvSpPr>
          <p:spPr bwMode="gray">
            <a:xfrm>
              <a:off x="4523573" y="486192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6%</a:t>
              </a:r>
            </a:p>
          </p:txBody>
        </p:sp>
        <p:sp>
          <p:nvSpPr>
            <p:cNvPr id="43" name="TextBox 42"/>
            <p:cNvSpPr txBox="1"/>
            <p:nvPr>
              <p:custDataLst>
                <p:tags r:id="rId55"/>
              </p:custDataLst>
            </p:nvPr>
          </p:nvSpPr>
          <p:spPr bwMode="gray">
            <a:xfrm>
              <a:off x="6058956" y="484044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8%</a:t>
              </a:r>
            </a:p>
          </p:txBody>
        </p:sp>
        <p:sp>
          <p:nvSpPr>
            <p:cNvPr id="44" name="TextBox 43"/>
            <p:cNvSpPr txBox="1"/>
            <p:nvPr>
              <p:custDataLst>
                <p:tags r:id="rId56"/>
              </p:custDataLst>
            </p:nvPr>
          </p:nvSpPr>
          <p:spPr bwMode="gray">
            <a:xfrm>
              <a:off x="2988190" y="263701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6%</a:t>
              </a:r>
            </a:p>
          </p:txBody>
        </p:sp>
        <p:sp>
          <p:nvSpPr>
            <p:cNvPr id="62" name="TextBox 61"/>
            <p:cNvSpPr txBox="1"/>
            <p:nvPr>
              <p:custDataLst>
                <p:tags r:id="rId57"/>
              </p:custDataLst>
            </p:nvPr>
          </p:nvSpPr>
          <p:spPr bwMode="gray">
            <a:xfrm>
              <a:off x="2988190" y="500690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8%</a:t>
              </a:r>
            </a:p>
          </p:txBody>
        </p:sp>
        <p:sp>
          <p:nvSpPr>
            <p:cNvPr id="46" name="TextBox 45"/>
            <p:cNvSpPr txBox="1"/>
            <p:nvPr>
              <p:custDataLst>
                <p:tags r:id="rId58"/>
              </p:custDataLst>
            </p:nvPr>
          </p:nvSpPr>
          <p:spPr bwMode="gray">
            <a:xfrm>
              <a:off x="6058956" y="2568997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3%</a:t>
              </a:r>
            </a:p>
          </p:txBody>
        </p:sp>
        <p:sp>
          <p:nvSpPr>
            <p:cNvPr id="45" name="TextBox 44"/>
            <p:cNvSpPr txBox="1"/>
            <p:nvPr>
              <p:custDataLst>
                <p:tags r:id="rId59"/>
              </p:custDataLst>
            </p:nvPr>
          </p:nvSpPr>
          <p:spPr bwMode="gray">
            <a:xfrm>
              <a:off x="4523573" y="2561837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3%</a:t>
              </a:r>
            </a:p>
          </p:txBody>
        </p:sp>
        <p:sp>
          <p:nvSpPr>
            <p:cNvPr id="55" name="TextBox 54"/>
            <p:cNvSpPr txBox="1"/>
            <p:nvPr>
              <p:custDataLst>
                <p:tags r:id="rId60"/>
              </p:custDataLst>
            </p:nvPr>
          </p:nvSpPr>
          <p:spPr bwMode="gray">
            <a:xfrm>
              <a:off x="1452807" y="4940681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2%</a:t>
              </a:r>
            </a:p>
          </p:txBody>
        </p:sp>
        <p:sp>
          <p:nvSpPr>
            <p:cNvPr id="47" name="TextBox 46"/>
            <p:cNvSpPr txBox="1"/>
            <p:nvPr>
              <p:custDataLst>
                <p:tags r:id="rId61"/>
              </p:custDataLst>
            </p:nvPr>
          </p:nvSpPr>
          <p:spPr bwMode="gray">
            <a:xfrm>
              <a:off x="2988190" y="3621488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9%</a:t>
              </a:r>
            </a:p>
          </p:txBody>
        </p:sp>
        <p:sp>
          <p:nvSpPr>
            <p:cNvPr id="53" name="TextBox 52"/>
            <p:cNvSpPr txBox="1"/>
            <p:nvPr>
              <p:custDataLst>
                <p:tags r:id="rId62"/>
              </p:custDataLst>
            </p:nvPr>
          </p:nvSpPr>
          <p:spPr bwMode="gray">
            <a:xfrm>
              <a:off x="1452807" y="351409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/>
                  <a:ea typeface="ＭＳ Ｐゴシック" charset="-128"/>
                </a:rPr>
                <a:t>38%</a:t>
              </a:r>
            </a:p>
          </p:txBody>
        </p:sp>
        <p:sp>
          <p:nvSpPr>
            <p:cNvPr id="52" name="TextBox 51"/>
            <p:cNvSpPr txBox="1"/>
            <p:nvPr>
              <p:custDataLst>
                <p:tags r:id="rId63"/>
              </p:custDataLst>
            </p:nvPr>
          </p:nvSpPr>
          <p:spPr bwMode="gray">
            <a:xfrm>
              <a:off x="7594339" y="460238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61%</a:t>
              </a:r>
            </a:p>
          </p:txBody>
        </p:sp>
        <p:sp>
          <p:nvSpPr>
            <p:cNvPr id="49" name="TextBox 48"/>
            <p:cNvSpPr txBox="1"/>
            <p:nvPr>
              <p:custDataLst>
                <p:tags r:id="rId64"/>
              </p:custDataLst>
            </p:nvPr>
          </p:nvSpPr>
          <p:spPr bwMode="gray">
            <a:xfrm>
              <a:off x="4523573" y="3413853"/>
              <a:ext cx="344347" cy="184666"/>
            </a:xfrm>
            <a:prstGeom prst="rect">
              <a:avLst/>
            </a:prstGeom>
            <a:solidFill>
              <a:schemeClr val="accent3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5%</a:t>
              </a:r>
            </a:p>
          </p:txBody>
        </p:sp>
        <p:sp>
          <p:nvSpPr>
            <p:cNvPr id="48" name="TextBox 47"/>
            <p:cNvSpPr txBox="1"/>
            <p:nvPr>
              <p:custDataLst>
                <p:tags r:id="rId65"/>
              </p:custDataLst>
            </p:nvPr>
          </p:nvSpPr>
          <p:spPr bwMode="gray">
            <a:xfrm>
              <a:off x="1452807" y="2527827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7%</a:t>
              </a:r>
            </a:p>
          </p:txBody>
        </p:sp>
        <p:sp>
          <p:nvSpPr>
            <p:cNvPr id="51" name="TextBox 50"/>
            <p:cNvSpPr txBox="1"/>
            <p:nvPr>
              <p:custDataLst>
                <p:tags r:id="rId66"/>
              </p:custDataLst>
            </p:nvPr>
          </p:nvSpPr>
          <p:spPr bwMode="gray">
            <a:xfrm>
              <a:off x="7594339" y="304512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26%</a:t>
              </a:r>
            </a:p>
          </p:txBody>
        </p:sp>
        <p:sp>
          <p:nvSpPr>
            <p:cNvPr id="50" name="TextBox 49"/>
            <p:cNvSpPr txBox="1"/>
            <p:nvPr>
              <p:custDataLst>
                <p:tags r:id="rId67"/>
              </p:custDataLst>
            </p:nvPr>
          </p:nvSpPr>
          <p:spPr bwMode="gray">
            <a:xfrm>
              <a:off x="6058956" y="3392373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3%</a:t>
              </a:r>
            </a:p>
          </p:txBody>
        </p:sp>
        <p:sp>
          <p:nvSpPr>
            <p:cNvPr id="60" name="TextBox 59"/>
            <p:cNvSpPr txBox="1"/>
            <p:nvPr>
              <p:custDataLst>
                <p:tags r:id="rId68"/>
              </p:custDataLst>
            </p:nvPr>
          </p:nvSpPr>
          <p:spPr bwMode="gray">
            <a:xfrm>
              <a:off x="7636818" y="2422221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9%</a:t>
              </a:r>
            </a:p>
          </p:txBody>
        </p:sp>
        <p:sp>
          <p:nvSpPr>
            <p:cNvPr id="57" name="TextBox 56"/>
            <p:cNvSpPr txBox="1"/>
            <p:nvPr>
              <p:custDataLst>
                <p:tags r:id="rId69"/>
              </p:custDataLst>
            </p:nvPr>
          </p:nvSpPr>
          <p:spPr bwMode="gray">
            <a:xfrm>
              <a:off x="7636818" y="2189527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%</a:t>
              </a:r>
            </a:p>
          </p:txBody>
        </p:sp>
        <p:sp>
          <p:nvSpPr>
            <p:cNvPr id="61" name="TextBox 60"/>
            <p:cNvSpPr txBox="1"/>
            <p:nvPr>
              <p:custDataLst>
                <p:tags r:id="rId70"/>
              </p:custDataLst>
            </p:nvPr>
          </p:nvSpPr>
          <p:spPr bwMode="gray">
            <a:xfrm>
              <a:off x="3030669" y="2232486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7%</a:t>
              </a:r>
            </a:p>
          </p:txBody>
        </p:sp>
        <p:sp>
          <p:nvSpPr>
            <p:cNvPr id="59" name="TextBox 58"/>
            <p:cNvSpPr txBox="1"/>
            <p:nvPr>
              <p:custDataLst>
                <p:tags r:id="rId71"/>
              </p:custDataLst>
            </p:nvPr>
          </p:nvSpPr>
          <p:spPr bwMode="gray">
            <a:xfrm>
              <a:off x="1495286" y="2164468"/>
              <a:ext cx="259388" cy="184666"/>
            </a:xfrm>
            <a:prstGeom prst="rect">
              <a:avLst/>
            </a:prstGeom>
            <a:solidFill>
              <a:schemeClr val="accent1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%</a:t>
              </a:r>
            </a:p>
          </p:txBody>
        </p:sp>
        <p:sp>
          <p:nvSpPr>
            <p:cNvPr id="56" name="TextBox 55"/>
            <p:cNvSpPr txBox="1"/>
            <p:nvPr>
              <p:custDataLst>
                <p:tags r:id="rId72"/>
              </p:custDataLst>
            </p:nvPr>
          </p:nvSpPr>
          <p:spPr bwMode="gray">
            <a:xfrm>
              <a:off x="4566052" y="2219957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6%</a:t>
              </a:r>
            </a:p>
          </p:txBody>
        </p:sp>
        <p:sp>
          <p:nvSpPr>
            <p:cNvPr id="58" name="TextBox 57"/>
            <p:cNvSpPr txBox="1"/>
            <p:nvPr>
              <p:custDataLst>
                <p:tags r:id="rId73"/>
              </p:custDataLst>
            </p:nvPr>
          </p:nvSpPr>
          <p:spPr bwMode="gray">
            <a:xfrm>
              <a:off x="6101435" y="2228906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6%</a:t>
              </a:r>
            </a:p>
          </p:txBody>
        </p:sp>
        <p:sp>
          <p:nvSpPr>
            <p:cNvPr id="65" name="TextBox 64"/>
            <p:cNvSpPr txBox="1"/>
            <p:nvPr>
              <p:custDataLst>
                <p:tags r:id="rId74"/>
              </p:custDataLst>
            </p:nvPr>
          </p:nvSpPr>
          <p:spPr bwMode="gray">
            <a:xfrm>
              <a:off x="4831397" y="6234609"/>
              <a:ext cx="6328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Declined</a:t>
              </a:r>
            </a:p>
          </p:txBody>
        </p:sp>
        <p:sp>
          <p:nvSpPr>
            <p:cNvPr id="66" name="TextBox 65"/>
            <p:cNvSpPr txBox="1"/>
            <p:nvPr>
              <p:custDataLst>
                <p:tags r:id="rId75"/>
              </p:custDataLst>
            </p:nvPr>
          </p:nvSpPr>
          <p:spPr bwMode="gray">
            <a:xfrm>
              <a:off x="6138140" y="6234609"/>
              <a:ext cx="162835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Unsure/It's complicated</a:t>
              </a:r>
            </a:p>
          </p:txBody>
        </p:sp>
        <p:sp>
          <p:nvSpPr>
            <p:cNvPr id="64" name="TextBox 63"/>
            <p:cNvSpPr txBox="1"/>
            <p:nvPr>
              <p:custDataLst>
                <p:tags r:id="rId76"/>
              </p:custDataLst>
            </p:nvPr>
          </p:nvSpPr>
          <p:spPr bwMode="gray">
            <a:xfrm>
              <a:off x="1719680" y="6234609"/>
              <a:ext cx="49022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Grown</a:t>
              </a:r>
            </a:p>
          </p:txBody>
        </p:sp>
        <p:sp>
          <p:nvSpPr>
            <p:cNvPr id="63" name="TextBox 62"/>
            <p:cNvSpPr txBox="1"/>
            <p:nvPr>
              <p:custDataLst>
                <p:tags r:id="rId77"/>
              </p:custDataLst>
            </p:nvPr>
          </p:nvSpPr>
          <p:spPr bwMode="gray">
            <a:xfrm>
              <a:off x="2899423" y="6234609"/>
              <a:ext cx="135904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 dirty="0">
                  <a:effectLst/>
                  <a:ea typeface="ＭＳ Ｐゴシック" charset="-128"/>
                </a:rPr>
                <a:t>Remained constant</a:t>
              </a:r>
            </a:p>
          </p:txBody>
        </p:sp>
        <p:sp>
          <p:nvSpPr>
            <p:cNvPr id="69" name="Rectangle 68"/>
            <p:cNvSpPr/>
            <p:nvPr>
              <p:custDataLst>
                <p:tags r:id="rId78"/>
              </p:custDataLst>
            </p:nvPr>
          </p:nvSpPr>
          <p:spPr bwMode="gray">
            <a:xfrm>
              <a:off x="4666181" y="6234609"/>
              <a:ext cx="146018" cy="146018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0" name="Rectangle 69"/>
            <p:cNvSpPr/>
            <p:nvPr>
              <p:custDataLst>
                <p:tags r:id="rId79"/>
              </p:custDataLst>
            </p:nvPr>
          </p:nvSpPr>
          <p:spPr bwMode="gray">
            <a:xfrm>
              <a:off x="5972924" y="6234609"/>
              <a:ext cx="146018" cy="146018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7" name="Rectangle 66"/>
            <p:cNvSpPr/>
            <p:nvPr>
              <p:custDataLst>
                <p:tags r:id="rId80"/>
              </p:custDataLst>
            </p:nvPr>
          </p:nvSpPr>
          <p:spPr bwMode="gray">
            <a:xfrm>
              <a:off x="1554463" y="6234609"/>
              <a:ext cx="146018" cy="146018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8" name="Rectangle 67"/>
            <p:cNvSpPr/>
            <p:nvPr>
              <p:custDataLst>
                <p:tags r:id="rId81"/>
              </p:custDataLst>
            </p:nvPr>
          </p:nvSpPr>
          <p:spPr bwMode="gray">
            <a:xfrm>
              <a:off x="2734207" y="6234609"/>
              <a:ext cx="146018" cy="146018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-148905" y="1285859"/>
            <a:ext cx="12217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% Reporting Recent Trend in Advising Resources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766492" y="1452139"/>
            <a:ext cx="13589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/>
              <a:t>% with Advising </a:t>
            </a:r>
            <a:r>
              <a:rPr lang="en-US" sz="1200" b="1" dirty="0">
                <a:solidFill>
                  <a:schemeClr val="accent5"/>
                </a:solidFill>
              </a:rPr>
              <a:t>Caseloads</a:t>
            </a:r>
            <a:r>
              <a:rPr lang="en-US" sz="1200" dirty="0"/>
              <a:t> &gt; 250 Students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1521512" y="1267869"/>
            <a:ext cx="61729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Over the past three years how has the level of personnel dedicated to academic advising in your institution changed?</a:t>
            </a:r>
            <a:endParaRPr lang="en-US" sz="1600" dirty="0"/>
          </a:p>
        </p:txBody>
      </p:sp>
      <p:sp>
        <p:nvSpPr>
          <p:cNvPr id="83" name="TextBox 82"/>
          <p:cNvSpPr txBox="1"/>
          <p:nvPr/>
        </p:nvSpPr>
        <p:spPr>
          <a:xfrm rot="18769922">
            <a:off x="3455904" y="3737228"/>
            <a:ext cx="952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5"/>
                </a:solidFill>
              </a:rPr>
              <a:t>Caseload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3892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Advising Structures Involving Primary-role Advisors Are More Likely to Report Unmanageable Advising Caseloads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A2B7BD2-D651-4E11-945A-0F838A70810E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82840" y="2117787"/>
            <a:ext cx="8857014" cy="3631849"/>
            <a:chOff x="282840" y="2102400"/>
            <a:chExt cx="8857014" cy="3176542"/>
          </a:xfrm>
        </p:grpSpPr>
        <p:sp>
          <p:nvSpPr>
            <p:cNvPr id="4" name="Rectangle 3"/>
            <p:cNvSpPr/>
            <p:nvPr>
              <p:custDataLst>
                <p:tags r:id="rId3"/>
              </p:custDataLst>
            </p:nvPr>
          </p:nvSpPr>
          <p:spPr bwMode="gray">
            <a:xfrm>
              <a:off x="4964162" y="2491528"/>
              <a:ext cx="1199518" cy="527636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4"/>
              </p:custDataLst>
            </p:nvPr>
          </p:nvSpPr>
          <p:spPr bwMode="gray">
            <a:xfrm>
              <a:off x="3044933" y="2646492"/>
              <a:ext cx="1199518" cy="564699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5"/>
              </p:custDataLst>
            </p:nvPr>
          </p:nvSpPr>
          <p:spPr bwMode="gray">
            <a:xfrm>
              <a:off x="1125705" y="2658813"/>
              <a:ext cx="1199518" cy="876595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6"/>
              </p:custDataLst>
            </p:nvPr>
          </p:nvSpPr>
          <p:spPr bwMode="gray">
            <a:xfrm>
              <a:off x="6883391" y="2326031"/>
              <a:ext cx="1199517" cy="420154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7"/>
              </p:custDataLst>
            </p:nvPr>
          </p:nvSpPr>
          <p:spPr bwMode="gray">
            <a:xfrm>
              <a:off x="4964162" y="2194733"/>
              <a:ext cx="1199518" cy="296795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8"/>
              </p:custDataLst>
            </p:nvPr>
          </p:nvSpPr>
          <p:spPr bwMode="gray">
            <a:xfrm>
              <a:off x="3044933" y="2194733"/>
              <a:ext cx="1199518" cy="451759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9"/>
              </p:custDataLst>
            </p:nvPr>
          </p:nvSpPr>
          <p:spPr bwMode="gray">
            <a:xfrm>
              <a:off x="1125705" y="2194733"/>
              <a:ext cx="1199518" cy="464080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10"/>
              </p:custDataLst>
            </p:nvPr>
          </p:nvSpPr>
          <p:spPr bwMode="gray">
            <a:xfrm>
              <a:off x="6883391" y="2194733"/>
              <a:ext cx="1199517" cy="131298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1"/>
              </p:custDataLst>
            </p:nvPr>
          </p:nvSpPr>
          <p:spPr bwMode="gray">
            <a:xfrm>
              <a:off x="4964162" y="3019164"/>
              <a:ext cx="1199518" cy="2011612"/>
            </a:xfrm>
            <a:prstGeom prst="rect">
              <a:avLst/>
            </a:prstGeom>
            <a:solidFill>
              <a:schemeClr val="accent3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12"/>
              </p:custDataLst>
            </p:nvPr>
          </p:nvSpPr>
          <p:spPr bwMode="gray">
            <a:xfrm>
              <a:off x="6883391" y="2746186"/>
              <a:ext cx="1199517" cy="2284590"/>
            </a:xfrm>
            <a:prstGeom prst="rect">
              <a:avLst/>
            </a:prstGeom>
            <a:solidFill>
              <a:schemeClr val="accent3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3"/>
              </p:custDataLst>
            </p:nvPr>
          </p:nvSpPr>
          <p:spPr bwMode="gray">
            <a:xfrm>
              <a:off x="3044933" y="3211192"/>
              <a:ext cx="1199518" cy="1819585"/>
            </a:xfrm>
            <a:prstGeom prst="rect">
              <a:avLst/>
            </a:prstGeom>
            <a:solidFill>
              <a:schemeClr val="accent3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14"/>
              </p:custDataLst>
            </p:nvPr>
          </p:nvSpPr>
          <p:spPr bwMode="gray">
            <a:xfrm>
              <a:off x="1125705" y="3535408"/>
              <a:ext cx="1199518" cy="1495368"/>
            </a:xfrm>
            <a:prstGeom prst="rect">
              <a:avLst/>
            </a:prstGeom>
            <a:solidFill>
              <a:schemeClr val="accent3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A236471D-2305-4F30-B316-C18278F4DAD2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V="1">
              <a:off x="765849" y="2194733"/>
              <a:ext cx="0" cy="2836043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D8E5157-D089-43E9-A92C-5D77A309F008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>
              <a:off x="765849" y="5030776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DFD391E-C5CD-41FB-BF12-47D3805816D2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 bwMode="gray">
            <a:xfrm flipH="1">
              <a:off x="715049" y="276194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C4C05DF-9738-4A4B-9768-A36C43FCE9E8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>
              <a:off x="715049" y="446356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3EFA827-C789-43F2-817B-9DA0A32CAA56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>
              <a:off x="715049" y="5030776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C0D0BAB-D6E6-413D-95F0-45AC98F1F461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 bwMode="gray">
            <a:xfrm flipH="1">
              <a:off x="715049" y="3329150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6D8221D-9FA1-4530-A70D-115249815201}"/>
                </a:ext>
              </a:extLst>
            </p:cNvPr>
            <p:cNvCxnSpPr/>
            <p:nvPr>
              <p:custDataLst>
                <p:tags r:id="rId21"/>
              </p:custDataLst>
            </p:nvPr>
          </p:nvCxnSpPr>
          <p:spPr bwMode="gray">
            <a:xfrm flipH="1">
              <a:off x="715049" y="3896359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4773646-35F0-4616-8FEB-E896B632650C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 bwMode="gray">
            <a:xfrm flipH="1">
              <a:off x="715049" y="219473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367800" y="437123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%</a:t>
              </a:r>
            </a:p>
          </p:txBody>
        </p:sp>
        <p:sp>
          <p:nvSpPr>
            <p:cNvPr id="27" name="TextBox 26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367800" y="3236817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60%</a:t>
              </a:r>
            </a:p>
          </p:txBody>
        </p:sp>
        <p:sp>
          <p:nvSpPr>
            <p:cNvPr id="24" name="TextBox 23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367800" y="266960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80%</a:t>
              </a:r>
            </a:p>
          </p:txBody>
        </p:sp>
        <p:sp>
          <p:nvSpPr>
            <p:cNvPr id="25" name="TextBox 24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452759" y="4938443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0%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367800" y="3804025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0%</a:t>
              </a:r>
            </a:p>
          </p:txBody>
        </p:sp>
        <p:sp>
          <p:nvSpPr>
            <p:cNvPr id="29" name="TextBox 28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282840" y="2102400"/>
              <a:ext cx="43476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00%</a:t>
              </a:r>
            </a:p>
          </p:txBody>
        </p:sp>
        <p:sp>
          <p:nvSpPr>
            <p:cNvPr id="30" name="TextBox 29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8124806" y="2168049"/>
              <a:ext cx="101504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Seldom/Never</a:t>
              </a:r>
              <a:endParaRPr lang="en-US" sz="1200" dirty="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1" name="TextBox 30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3246495" y="5094276"/>
              <a:ext cx="79639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Split model</a:t>
              </a:r>
            </a:p>
          </p:txBody>
        </p:sp>
        <p:sp>
          <p:nvSpPr>
            <p:cNvPr id="36" name="TextBox 35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986628" y="5094276"/>
              <a:ext cx="1477671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Self-contained model</a:t>
              </a:r>
            </a:p>
          </p:txBody>
        </p:sp>
        <p:sp>
          <p:nvSpPr>
            <p:cNvPr id="32" name="TextBox 31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8124806" y="2443776"/>
              <a:ext cx="80601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Sometimes</a:t>
              </a:r>
            </a:p>
          </p:txBody>
        </p:sp>
        <p:sp>
          <p:nvSpPr>
            <p:cNvPr id="35" name="TextBox 34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6817730" y="5094276"/>
              <a:ext cx="1330840" cy="16151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 dirty="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Faculty-only model</a:t>
              </a:r>
            </a:p>
          </p:txBody>
        </p:sp>
        <p:sp>
          <p:nvSpPr>
            <p:cNvPr id="33" name="TextBox 32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4799437" y="5094276"/>
              <a:ext cx="152896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 dirty="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Supplementary model</a:t>
              </a:r>
            </a:p>
          </p:txBody>
        </p:sp>
        <p:sp>
          <p:nvSpPr>
            <p:cNvPr id="34" name="TextBox 33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8124806" y="3796148"/>
              <a:ext cx="94932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Always/Often</a:t>
              </a:r>
              <a:endParaRPr lang="en-US" sz="1200" dirty="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7" name="TextBox 36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7308248" y="244377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5%</a:t>
              </a:r>
            </a:p>
          </p:txBody>
        </p:sp>
        <p:sp>
          <p:nvSpPr>
            <p:cNvPr id="38" name="TextBox 37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550562" y="3004777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1%</a:t>
              </a:r>
            </a:p>
          </p:txBody>
        </p:sp>
        <p:sp>
          <p:nvSpPr>
            <p:cNvPr id="43" name="TextBox 42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3469791" y="402865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64%</a:t>
              </a:r>
            </a:p>
          </p:txBody>
        </p:sp>
        <p:sp>
          <p:nvSpPr>
            <p:cNvPr id="42" name="TextBox 41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1550562" y="419075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53%</a:t>
              </a:r>
            </a:p>
          </p:txBody>
        </p:sp>
        <p:sp>
          <p:nvSpPr>
            <p:cNvPr id="52" name="TextBox 51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5389020" y="225079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0%</a:t>
              </a:r>
            </a:p>
          </p:txBody>
        </p:sp>
        <p:sp>
          <p:nvSpPr>
            <p:cNvPr id="44" name="TextBox 43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5389020" y="3932637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71%</a:t>
              </a:r>
            </a:p>
          </p:txBody>
        </p:sp>
        <p:sp>
          <p:nvSpPr>
            <p:cNvPr id="41" name="TextBox 40"/>
            <p:cNvSpPr txBox="1"/>
            <p:nvPr>
              <p:custDataLst>
                <p:tags r:id="rId42"/>
              </p:custDataLst>
            </p:nvPr>
          </p:nvSpPr>
          <p:spPr bwMode="gray">
            <a:xfrm>
              <a:off x="7308248" y="379614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81%</a:t>
              </a:r>
            </a:p>
          </p:txBody>
        </p:sp>
        <p:sp>
          <p:nvSpPr>
            <p:cNvPr id="51" name="TextBox 50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3469791" y="232828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6%</a:t>
              </a:r>
            </a:p>
          </p:txBody>
        </p:sp>
        <p:sp>
          <p:nvSpPr>
            <p:cNvPr id="39" name="TextBox 38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3469791" y="283650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%</a:t>
              </a:r>
            </a:p>
          </p:txBody>
        </p:sp>
        <p:sp>
          <p:nvSpPr>
            <p:cNvPr id="40" name="TextBox 39"/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5389020" y="2663013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9%</a:t>
              </a:r>
            </a:p>
          </p:txBody>
        </p:sp>
        <p:sp>
          <p:nvSpPr>
            <p:cNvPr id="49" name="TextBox 48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7350729" y="2168049"/>
              <a:ext cx="264842" cy="184666"/>
            </a:xfrm>
            <a:prstGeom prst="rect">
              <a:avLst/>
            </a:prstGeom>
            <a:solidFill>
              <a:schemeClr val="accent1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5%</a:t>
              </a:r>
            </a:p>
          </p:txBody>
        </p:sp>
        <p:sp>
          <p:nvSpPr>
            <p:cNvPr id="50" name="TextBox 49"/>
            <p:cNvSpPr txBox="1"/>
            <p:nvPr>
              <p:custDataLst>
                <p:tags r:id="rId47"/>
              </p:custDataLst>
            </p:nvPr>
          </p:nvSpPr>
          <p:spPr bwMode="gray">
            <a:xfrm>
              <a:off x="1550562" y="233444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6%</a:t>
              </a: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1658683" y="1250499"/>
            <a:ext cx="58266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Is your caseload size manageable to effectively meet the needs of your </a:t>
            </a:r>
            <a:r>
              <a:rPr lang="en-US" sz="1600" b="1"/>
              <a:t>students?</a:t>
            </a:r>
            <a:endParaRPr lang="en-US" sz="16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-128385" y="5987368"/>
            <a:ext cx="1347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% with Advising Caseload &gt; 250 Student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596899" y="6140340"/>
            <a:ext cx="5375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67%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506255" y="6140340"/>
            <a:ext cx="5375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%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455693" y="6140340"/>
            <a:ext cx="5375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5%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451333" y="6140340"/>
            <a:ext cx="5375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2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388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33% of Institutions Report that a Lack of Coordination across Departments Impedes Advising Improveme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27430" y="1484643"/>
            <a:ext cx="5063420" cy="4788505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>
          <a:xfrm rot="4210170">
            <a:off x="2167201" y="1190687"/>
            <a:ext cx="4984595" cy="5040351"/>
          </a:xfrm>
          <a:custGeom>
            <a:avLst/>
            <a:gdLst>
              <a:gd name="connsiteX0" fmla="*/ 3925230 w 4984595"/>
              <a:gd name="connsiteY0" fmla="*/ 1449658 h 5040351"/>
              <a:gd name="connsiteX1" fmla="*/ 3936381 w 4984595"/>
              <a:gd name="connsiteY1" fmla="*/ 457200 h 5040351"/>
              <a:gd name="connsiteX2" fmla="*/ 2364059 w 4984595"/>
              <a:gd name="connsiteY2" fmla="*/ 0 h 5040351"/>
              <a:gd name="connsiteX3" fmla="*/ 0 w 4984595"/>
              <a:gd name="connsiteY3" fmla="*/ 1962614 h 5040351"/>
              <a:gd name="connsiteX4" fmla="*/ 1115122 w 4984595"/>
              <a:gd name="connsiteY4" fmla="*/ 5040351 h 5040351"/>
              <a:gd name="connsiteX5" fmla="*/ 4259766 w 4984595"/>
              <a:gd name="connsiteY5" fmla="*/ 4995746 h 5040351"/>
              <a:gd name="connsiteX6" fmla="*/ 4984595 w 4984595"/>
              <a:gd name="connsiteY6" fmla="*/ 3679902 h 5040351"/>
              <a:gd name="connsiteX7" fmla="*/ 4605454 w 4984595"/>
              <a:gd name="connsiteY7" fmla="*/ 3334214 h 5040351"/>
              <a:gd name="connsiteX8" fmla="*/ 4360127 w 4984595"/>
              <a:gd name="connsiteY8" fmla="*/ 3401122 h 5040351"/>
              <a:gd name="connsiteX9" fmla="*/ 4181708 w 4984595"/>
              <a:gd name="connsiteY9" fmla="*/ 3189249 h 5040351"/>
              <a:gd name="connsiteX10" fmla="*/ 3579542 w 4984595"/>
              <a:gd name="connsiteY10" fmla="*/ 2821258 h 5040351"/>
              <a:gd name="connsiteX11" fmla="*/ 3501483 w 4984595"/>
              <a:gd name="connsiteY11" fmla="*/ 1951463 h 5040351"/>
              <a:gd name="connsiteX12" fmla="*/ 3679903 w 4984595"/>
              <a:gd name="connsiteY12" fmla="*/ 1550019 h 5040351"/>
              <a:gd name="connsiteX13" fmla="*/ 3925230 w 4984595"/>
              <a:gd name="connsiteY13" fmla="*/ 1449658 h 5040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84595" h="5040351">
                <a:moveTo>
                  <a:pt x="3925230" y="1449658"/>
                </a:moveTo>
                <a:lnTo>
                  <a:pt x="3936381" y="457200"/>
                </a:lnTo>
                <a:lnTo>
                  <a:pt x="2364059" y="0"/>
                </a:lnTo>
                <a:lnTo>
                  <a:pt x="0" y="1962614"/>
                </a:lnTo>
                <a:lnTo>
                  <a:pt x="1115122" y="5040351"/>
                </a:lnTo>
                <a:lnTo>
                  <a:pt x="4259766" y="4995746"/>
                </a:lnTo>
                <a:lnTo>
                  <a:pt x="4984595" y="3679902"/>
                </a:lnTo>
                <a:lnTo>
                  <a:pt x="4605454" y="3334214"/>
                </a:lnTo>
                <a:lnTo>
                  <a:pt x="4360127" y="3401122"/>
                </a:lnTo>
                <a:lnTo>
                  <a:pt x="4181708" y="3189249"/>
                </a:lnTo>
                <a:lnTo>
                  <a:pt x="3579542" y="2821258"/>
                </a:lnTo>
                <a:lnTo>
                  <a:pt x="3501483" y="1951463"/>
                </a:lnTo>
                <a:lnTo>
                  <a:pt x="3679903" y="1550019"/>
                </a:lnTo>
                <a:lnTo>
                  <a:pt x="3925230" y="1449658"/>
                </a:lnTo>
                <a:close/>
              </a:path>
            </a:pathLst>
          </a:custGeom>
          <a:solidFill>
            <a:schemeClr val="bg1">
              <a:alpha val="6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292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all, Coordination Has Improved Since 2015</a:t>
            </a:r>
            <a:endParaRPr lang="en-US" dirty="0"/>
          </a:p>
        </p:txBody>
      </p:sp>
      <p:grpSp>
        <p:nvGrpSpPr>
          <p:cNvPr id="37" name="Group 36"/>
          <p:cNvGrpSpPr/>
          <p:nvPr>
            <p:custDataLst>
              <p:tags r:id="rId2"/>
            </p:custDataLst>
          </p:nvPr>
        </p:nvGrpSpPr>
        <p:grpSpPr>
          <a:xfrm>
            <a:off x="1387317" y="2225924"/>
            <a:ext cx="6104370" cy="3920400"/>
            <a:chOff x="1387317" y="2225924"/>
            <a:chExt cx="6104370" cy="3920400"/>
          </a:xfrm>
        </p:grpSpPr>
        <p:sp>
          <p:nvSpPr>
            <p:cNvPr id="7" name="Rectangle 6"/>
            <p:cNvSpPr/>
            <p:nvPr>
              <p:custDataLst>
                <p:tags r:id="rId3"/>
              </p:custDataLst>
            </p:nvPr>
          </p:nvSpPr>
          <p:spPr bwMode="gray">
            <a:xfrm>
              <a:off x="5173494" y="2740685"/>
              <a:ext cx="1783225" cy="3157473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4"/>
              </p:custDataLst>
            </p:nvPr>
          </p:nvSpPr>
          <p:spPr bwMode="gray">
            <a:xfrm>
              <a:off x="2320333" y="3363588"/>
              <a:ext cx="1783225" cy="2534570"/>
            </a:xfrm>
            <a:prstGeom prst="rect">
              <a:avLst/>
            </a:prstGeom>
            <a:solidFill>
              <a:srgbClr val="72848C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3" name="Straight Connector 2"/>
            <p:cNvCxnSpPr/>
            <p:nvPr>
              <p:custDataLst>
                <p:tags r:id="rId5"/>
              </p:custDataLst>
            </p:nvPr>
          </p:nvCxnSpPr>
          <p:spPr bwMode="gray">
            <a:xfrm flipV="1">
              <a:off x="1785366" y="2318257"/>
              <a:ext cx="0" cy="3579901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>
              <p:custDataLst>
                <p:tags r:id="rId6"/>
              </p:custDataLst>
            </p:nvPr>
          </p:nvCxnSpPr>
          <p:spPr bwMode="gray">
            <a:xfrm>
              <a:off x="1785366" y="5898158"/>
              <a:ext cx="5706321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>
              <p:custDataLst>
                <p:tags r:id="rId7"/>
              </p:custDataLst>
            </p:nvPr>
          </p:nvCxnSpPr>
          <p:spPr bwMode="gray">
            <a:xfrm flipH="1">
              <a:off x="1734566" y="303423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>
              <p:custDataLst>
                <p:tags r:id="rId8"/>
              </p:custDataLst>
            </p:nvPr>
          </p:nvCxnSpPr>
          <p:spPr bwMode="gray">
            <a:xfrm flipH="1">
              <a:off x="1734566" y="375021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>
              <p:custDataLst>
                <p:tags r:id="rId9"/>
              </p:custDataLst>
            </p:nvPr>
          </p:nvCxnSpPr>
          <p:spPr bwMode="gray">
            <a:xfrm flipH="1">
              <a:off x="1734566" y="589815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>
              <p:custDataLst>
                <p:tags r:id="rId10"/>
              </p:custDataLst>
            </p:nvPr>
          </p:nvCxnSpPr>
          <p:spPr bwMode="gray">
            <a:xfrm flipH="1">
              <a:off x="1734566" y="231825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1734566" y="446619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>
              <p:custDataLst>
                <p:tags r:id="rId12"/>
              </p:custDataLst>
            </p:nvPr>
          </p:nvCxnSpPr>
          <p:spPr bwMode="gray">
            <a:xfrm flipH="1">
              <a:off x="1734566" y="518217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>
              <p:custDataLst>
                <p:tags r:id="rId13"/>
              </p:custDataLst>
            </p:nvPr>
          </p:nvCxnSpPr>
          <p:spPr bwMode="gray">
            <a:xfrm flipV="1">
              <a:off x="3995225" y="2740685"/>
              <a:ext cx="1178269" cy="622903"/>
            </a:xfrm>
            <a:prstGeom prst="line">
              <a:avLst/>
            </a:prstGeom>
            <a:ln cmpd="sng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1472276" y="5805825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0%</a:t>
              </a:r>
            </a:p>
          </p:txBody>
        </p:sp>
        <p:sp>
          <p:nvSpPr>
            <p:cNvPr id="23" name="TextBox 22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1387317" y="5089845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0%</a:t>
              </a:r>
            </a:p>
          </p:txBody>
        </p:sp>
        <p:sp>
          <p:nvSpPr>
            <p:cNvPr id="20" name="TextBox 19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1387317" y="2941905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0%</a:t>
              </a:r>
            </a:p>
          </p:txBody>
        </p:sp>
        <p:sp>
          <p:nvSpPr>
            <p:cNvPr id="25" name="TextBox 24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387317" y="222592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50%</a:t>
              </a:r>
            </a:p>
          </p:txBody>
        </p:sp>
        <p:sp>
          <p:nvSpPr>
            <p:cNvPr id="19" name="TextBox 18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387317" y="437386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%</a:t>
              </a:r>
              <a:endParaRPr lang="en-US" sz="1200" dirty="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387317" y="365788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0%</a:t>
              </a:r>
            </a:p>
          </p:txBody>
        </p:sp>
        <p:sp>
          <p:nvSpPr>
            <p:cNvPr id="27" name="TextBox 26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3020213" y="5961658"/>
              <a:ext cx="383466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15</a:t>
              </a:r>
            </a:p>
          </p:txBody>
        </p:sp>
        <p:sp>
          <p:nvSpPr>
            <p:cNvPr id="26" name="TextBox 25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873373" y="5961658"/>
              <a:ext cx="383466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17</a:t>
              </a:r>
            </a:p>
          </p:txBody>
        </p:sp>
        <p:sp>
          <p:nvSpPr>
            <p:cNvPr id="29" name="TextBox 28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3037045" y="4538540"/>
              <a:ext cx="349801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5%</a:t>
              </a:r>
              <a:endPara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8" name="TextBox 27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890206" y="4227089"/>
              <a:ext cx="349801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4%</a:t>
              </a:r>
              <a:endParaRPr lang="en-US" sz="1200"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1286822" y="1280419"/>
            <a:ext cx="67322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Cross-departmental collaboration exists to support academic advising</a:t>
            </a:r>
            <a:r>
              <a:rPr lang="en-US" sz="1600" b="1" dirty="0" smtClean="0"/>
              <a:t>.</a:t>
            </a:r>
            <a:endParaRPr lang="en-US" sz="1600" b="1" dirty="0"/>
          </a:p>
        </p:txBody>
      </p:sp>
      <p:sp>
        <p:nvSpPr>
          <p:cNvPr id="105" name="TextBox 104"/>
          <p:cNvSpPr txBox="1"/>
          <p:nvPr/>
        </p:nvSpPr>
        <p:spPr>
          <a:xfrm>
            <a:off x="1125152" y="1853229"/>
            <a:ext cx="764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% Agre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832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Box 67"/>
          <p:cNvSpPr txBox="1"/>
          <p:nvPr/>
        </p:nvSpPr>
        <p:spPr>
          <a:xfrm>
            <a:off x="1805017" y="1333629"/>
            <a:ext cx="55339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Cross-departmental collaboration exists to support academic advising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on Is More Common at Institutions Using </a:t>
            </a:r>
            <a:br>
              <a:rPr lang="en-US" dirty="0"/>
            </a:br>
            <a:r>
              <a:rPr lang="en-US" dirty="0"/>
              <a:t>Self-contained Advising Centers</a:t>
            </a:r>
          </a:p>
        </p:txBody>
      </p:sp>
      <p:grpSp>
        <p:nvGrpSpPr>
          <p:cNvPr id="49" name="Group 48"/>
          <p:cNvGrpSpPr/>
          <p:nvPr>
            <p:custDataLst>
              <p:tags r:id="rId2"/>
            </p:custDataLst>
          </p:nvPr>
        </p:nvGrpSpPr>
        <p:grpSpPr>
          <a:xfrm>
            <a:off x="377033" y="2112559"/>
            <a:ext cx="8492433" cy="3920400"/>
            <a:chOff x="377033" y="2112559"/>
            <a:chExt cx="8492433" cy="3920400"/>
          </a:xfrm>
        </p:grpSpPr>
        <p:sp>
          <p:nvSpPr>
            <p:cNvPr id="5" name="Rectangle 4"/>
            <p:cNvSpPr/>
            <p:nvPr>
              <p:custDataLst>
                <p:tags r:id="rId3"/>
              </p:custDataLst>
            </p:nvPr>
          </p:nvSpPr>
          <p:spPr bwMode="gray">
            <a:xfrm>
              <a:off x="5055602" y="2849274"/>
              <a:ext cx="1199518" cy="1482079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4"/>
              </p:custDataLst>
            </p:nvPr>
          </p:nvSpPr>
          <p:spPr bwMode="gray">
            <a:xfrm>
              <a:off x="6974831" y="2741877"/>
              <a:ext cx="1199518" cy="1525038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1217144" y="2544982"/>
              <a:ext cx="1199518" cy="1145568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6"/>
              </p:custDataLst>
            </p:nvPr>
          </p:nvSpPr>
          <p:spPr bwMode="gray">
            <a:xfrm>
              <a:off x="3136373" y="2838535"/>
              <a:ext cx="1199518" cy="1557257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7"/>
              </p:custDataLst>
            </p:nvPr>
          </p:nvSpPr>
          <p:spPr bwMode="gray">
            <a:xfrm>
              <a:off x="5055602" y="4331353"/>
              <a:ext cx="1199518" cy="1453440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8"/>
              </p:custDataLst>
            </p:nvPr>
          </p:nvSpPr>
          <p:spPr bwMode="gray">
            <a:xfrm>
              <a:off x="6974831" y="4266914"/>
              <a:ext cx="1199518" cy="1517877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9"/>
              </p:custDataLst>
            </p:nvPr>
          </p:nvSpPr>
          <p:spPr bwMode="gray">
            <a:xfrm>
              <a:off x="1217144" y="3690550"/>
              <a:ext cx="1199518" cy="2094241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10"/>
              </p:custDataLst>
            </p:nvPr>
          </p:nvSpPr>
          <p:spPr bwMode="gray">
            <a:xfrm>
              <a:off x="3136373" y="4395791"/>
              <a:ext cx="1199518" cy="1389002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6" name="Rectangle 15"/>
            <p:cNvSpPr/>
            <p:nvPr>
              <p:custDataLst>
                <p:tags r:id="rId11"/>
              </p:custDataLst>
            </p:nvPr>
          </p:nvSpPr>
          <p:spPr bwMode="gray">
            <a:xfrm>
              <a:off x="1217144" y="2204891"/>
              <a:ext cx="1199518" cy="340091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2"/>
              </p:custDataLst>
            </p:nvPr>
          </p:nvSpPr>
          <p:spPr bwMode="gray">
            <a:xfrm>
              <a:off x="3136373" y="2204891"/>
              <a:ext cx="1199518" cy="633642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13"/>
              </p:custDataLst>
            </p:nvPr>
          </p:nvSpPr>
          <p:spPr bwMode="gray">
            <a:xfrm>
              <a:off x="5055602" y="2204891"/>
              <a:ext cx="1199518" cy="644382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4"/>
              </p:custDataLst>
            </p:nvPr>
          </p:nvSpPr>
          <p:spPr bwMode="gray">
            <a:xfrm>
              <a:off x="6974831" y="2204891"/>
              <a:ext cx="1199518" cy="536985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2" name="Straight Connector 1"/>
            <p:cNvCxnSpPr/>
            <p:nvPr>
              <p:custDataLst>
                <p:tags r:id="rId15"/>
              </p:custDataLst>
            </p:nvPr>
          </p:nvCxnSpPr>
          <p:spPr bwMode="gray">
            <a:xfrm>
              <a:off x="857288" y="5784793"/>
              <a:ext cx="7676917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/>
            <p:cNvCxnSpPr/>
            <p:nvPr>
              <p:custDataLst>
                <p:tags r:id="rId16"/>
              </p:custDataLst>
            </p:nvPr>
          </p:nvCxnSpPr>
          <p:spPr bwMode="gray">
            <a:xfrm flipV="1">
              <a:off x="857288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>
              <p:custDataLst>
                <p:tags r:id="rId17"/>
              </p:custDataLst>
            </p:nvPr>
          </p:nvCxnSpPr>
          <p:spPr bwMode="gray">
            <a:xfrm flipH="1">
              <a:off x="806488" y="506881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>
              <p:custDataLst>
                <p:tags r:id="rId18"/>
              </p:custDataLst>
            </p:nvPr>
          </p:nvCxnSpPr>
          <p:spPr bwMode="gray">
            <a:xfrm flipH="1">
              <a:off x="806488" y="435283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>
              <p:custDataLst>
                <p:tags r:id="rId19"/>
              </p:custDataLst>
            </p:nvPr>
          </p:nvCxnSpPr>
          <p:spPr bwMode="gray">
            <a:xfrm flipH="1">
              <a:off x="806488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>
              <p:custDataLst>
                <p:tags r:id="rId20"/>
              </p:custDataLst>
            </p:nvPr>
          </p:nvCxnSpPr>
          <p:spPr bwMode="gray">
            <a:xfrm flipH="1">
              <a:off x="806488" y="363685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>
              <p:custDataLst>
                <p:tags r:id="rId21"/>
              </p:custDataLst>
            </p:nvPr>
          </p:nvCxnSpPr>
          <p:spPr bwMode="gray">
            <a:xfrm flipH="1">
              <a:off x="806488" y="292087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>
              <p:custDataLst>
                <p:tags r:id="rId22"/>
              </p:custDataLst>
            </p:nvPr>
          </p:nvCxnSpPr>
          <p:spPr bwMode="gray">
            <a:xfrm flipH="1">
              <a:off x="806488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61993" y="282853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80%</a:t>
              </a:r>
            </a:p>
          </p:txBody>
        </p:sp>
        <p:sp>
          <p:nvSpPr>
            <p:cNvPr id="25" name="TextBox 24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46952" y="5692460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0%</a:t>
              </a:r>
            </a:p>
          </p:txBody>
        </p:sp>
        <p:sp>
          <p:nvSpPr>
            <p:cNvPr id="26" name="TextBox 25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461993" y="497648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29" name="TextBox 28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461993" y="354451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60%</a:t>
              </a:r>
            </a:p>
          </p:txBody>
        </p:sp>
        <p:sp>
          <p:nvSpPr>
            <p:cNvPr id="30" name="TextBox 29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461993" y="426050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dirty="0"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377033" y="2112559"/>
              <a:ext cx="42930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100%</a:t>
              </a:r>
            </a:p>
          </p:txBody>
        </p:sp>
        <p:sp>
          <p:nvSpPr>
            <p:cNvPr id="64" name="TextBox 63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8218946" y="4933521"/>
              <a:ext cx="44693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Agree</a:t>
              </a:r>
            </a:p>
          </p:txBody>
        </p:sp>
        <p:sp>
          <p:nvSpPr>
            <p:cNvPr id="31" name="TextBox 30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7406424" y="5848293"/>
              <a:ext cx="33633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Split</a:t>
              </a:r>
            </a:p>
          </p:txBody>
        </p:sp>
        <p:sp>
          <p:nvSpPr>
            <p:cNvPr id="65" name="TextBox 64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8218946" y="3412064"/>
              <a:ext cx="53189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 dirty="0">
                  <a:effectLst/>
                  <a:ea typeface="ＭＳ Ｐゴシック" charset="-128"/>
                </a:rPr>
                <a:t>Neutral</a:t>
              </a:r>
            </a:p>
          </p:txBody>
        </p:sp>
        <p:sp>
          <p:nvSpPr>
            <p:cNvPr id="32" name="TextBox 31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5120909" y="5848293"/>
              <a:ext cx="106890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Supplementary</a:t>
              </a:r>
            </a:p>
          </p:txBody>
        </p:sp>
        <p:sp>
          <p:nvSpPr>
            <p:cNvPr id="66" name="TextBox 65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8218946" y="2381052"/>
              <a:ext cx="65052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Disagree</a:t>
              </a:r>
            </a:p>
          </p:txBody>
        </p:sp>
        <p:sp>
          <p:nvSpPr>
            <p:cNvPr id="34" name="TextBox 33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3307478" y="5848293"/>
              <a:ext cx="85730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Faculty only</a:t>
              </a:r>
            </a:p>
          </p:txBody>
        </p:sp>
        <p:sp>
          <p:nvSpPr>
            <p:cNvPr id="33" name="TextBox 32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1308099" y="5848293"/>
              <a:ext cx="101760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>
                  <a:effectLst/>
                  <a:ea typeface="ＭＳ Ｐゴシック" charset="-128"/>
                </a:rPr>
                <a:t>Self-contained</a:t>
              </a:r>
            </a:p>
          </p:txBody>
        </p:sp>
        <p:sp>
          <p:nvSpPr>
            <p:cNvPr id="35" name="TextBox 34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3563959" y="3524831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4%</a:t>
              </a:r>
            </a:p>
          </p:txBody>
        </p:sp>
        <p:sp>
          <p:nvSpPr>
            <p:cNvPr id="36" name="TextBox 35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644730" y="302543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2%</a:t>
              </a:r>
            </a:p>
          </p:txBody>
        </p:sp>
        <p:sp>
          <p:nvSpPr>
            <p:cNvPr id="37" name="TextBox 36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7402417" y="341206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3%</a:t>
              </a:r>
            </a:p>
          </p:txBody>
        </p:sp>
        <p:sp>
          <p:nvSpPr>
            <p:cNvPr id="38" name="TextBox 37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5483188" y="349798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1%</a:t>
              </a:r>
            </a:p>
          </p:txBody>
        </p:sp>
        <p:sp>
          <p:nvSpPr>
            <p:cNvPr id="39" name="TextBox 38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3563959" y="2429381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8%</a:t>
              </a:r>
            </a:p>
          </p:txBody>
        </p:sp>
        <p:sp>
          <p:nvSpPr>
            <p:cNvPr id="40" name="TextBox 39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1644730" y="228260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0%</a:t>
              </a:r>
            </a:p>
          </p:txBody>
        </p:sp>
        <p:sp>
          <p:nvSpPr>
            <p:cNvPr id="41" name="TextBox 40"/>
            <p:cNvSpPr txBox="1"/>
            <p:nvPr>
              <p:custDataLst>
                <p:tags r:id="rId42"/>
              </p:custDataLst>
            </p:nvPr>
          </p:nvSpPr>
          <p:spPr bwMode="gray">
            <a:xfrm>
              <a:off x="7402417" y="2381052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5%</a:t>
              </a:r>
            </a:p>
          </p:txBody>
        </p:sp>
        <p:sp>
          <p:nvSpPr>
            <p:cNvPr id="42" name="TextBox 41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5483188" y="243475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8%</a:t>
              </a:r>
            </a:p>
          </p:txBody>
        </p:sp>
        <p:sp>
          <p:nvSpPr>
            <p:cNvPr id="43" name="TextBox 42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3563959" y="499795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9%</a:t>
              </a:r>
            </a:p>
          </p:txBody>
        </p:sp>
        <p:sp>
          <p:nvSpPr>
            <p:cNvPr id="44" name="TextBox 43"/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1644730" y="464533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59%</a:t>
              </a:r>
            </a:p>
          </p:txBody>
        </p:sp>
        <p:sp>
          <p:nvSpPr>
            <p:cNvPr id="45" name="TextBox 44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7402417" y="4933521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2%</a:t>
              </a:r>
            </a:p>
          </p:txBody>
        </p:sp>
        <p:sp>
          <p:nvSpPr>
            <p:cNvPr id="46" name="TextBox 45"/>
            <p:cNvSpPr txBox="1"/>
            <p:nvPr>
              <p:custDataLst>
                <p:tags r:id="rId47"/>
              </p:custDataLst>
            </p:nvPr>
          </p:nvSpPr>
          <p:spPr bwMode="gray">
            <a:xfrm>
              <a:off x="5483188" y="496574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1%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90333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A Majority of Respondents Report that Technology Enhances Academic Advis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27430" y="1484643"/>
            <a:ext cx="5063420" cy="4788505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>
          <a:xfrm rot="8639242">
            <a:off x="2415026" y="1558649"/>
            <a:ext cx="4984595" cy="5040351"/>
          </a:xfrm>
          <a:custGeom>
            <a:avLst/>
            <a:gdLst>
              <a:gd name="connsiteX0" fmla="*/ 3925230 w 4984595"/>
              <a:gd name="connsiteY0" fmla="*/ 1449658 h 5040351"/>
              <a:gd name="connsiteX1" fmla="*/ 3936381 w 4984595"/>
              <a:gd name="connsiteY1" fmla="*/ 457200 h 5040351"/>
              <a:gd name="connsiteX2" fmla="*/ 2364059 w 4984595"/>
              <a:gd name="connsiteY2" fmla="*/ 0 h 5040351"/>
              <a:gd name="connsiteX3" fmla="*/ 0 w 4984595"/>
              <a:gd name="connsiteY3" fmla="*/ 1962614 h 5040351"/>
              <a:gd name="connsiteX4" fmla="*/ 1115122 w 4984595"/>
              <a:gd name="connsiteY4" fmla="*/ 5040351 h 5040351"/>
              <a:gd name="connsiteX5" fmla="*/ 4259766 w 4984595"/>
              <a:gd name="connsiteY5" fmla="*/ 4995746 h 5040351"/>
              <a:gd name="connsiteX6" fmla="*/ 4984595 w 4984595"/>
              <a:gd name="connsiteY6" fmla="*/ 3679902 h 5040351"/>
              <a:gd name="connsiteX7" fmla="*/ 4605454 w 4984595"/>
              <a:gd name="connsiteY7" fmla="*/ 3334214 h 5040351"/>
              <a:gd name="connsiteX8" fmla="*/ 4360127 w 4984595"/>
              <a:gd name="connsiteY8" fmla="*/ 3401122 h 5040351"/>
              <a:gd name="connsiteX9" fmla="*/ 4181708 w 4984595"/>
              <a:gd name="connsiteY9" fmla="*/ 3189249 h 5040351"/>
              <a:gd name="connsiteX10" fmla="*/ 3579542 w 4984595"/>
              <a:gd name="connsiteY10" fmla="*/ 2821258 h 5040351"/>
              <a:gd name="connsiteX11" fmla="*/ 3501483 w 4984595"/>
              <a:gd name="connsiteY11" fmla="*/ 1951463 h 5040351"/>
              <a:gd name="connsiteX12" fmla="*/ 3679903 w 4984595"/>
              <a:gd name="connsiteY12" fmla="*/ 1550019 h 5040351"/>
              <a:gd name="connsiteX13" fmla="*/ 3925230 w 4984595"/>
              <a:gd name="connsiteY13" fmla="*/ 1449658 h 5040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984595" h="5040351">
                <a:moveTo>
                  <a:pt x="3925230" y="1449658"/>
                </a:moveTo>
                <a:lnTo>
                  <a:pt x="3936381" y="457200"/>
                </a:lnTo>
                <a:lnTo>
                  <a:pt x="2364059" y="0"/>
                </a:lnTo>
                <a:lnTo>
                  <a:pt x="0" y="1962614"/>
                </a:lnTo>
                <a:lnTo>
                  <a:pt x="1115122" y="5040351"/>
                </a:lnTo>
                <a:lnTo>
                  <a:pt x="4259766" y="4995746"/>
                </a:lnTo>
                <a:lnTo>
                  <a:pt x="4984595" y="3679902"/>
                </a:lnTo>
                <a:lnTo>
                  <a:pt x="4605454" y="3334214"/>
                </a:lnTo>
                <a:lnTo>
                  <a:pt x="4360127" y="3401122"/>
                </a:lnTo>
                <a:lnTo>
                  <a:pt x="4181708" y="3189249"/>
                </a:lnTo>
                <a:lnTo>
                  <a:pt x="3579542" y="2821258"/>
                </a:lnTo>
                <a:lnTo>
                  <a:pt x="3501483" y="1951463"/>
                </a:lnTo>
                <a:lnTo>
                  <a:pt x="3679903" y="1550019"/>
                </a:lnTo>
                <a:lnTo>
                  <a:pt x="3925230" y="1449658"/>
                </a:lnTo>
                <a:close/>
              </a:path>
            </a:pathLst>
          </a:custGeom>
          <a:solidFill>
            <a:schemeClr val="bg1">
              <a:alpha val="6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8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itutions Increasingly Believe Technology Improves Academic Advisin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B835342-E3C7-4306-88C6-21E72D707BCD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1387316" y="2225924"/>
            <a:ext cx="6104371" cy="3920400"/>
            <a:chOff x="1387316" y="2225924"/>
            <a:chExt cx="6104371" cy="3920400"/>
          </a:xfrm>
        </p:grpSpPr>
        <p:sp>
          <p:nvSpPr>
            <p:cNvPr id="7" name="Rectangle 6"/>
            <p:cNvSpPr/>
            <p:nvPr>
              <p:custDataLst>
                <p:tags r:id="rId3"/>
              </p:custDataLst>
            </p:nvPr>
          </p:nvSpPr>
          <p:spPr bwMode="gray">
            <a:xfrm>
              <a:off x="5173494" y="2759778"/>
              <a:ext cx="1783225" cy="3138380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4"/>
              </p:custDataLst>
            </p:nvPr>
          </p:nvSpPr>
          <p:spPr bwMode="gray">
            <a:xfrm>
              <a:off x="2320334" y="4012743"/>
              <a:ext cx="1783225" cy="1885414"/>
            </a:xfrm>
            <a:prstGeom prst="rect">
              <a:avLst/>
            </a:prstGeom>
            <a:solidFill>
              <a:srgbClr val="72848C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2" name="Straight Connector 1">
              <a:extLst>
                <a:ext uri="{FF2B5EF4-FFF2-40B4-BE49-F238E27FC236}">
                  <a16:creationId xmlns:a16="http://schemas.microsoft.com/office/drawing/2014/main" id="{5DE08D98-8775-4DCD-B9DB-4D1DF8E149B2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 bwMode="gray">
            <a:xfrm flipV="1">
              <a:off x="1785366" y="2318257"/>
              <a:ext cx="0" cy="3579901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3318279-5A76-46BC-85BD-A7910549D792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>
              <a:off x="1785366" y="5898158"/>
              <a:ext cx="5706321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9214E0F-6C51-4F68-B488-6697D93EAE6F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>
              <a:off x="1734566" y="530150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802DB6F-A9D5-4FF4-9150-98DDA3594235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 flipH="1">
              <a:off x="1734566" y="589815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B4C73DF-A216-4442-9B34-B1ADC347D721}"/>
                </a:ext>
              </a:extLst>
            </p:cNvPr>
            <p:cNvCxnSpPr/>
            <p:nvPr>
              <p:custDataLst>
                <p:tags r:id="rId9"/>
              </p:custDataLst>
            </p:nvPr>
          </p:nvCxnSpPr>
          <p:spPr bwMode="gray">
            <a:xfrm flipH="1">
              <a:off x="1734566" y="291490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D67BD01-18D8-4298-9D33-B30370B612E4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 flipH="1">
              <a:off x="1734566" y="470485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FBA2C59-6DBA-49E7-91DE-23AC0A7696BA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1734566" y="231825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2CDD436-02E7-4A69-AB0E-6AFB41C356FE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>
              <a:off x="1734566" y="351155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14D6B01-156F-4B70-B862-BE09C2B9449E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>
              <a:off x="1734566" y="410820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prstDash val="solid"/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D6C7723-A4F3-4BEE-9C91-96FF89D22AEB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V="1">
              <a:off x="4103559" y="2759778"/>
              <a:ext cx="1069935" cy="1252965"/>
            </a:xfrm>
            <a:prstGeom prst="line">
              <a:avLst/>
            </a:prstGeom>
            <a:ln w="25400" cmpd="sng">
              <a:solidFill>
                <a:schemeClr val="tx1"/>
              </a:solidFill>
              <a:prstDash val="solid"/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1387316" y="520917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0%</a:t>
              </a:r>
            </a:p>
          </p:txBody>
        </p:sp>
        <p:sp>
          <p:nvSpPr>
            <p:cNvPr id="19" name="TextBox 18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1387316" y="461252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%</a:t>
              </a:r>
              <a:endParaRPr lang="en-US" sz="1200" dirty="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387316" y="401587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0%</a:t>
              </a:r>
            </a:p>
          </p:txBody>
        </p:sp>
        <p:sp>
          <p:nvSpPr>
            <p:cNvPr id="20" name="TextBox 19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387316" y="341922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0%</a:t>
              </a:r>
            </a:p>
          </p:txBody>
        </p:sp>
        <p:sp>
          <p:nvSpPr>
            <p:cNvPr id="25" name="TextBox 24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387316" y="282257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50%</a:t>
              </a:r>
            </a:p>
          </p:txBody>
        </p:sp>
        <p:sp>
          <p:nvSpPr>
            <p:cNvPr id="21" name="TextBox 20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387316" y="222592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60%</a:t>
              </a:r>
            </a:p>
          </p:txBody>
        </p:sp>
        <p:sp>
          <p:nvSpPr>
            <p:cNvPr id="24" name="TextBox 23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472276" y="5805825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0%</a:t>
              </a:r>
            </a:p>
          </p:txBody>
        </p:sp>
        <p:sp>
          <p:nvSpPr>
            <p:cNvPr id="27" name="TextBox 26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3020213" y="5961658"/>
              <a:ext cx="383466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15</a:t>
              </a:r>
            </a:p>
          </p:txBody>
        </p:sp>
        <p:sp>
          <p:nvSpPr>
            <p:cNvPr id="26" name="TextBox 25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873374" y="5961658"/>
              <a:ext cx="383466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17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882934" y="4236634"/>
              <a:ext cx="36434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53%</a:t>
              </a:r>
            </a:p>
          </p:txBody>
        </p:sp>
        <p:sp>
          <p:nvSpPr>
            <p:cNvPr id="29" name="TextBox 28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3029774" y="4863117"/>
              <a:ext cx="36434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2%</a:t>
              </a:r>
              <a:endPara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1286822" y="1280419"/>
            <a:ext cx="67322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Technology effectively enhances our academic advising function.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1125152" y="1853229"/>
            <a:ext cx="764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% Agre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2211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Majority of Institutions Report that Spending on Technology Has Increased in Recent Years</a:t>
            </a:r>
          </a:p>
        </p:txBody>
      </p:sp>
      <p:grpSp>
        <p:nvGrpSpPr>
          <p:cNvPr id="123" name="Group 122"/>
          <p:cNvGrpSpPr/>
          <p:nvPr>
            <p:custDataLst>
              <p:tags r:id="rId2"/>
            </p:custDataLst>
          </p:nvPr>
        </p:nvGrpSpPr>
        <p:grpSpPr>
          <a:xfrm>
            <a:off x="308020" y="2107578"/>
            <a:ext cx="8519053" cy="3925381"/>
            <a:chOff x="374280" y="2107578"/>
            <a:chExt cx="8519053" cy="3925381"/>
          </a:xfrm>
        </p:grpSpPr>
        <p:sp>
          <p:nvSpPr>
            <p:cNvPr id="58" name="Rectangle 57"/>
            <p:cNvSpPr/>
            <p:nvPr>
              <p:custDataLst>
                <p:tags r:id="rId3"/>
              </p:custDataLst>
            </p:nvPr>
          </p:nvSpPr>
          <p:spPr bwMode="gray">
            <a:xfrm>
              <a:off x="3896068" y="2480545"/>
              <a:ext cx="1599358" cy="902135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3" name="Rectangle 52"/>
            <p:cNvSpPr/>
            <p:nvPr>
              <p:custDataLst>
                <p:tags r:id="rId4"/>
              </p:custDataLst>
            </p:nvPr>
          </p:nvSpPr>
          <p:spPr bwMode="gray">
            <a:xfrm>
              <a:off x="3896068" y="2355248"/>
              <a:ext cx="1599358" cy="125297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4" name="Rectangle 53"/>
            <p:cNvSpPr/>
            <p:nvPr>
              <p:custDataLst>
                <p:tags r:id="rId5"/>
              </p:custDataLst>
            </p:nvPr>
          </p:nvSpPr>
          <p:spPr bwMode="gray">
            <a:xfrm>
              <a:off x="1337097" y="2713238"/>
              <a:ext cx="1599358" cy="1295924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2" name="Rectangle 81"/>
            <p:cNvSpPr/>
            <p:nvPr>
              <p:custDataLst>
                <p:tags r:id="rId6"/>
              </p:custDataLst>
            </p:nvPr>
          </p:nvSpPr>
          <p:spPr bwMode="gray">
            <a:xfrm>
              <a:off x="6455040" y="2208472"/>
              <a:ext cx="1599357" cy="157516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5" name="Rectangle 54"/>
            <p:cNvSpPr/>
            <p:nvPr>
              <p:custDataLst>
                <p:tags r:id="rId7"/>
              </p:custDataLst>
            </p:nvPr>
          </p:nvSpPr>
          <p:spPr bwMode="gray">
            <a:xfrm>
              <a:off x="1337097" y="2437586"/>
              <a:ext cx="1599358" cy="275652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6" name="Rectangle 55"/>
            <p:cNvSpPr/>
            <p:nvPr>
              <p:custDataLst>
                <p:tags r:id="rId8"/>
              </p:custDataLst>
            </p:nvPr>
          </p:nvSpPr>
          <p:spPr bwMode="gray">
            <a:xfrm>
              <a:off x="6455040" y="2365987"/>
              <a:ext cx="1599357" cy="794738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3" name="Rectangle 82"/>
            <p:cNvSpPr/>
            <p:nvPr>
              <p:custDataLst>
                <p:tags r:id="rId9"/>
              </p:custDataLst>
            </p:nvPr>
          </p:nvSpPr>
          <p:spPr bwMode="gray">
            <a:xfrm>
              <a:off x="3896068" y="2204891"/>
              <a:ext cx="1599358" cy="150356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9" name="Rectangle 58"/>
            <p:cNvSpPr/>
            <p:nvPr>
              <p:custDataLst>
                <p:tags r:id="rId10"/>
              </p:custDataLst>
            </p:nvPr>
          </p:nvSpPr>
          <p:spPr bwMode="gray">
            <a:xfrm>
              <a:off x="3896068" y="3382679"/>
              <a:ext cx="1599358" cy="2402114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4" name="Rectangle 83"/>
            <p:cNvSpPr/>
            <p:nvPr>
              <p:custDataLst>
                <p:tags r:id="rId11"/>
              </p:custDataLst>
            </p:nvPr>
          </p:nvSpPr>
          <p:spPr bwMode="gray">
            <a:xfrm>
              <a:off x="1337097" y="2204891"/>
              <a:ext cx="1599358" cy="232694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0" name="Rectangle 59"/>
            <p:cNvSpPr/>
            <p:nvPr>
              <p:custDataLst>
                <p:tags r:id="rId12"/>
              </p:custDataLst>
            </p:nvPr>
          </p:nvSpPr>
          <p:spPr bwMode="gray">
            <a:xfrm>
              <a:off x="1337097" y="4009161"/>
              <a:ext cx="1599358" cy="1775630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1" name="Rectangle 60"/>
            <p:cNvSpPr/>
            <p:nvPr>
              <p:custDataLst>
                <p:tags r:id="rId13"/>
              </p:custDataLst>
            </p:nvPr>
          </p:nvSpPr>
          <p:spPr bwMode="gray">
            <a:xfrm>
              <a:off x="6455040" y="3160725"/>
              <a:ext cx="1599357" cy="2624068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111" name="Straight Connector 110"/>
            <p:cNvCxnSpPr/>
            <p:nvPr>
              <p:custDataLst>
                <p:tags r:id="rId14"/>
              </p:custDataLst>
            </p:nvPr>
          </p:nvCxnSpPr>
          <p:spPr bwMode="gray">
            <a:xfrm flipV="1">
              <a:off x="857289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>
              <p:custDataLst>
                <p:tags r:id="rId15"/>
              </p:custDataLst>
            </p:nvPr>
          </p:nvCxnSpPr>
          <p:spPr bwMode="gray">
            <a:xfrm>
              <a:off x="857289" y="5784793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>
              <p:custDataLst>
                <p:tags r:id="rId16"/>
              </p:custDataLst>
            </p:nvPr>
          </p:nvCxnSpPr>
          <p:spPr bwMode="gray">
            <a:xfrm flipH="1">
              <a:off x="806489" y="435283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>
              <p:custDataLst>
                <p:tags r:id="rId17"/>
              </p:custDataLst>
            </p:nvPr>
          </p:nvCxnSpPr>
          <p:spPr bwMode="gray">
            <a:xfrm flipH="1">
              <a:off x="806489" y="363685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>
              <p:custDataLst>
                <p:tags r:id="rId18"/>
              </p:custDataLst>
            </p:nvPr>
          </p:nvCxnSpPr>
          <p:spPr bwMode="gray">
            <a:xfrm flipH="1">
              <a:off x="806489" y="506881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>
              <p:custDataLst>
                <p:tags r:id="rId19"/>
              </p:custDataLst>
            </p:nvPr>
          </p:nvCxnSpPr>
          <p:spPr bwMode="gray">
            <a:xfrm flipH="1">
              <a:off x="806489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>
              <p:custDataLst>
                <p:tags r:id="rId20"/>
              </p:custDataLst>
            </p:nvPr>
          </p:nvCxnSpPr>
          <p:spPr bwMode="gray">
            <a:xfrm flipH="1">
              <a:off x="806489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>
              <p:custDataLst>
                <p:tags r:id="rId21"/>
              </p:custDataLst>
            </p:nvPr>
          </p:nvCxnSpPr>
          <p:spPr bwMode="gray">
            <a:xfrm flipH="1">
              <a:off x="806489" y="292087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44199" y="5692460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0%</a:t>
              </a:r>
            </a:p>
          </p:txBody>
        </p:sp>
        <p:sp>
          <p:nvSpPr>
            <p:cNvPr id="94" name="TextBox 93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59240" y="497648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95" name="TextBox 94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459240" y="426049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96" name="TextBox 95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459240" y="282853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80%</a:t>
              </a:r>
            </a:p>
          </p:txBody>
        </p:sp>
        <p:sp>
          <p:nvSpPr>
            <p:cNvPr id="97" name="TextBox 96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374280" y="2112558"/>
              <a:ext cx="43476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100%</a:t>
              </a:r>
            </a:p>
          </p:txBody>
        </p:sp>
        <p:sp>
          <p:nvSpPr>
            <p:cNvPr id="98" name="TextBox 97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459240" y="354451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60%</a:t>
              </a:r>
            </a:p>
          </p:txBody>
        </p:sp>
        <p:sp>
          <p:nvSpPr>
            <p:cNvPr id="119" name="TextBox 118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8096294" y="4380425"/>
              <a:ext cx="49567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effectLst/>
                  <a:ea typeface="ＭＳ Ｐゴシック" charset="-128"/>
                </a:rPr>
                <a:t>Grown</a:t>
              </a:r>
            </a:p>
          </p:txBody>
        </p:sp>
        <p:sp>
          <p:nvSpPr>
            <p:cNvPr id="63" name="TextBox 62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6934746" y="5848293"/>
              <a:ext cx="63994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dirty="0"/>
                <a:t>≥</a:t>
              </a:r>
              <a:r>
                <a:rPr lang="en-US" sz="1200" dirty="0" smtClean="0">
                  <a:effectLst/>
                  <a:ea typeface="ＭＳ Ｐゴシック" charset="-128"/>
                </a:rPr>
                <a:t> 20,000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120" name="TextBox 119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8096294" y="2273654"/>
              <a:ext cx="6383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dirty="0">
                  <a:solidFill>
                    <a:schemeClr val="accent3"/>
                  </a:solidFill>
                  <a:effectLst/>
                  <a:ea typeface="ＭＳ Ｐゴシック" charset="-128"/>
                </a:rPr>
                <a:t>Declined</a:t>
              </a:r>
            </a:p>
          </p:txBody>
        </p:sp>
        <p:sp>
          <p:nvSpPr>
            <p:cNvPr id="121" name="TextBox 120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8096294" y="2107578"/>
              <a:ext cx="79703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solidFill>
                    <a:schemeClr val="accent4"/>
                  </a:solidFill>
                  <a:effectLst/>
                  <a:ea typeface="ＭＳ Ｐゴシック" charset="-128"/>
                </a:rPr>
                <a:t>Don't know</a:t>
              </a:r>
            </a:p>
          </p:txBody>
        </p:sp>
        <p:sp>
          <p:nvSpPr>
            <p:cNvPr id="65" name="TextBox 64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1856878" y="5848293"/>
              <a:ext cx="55979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&lt; 5,000</a:t>
              </a:r>
            </a:p>
          </p:txBody>
        </p:sp>
        <p:sp>
          <p:nvSpPr>
            <p:cNvPr id="64" name="TextBox 63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4225415" y="5848293"/>
              <a:ext cx="94066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dirty="0">
                  <a:effectLst/>
                  <a:ea typeface="ＭＳ Ｐゴシック" charset="-128"/>
                </a:rPr>
                <a:t>5,000-20,000</a:t>
              </a:r>
            </a:p>
          </p:txBody>
        </p:sp>
        <p:sp>
          <p:nvSpPr>
            <p:cNvPr id="122" name="TextBox 121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8096294" y="2578690"/>
              <a:ext cx="740935" cy="369332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solidFill>
                    <a:schemeClr val="accent2"/>
                  </a:solidFill>
                  <a:effectLst/>
                  <a:ea typeface="ＭＳ Ｐゴシック" charset="-128"/>
                </a:rPr>
                <a:t>Remained</a:t>
              </a:r>
            </a:p>
            <a:p>
              <a:r>
                <a:rPr lang="en-US" sz="1200">
                  <a:solidFill>
                    <a:schemeClr val="accent2"/>
                  </a:solidFill>
                  <a:effectLst/>
                  <a:ea typeface="ＭＳ Ｐゴシック" charset="-128"/>
                </a:rPr>
                <a:t>constant</a:t>
              </a:r>
            </a:p>
          </p:txBody>
        </p:sp>
        <p:sp>
          <p:nvSpPr>
            <p:cNvPr id="80" name="TextBox 79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4520847" y="283927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25%</a:t>
              </a:r>
            </a:p>
          </p:txBody>
        </p:sp>
        <p:sp>
          <p:nvSpPr>
            <p:cNvPr id="74" name="TextBox 73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7079817" y="2671023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22%</a:t>
              </a:r>
            </a:p>
          </p:txBody>
        </p:sp>
        <p:sp>
          <p:nvSpPr>
            <p:cNvPr id="76" name="TextBox 75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2004354" y="2483078"/>
              <a:ext cx="26484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/>
                  <a:ea typeface="ＭＳ Ｐゴシック" charset="-128"/>
                </a:rPr>
                <a:t>8%</a:t>
              </a:r>
            </a:p>
          </p:txBody>
        </p:sp>
        <p:sp>
          <p:nvSpPr>
            <p:cNvPr id="78" name="TextBox 77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1961874" y="3268867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6%</a:t>
              </a:r>
            </a:p>
          </p:txBody>
        </p:sp>
        <p:sp>
          <p:nvSpPr>
            <p:cNvPr id="71" name="TextBox 70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1961874" y="480464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/>
                  <a:ea typeface="ＭＳ Ｐゴシック" charset="-128"/>
                </a:rPr>
                <a:t>50%</a:t>
              </a:r>
            </a:p>
          </p:txBody>
        </p:sp>
        <p:sp>
          <p:nvSpPr>
            <p:cNvPr id="72" name="TextBox 71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4520847" y="4491403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67%</a:t>
              </a:r>
            </a:p>
          </p:txBody>
        </p:sp>
        <p:sp>
          <p:nvSpPr>
            <p:cNvPr id="73" name="TextBox 72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7079817" y="4380425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73%</a:t>
              </a:r>
            </a:p>
          </p:txBody>
        </p:sp>
        <p:sp>
          <p:nvSpPr>
            <p:cNvPr id="100" name="TextBox 99"/>
            <p:cNvSpPr txBox="1"/>
            <p:nvPr>
              <p:custDataLst>
                <p:tags r:id="rId42"/>
              </p:custDataLst>
            </p:nvPr>
          </p:nvSpPr>
          <p:spPr bwMode="gray">
            <a:xfrm>
              <a:off x="7122297" y="2194896"/>
              <a:ext cx="264842" cy="184666"/>
            </a:xfrm>
            <a:prstGeom prst="rect">
              <a:avLst/>
            </a:prstGeom>
            <a:solidFill>
              <a:schemeClr val="accent4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%</a:t>
              </a:r>
            </a:p>
          </p:txBody>
        </p:sp>
        <p:sp>
          <p:nvSpPr>
            <p:cNvPr id="75" name="TextBox 74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4563326" y="2325563"/>
              <a:ext cx="264842" cy="184666"/>
            </a:xfrm>
            <a:prstGeom prst="rect">
              <a:avLst/>
            </a:prstGeom>
            <a:solidFill>
              <a:schemeClr val="accent3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%</a:t>
              </a:r>
            </a:p>
          </p:txBody>
        </p:sp>
        <p:sp>
          <p:nvSpPr>
            <p:cNvPr id="101" name="TextBox 100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2004354" y="2228906"/>
              <a:ext cx="26484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7%</a:t>
              </a:r>
            </a:p>
          </p:txBody>
        </p:sp>
        <p:sp>
          <p:nvSpPr>
            <p:cNvPr id="102" name="TextBox 101"/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4563326" y="2187737"/>
              <a:ext cx="264842" cy="184666"/>
            </a:xfrm>
            <a:prstGeom prst="rect">
              <a:avLst/>
            </a:prstGeom>
            <a:solidFill>
              <a:schemeClr val="accent4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%</a:t>
              </a:r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694654" y="1315556"/>
            <a:ext cx="77058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How has spending on advising technology changed over the past 3 years?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088957" y="6186591"/>
            <a:ext cx="9172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Enroll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18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17322" y="1127054"/>
            <a:ext cx="8074816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Through our </a:t>
            </a:r>
            <a:r>
              <a:rPr lang="en-US" sz="1400" b="1" dirty="0"/>
              <a:t>Driving Toward a Degree </a:t>
            </a:r>
            <a:r>
              <a:rPr lang="en-US" sz="1400" dirty="0"/>
              <a:t>initiative, we have launched three studies focused on the roadmap to advising redesign</a:t>
            </a:r>
            <a:r>
              <a:rPr lang="en-US" sz="1400" dirty="0" smtClean="0"/>
              <a:t>:</a:t>
            </a:r>
            <a:endParaRPr lang="en-US" sz="1400" dirty="0"/>
          </a:p>
          <a:p>
            <a:pPr marL="285750" indent="-285750">
              <a:spcBef>
                <a:spcPts val="9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/>
              <a:t>2015: The Evolution of Planning and Advising in Higher Education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en-US" sz="1400" dirty="0"/>
              <a:t>Supplier landscape: &gt;120 </a:t>
            </a:r>
            <a:r>
              <a:rPr lang="en-US" sz="1400" dirty="0" smtClean="0"/>
              <a:t>companies</a:t>
            </a:r>
            <a:endParaRPr lang="en-US" sz="1400" dirty="0"/>
          </a:p>
          <a:p>
            <a:pPr marL="285750" indent="-285750">
              <a:spcBef>
                <a:spcPts val="9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/>
              <a:t>2016: Establishing a Baseline on Integrated Approaches to Planning and Advising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en-US" sz="1400" dirty="0"/>
              <a:t>National survey: 1,000 institutions, 1,400 </a:t>
            </a:r>
            <a:r>
              <a:rPr lang="en-US" sz="1400" dirty="0" smtClean="0"/>
              <a:t>respondents</a:t>
            </a:r>
            <a:endParaRPr lang="en-US" sz="1400" dirty="0"/>
          </a:p>
          <a:p>
            <a:pPr marL="285750" indent="-285750">
              <a:spcBef>
                <a:spcPts val="90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b="1" dirty="0"/>
              <a:t>2017: The Evolution of Academic Advising in Higher Education 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en-US" sz="1400" b="1" dirty="0"/>
              <a:t>Supplier landscape: &gt;180 compani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en-US" sz="1400" b="1" dirty="0"/>
              <a:t>National survey: 1,400 institutions, 2,200 respondents</a:t>
            </a:r>
          </a:p>
          <a:p>
            <a:pPr marL="0" lvl="1">
              <a:spcBef>
                <a:spcPts val="300"/>
              </a:spcBef>
              <a:spcAft>
                <a:spcPts val="300"/>
              </a:spcAft>
            </a:pPr>
            <a:r>
              <a:rPr lang="en-US" sz="1300" dirty="0"/>
              <a:t>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4"/>
          </p:nvPr>
        </p:nvSpPr>
        <p:spPr/>
        <p:txBody>
          <a:bodyPr>
            <a:noAutofit/>
          </a:bodyPr>
          <a:lstStyle/>
          <a:p>
            <a:r>
              <a:rPr lang="en-US" sz="2200" dirty="0"/>
              <a:t>Tyton Partners L</a:t>
            </a:r>
            <a:r>
              <a:rPr lang="en-US" sz="2200" dirty="0" smtClean="0"/>
              <a:t>eads </a:t>
            </a:r>
            <a:r>
              <a:rPr lang="en-US" sz="2200" dirty="0"/>
              <a:t>a </a:t>
            </a:r>
            <a:r>
              <a:rPr lang="en-US" sz="2200" dirty="0" smtClean="0"/>
              <a:t>Research </a:t>
            </a:r>
            <a:r>
              <a:rPr lang="en-US" sz="2200" dirty="0"/>
              <a:t>and </a:t>
            </a:r>
            <a:r>
              <a:rPr lang="en-US" sz="2200" dirty="0" smtClean="0"/>
              <a:t>Action Collaborative </a:t>
            </a:r>
            <a:r>
              <a:rPr lang="en-US" sz="2200" dirty="0"/>
              <a:t>for </a:t>
            </a:r>
            <a:r>
              <a:rPr lang="en-US" sz="2200" dirty="0" smtClean="0"/>
              <a:t>Student Success </a:t>
            </a:r>
            <a:r>
              <a:rPr lang="en-US" sz="2200" dirty="0"/>
              <a:t>through </a:t>
            </a:r>
            <a:r>
              <a:rPr lang="en-US" sz="2200" dirty="0" smtClean="0"/>
              <a:t>Academic Advising Redesign</a:t>
            </a:r>
            <a:endParaRPr lang="en-US" sz="22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72" y="5431403"/>
            <a:ext cx="1786169" cy="44924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884" y="6002413"/>
            <a:ext cx="1761265" cy="48659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42145" y="4448779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chemeClr val="accent5"/>
                </a:solidFill>
              </a:rPr>
              <a:t>drivetodegree.org</a:t>
            </a:r>
            <a:endParaRPr lang="en-US" b="1" u="sng" dirty="0">
              <a:solidFill>
                <a:schemeClr val="accent5"/>
              </a:solidFill>
            </a:endParaRPr>
          </a:p>
        </p:txBody>
      </p:sp>
      <p:pic>
        <p:nvPicPr>
          <p:cNvPr id="16" name="Picture 15" descr="BSRG.jpg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26" b="10581"/>
          <a:stretch/>
        </p:blipFill>
        <p:spPr bwMode="auto">
          <a:xfrm>
            <a:off x="5962536" y="5964525"/>
            <a:ext cx="1671474" cy="47862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630" y="6046007"/>
            <a:ext cx="1507867" cy="335081"/>
          </a:xfrm>
          <a:prstGeom prst="rect">
            <a:avLst/>
          </a:prstGeom>
        </p:spPr>
      </p:pic>
      <p:pic>
        <p:nvPicPr>
          <p:cNvPr id="19" name="Picture 18" descr="ATD%20Logo.jpg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3" t="9780" r="8779" b="23659"/>
          <a:stretch/>
        </p:blipFill>
        <p:spPr bwMode="auto">
          <a:xfrm>
            <a:off x="6851956" y="5192249"/>
            <a:ext cx="785803" cy="66359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3" name="Picture 22" descr="../../D2D%201.27.17/Logos_v2/NACAC.png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0" r="11520"/>
          <a:stretch/>
        </p:blipFill>
        <p:spPr bwMode="auto">
          <a:xfrm>
            <a:off x="3879174" y="5389103"/>
            <a:ext cx="1020769" cy="54469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" name="Picture 25" descr="../../../../../../../../Desktop/CC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176" y="5434830"/>
            <a:ext cx="1374898" cy="46069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526142" y="5016505"/>
            <a:ext cx="18165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In collaboration with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33004" y="4146193"/>
            <a:ext cx="3365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eports are available online at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405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t>20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Success Technologies Are Segmented into </a:t>
            </a:r>
            <a:br>
              <a:rPr lang="en-US" dirty="0"/>
            </a:br>
            <a:r>
              <a:rPr lang="en-US" dirty="0"/>
              <a:t>12 Distinct Product Categories across 4 Workflow Area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01"/>
          <a:stretch/>
        </p:blipFill>
        <p:spPr>
          <a:xfrm>
            <a:off x="771375" y="1102059"/>
            <a:ext cx="7564737" cy="5256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22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0" t="17111" r="27917" b="11555"/>
          <a:stretch/>
        </p:blipFill>
        <p:spPr>
          <a:xfrm>
            <a:off x="902261" y="1101771"/>
            <a:ext cx="7339479" cy="548952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able Providers across the 12 Product Categor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22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Institutional Use of Technology Varies by Category; Academic Planning Remains the Most Used</a:t>
            </a:r>
          </a:p>
        </p:txBody>
      </p:sp>
      <p:grpSp>
        <p:nvGrpSpPr>
          <p:cNvPr id="49" name="Group 48"/>
          <p:cNvGrpSpPr/>
          <p:nvPr>
            <p:custDataLst>
              <p:tags r:id="rId2"/>
            </p:custDataLst>
          </p:nvPr>
        </p:nvGrpSpPr>
        <p:grpSpPr>
          <a:xfrm>
            <a:off x="416464" y="2124101"/>
            <a:ext cx="8761928" cy="3465083"/>
            <a:chOff x="416464" y="2124101"/>
            <a:chExt cx="8761928" cy="3465083"/>
          </a:xfrm>
        </p:grpSpPr>
        <p:sp>
          <p:nvSpPr>
            <p:cNvPr id="7" name="Rectangle 6"/>
            <p:cNvSpPr/>
            <p:nvPr>
              <p:custDataLst>
                <p:tags r:id="rId3"/>
              </p:custDataLst>
            </p:nvPr>
          </p:nvSpPr>
          <p:spPr bwMode="gray">
            <a:xfrm>
              <a:off x="7841150" y="3866814"/>
              <a:ext cx="533119" cy="986943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4"/>
              </p:custDataLst>
            </p:nvPr>
          </p:nvSpPr>
          <p:spPr bwMode="gray">
            <a:xfrm>
              <a:off x="6988159" y="3543505"/>
              <a:ext cx="533119" cy="1120237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5"/>
              </p:custDataLst>
            </p:nvPr>
          </p:nvSpPr>
          <p:spPr bwMode="gray">
            <a:xfrm>
              <a:off x="1017225" y="2462972"/>
              <a:ext cx="533119" cy="933058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6"/>
              </p:custDataLst>
            </p:nvPr>
          </p:nvSpPr>
          <p:spPr bwMode="gray">
            <a:xfrm>
              <a:off x="4429187" y="3251393"/>
              <a:ext cx="533119" cy="1196810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7"/>
              </p:custDataLst>
            </p:nvPr>
          </p:nvSpPr>
          <p:spPr bwMode="gray">
            <a:xfrm>
              <a:off x="3576197" y="3242884"/>
              <a:ext cx="533119" cy="1188302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8"/>
              </p:custDataLst>
            </p:nvPr>
          </p:nvSpPr>
          <p:spPr bwMode="gray">
            <a:xfrm>
              <a:off x="1870216" y="2888379"/>
              <a:ext cx="533119" cy="1330104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9"/>
              </p:custDataLst>
            </p:nvPr>
          </p:nvSpPr>
          <p:spPr bwMode="gray">
            <a:xfrm>
              <a:off x="4429187" y="2502677"/>
              <a:ext cx="533119" cy="748716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0"/>
              </p:custDataLst>
            </p:nvPr>
          </p:nvSpPr>
          <p:spPr bwMode="gray">
            <a:xfrm>
              <a:off x="3576197" y="2352366"/>
              <a:ext cx="533119" cy="890518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1"/>
              </p:custDataLst>
            </p:nvPr>
          </p:nvSpPr>
          <p:spPr bwMode="gray">
            <a:xfrm>
              <a:off x="1870216" y="2343859"/>
              <a:ext cx="533119" cy="544520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6" name="Rectangle 15"/>
            <p:cNvSpPr/>
            <p:nvPr>
              <p:custDataLst>
                <p:tags r:id="rId12"/>
              </p:custDataLst>
            </p:nvPr>
          </p:nvSpPr>
          <p:spPr bwMode="gray">
            <a:xfrm>
              <a:off x="2723206" y="2567906"/>
              <a:ext cx="533119" cy="638110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7" name="Rectangle 16"/>
            <p:cNvSpPr/>
            <p:nvPr>
              <p:custDataLst>
                <p:tags r:id="rId13"/>
              </p:custDataLst>
            </p:nvPr>
          </p:nvSpPr>
          <p:spPr bwMode="gray">
            <a:xfrm>
              <a:off x="5282179" y="2352366"/>
              <a:ext cx="533119" cy="734535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8" name="Rectangle 17"/>
            <p:cNvSpPr/>
            <p:nvPr>
              <p:custDataLst>
                <p:tags r:id="rId14"/>
              </p:custDataLst>
            </p:nvPr>
          </p:nvSpPr>
          <p:spPr bwMode="gray">
            <a:xfrm>
              <a:off x="6135169" y="2525366"/>
              <a:ext cx="533119" cy="916042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9" name="Rectangle 18"/>
            <p:cNvSpPr/>
            <p:nvPr>
              <p:custDataLst>
                <p:tags r:id="rId15"/>
              </p:custDataLst>
            </p:nvPr>
          </p:nvSpPr>
          <p:spPr bwMode="gray">
            <a:xfrm>
              <a:off x="4429187" y="4448203"/>
              <a:ext cx="533119" cy="59273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0" name="Rectangle 19"/>
            <p:cNvSpPr/>
            <p:nvPr>
              <p:custDataLst>
                <p:tags r:id="rId16"/>
              </p:custDataLst>
            </p:nvPr>
          </p:nvSpPr>
          <p:spPr bwMode="gray">
            <a:xfrm>
              <a:off x="3576197" y="4431188"/>
              <a:ext cx="533119" cy="609749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17"/>
              </p:custDataLst>
            </p:nvPr>
          </p:nvSpPr>
          <p:spPr bwMode="gray">
            <a:xfrm>
              <a:off x="1870216" y="4218484"/>
              <a:ext cx="533119" cy="82245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2" name="Rectangle 21"/>
            <p:cNvSpPr/>
            <p:nvPr>
              <p:custDataLst>
                <p:tags r:id="rId18"/>
              </p:custDataLst>
            </p:nvPr>
          </p:nvSpPr>
          <p:spPr bwMode="gray">
            <a:xfrm>
              <a:off x="2723206" y="4348941"/>
              <a:ext cx="533119" cy="691995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3" name="Rectangle 22"/>
            <p:cNvSpPr/>
            <p:nvPr>
              <p:custDataLst>
                <p:tags r:id="rId19"/>
              </p:custDataLst>
            </p:nvPr>
          </p:nvSpPr>
          <p:spPr bwMode="gray">
            <a:xfrm>
              <a:off x="5282179" y="4510596"/>
              <a:ext cx="533119" cy="530340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4" name="Rectangle 23"/>
            <p:cNvSpPr/>
            <p:nvPr>
              <p:custDataLst>
                <p:tags r:id="rId20"/>
              </p:custDataLst>
            </p:nvPr>
          </p:nvSpPr>
          <p:spPr bwMode="gray">
            <a:xfrm>
              <a:off x="6135169" y="4660906"/>
              <a:ext cx="533119" cy="380030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5" name="Rectangle 24"/>
            <p:cNvSpPr/>
            <p:nvPr>
              <p:custDataLst>
                <p:tags r:id="rId21"/>
              </p:custDataLst>
            </p:nvPr>
          </p:nvSpPr>
          <p:spPr bwMode="gray">
            <a:xfrm>
              <a:off x="2723206" y="3206016"/>
              <a:ext cx="533119" cy="1142926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6" name="Rectangle 25"/>
            <p:cNvSpPr/>
            <p:nvPr>
              <p:custDataLst>
                <p:tags r:id="rId22"/>
              </p:custDataLst>
            </p:nvPr>
          </p:nvSpPr>
          <p:spPr bwMode="gray">
            <a:xfrm>
              <a:off x="5282179" y="3086903"/>
              <a:ext cx="533119" cy="1423694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7" name="Rectangle 26"/>
            <p:cNvSpPr/>
            <p:nvPr>
              <p:custDataLst>
                <p:tags r:id="rId23"/>
              </p:custDataLst>
            </p:nvPr>
          </p:nvSpPr>
          <p:spPr bwMode="gray">
            <a:xfrm>
              <a:off x="6135169" y="3441408"/>
              <a:ext cx="533119" cy="1219499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8" name="Rectangle 27"/>
            <p:cNvSpPr/>
            <p:nvPr>
              <p:custDataLst>
                <p:tags r:id="rId24"/>
              </p:custDataLst>
            </p:nvPr>
          </p:nvSpPr>
          <p:spPr bwMode="gray">
            <a:xfrm>
              <a:off x="7841150" y="4853757"/>
              <a:ext cx="533119" cy="187179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9" name="Rectangle 28"/>
            <p:cNvSpPr/>
            <p:nvPr>
              <p:custDataLst>
                <p:tags r:id="rId25"/>
              </p:custDataLst>
            </p:nvPr>
          </p:nvSpPr>
          <p:spPr bwMode="gray">
            <a:xfrm>
              <a:off x="6988159" y="4663742"/>
              <a:ext cx="533119" cy="377194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0" name="Rectangle 29"/>
            <p:cNvSpPr/>
            <p:nvPr>
              <p:custDataLst>
                <p:tags r:id="rId26"/>
              </p:custDataLst>
            </p:nvPr>
          </p:nvSpPr>
          <p:spPr bwMode="gray">
            <a:xfrm>
              <a:off x="1017225" y="3396031"/>
              <a:ext cx="533119" cy="1644905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1" name="Rectangle 30"/>
            <p:cNvSpPr/>
            <p:nvPr>
              <p:custDataLst>
                <p:tags r:id="rId27"/>
              </p:custDataLst>
            </p:nvPr>
          </p:nvSpPr>
          <p:spPr bwMode="gray">
            <a:xfrm>
              <a:off x="7841150" y="2621791"/>
              <a:ext cx="533119" cy="1245023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2" name="Rectangle 31"/>
            <p:cNvSpPr/>
            <p:nvPr>
              <p:custDataLst>
                <p:tags r:id="rId28"/>
              </p:custDataLst>
            </p:nvPr>
          </p:nvSpPr>
          <p:spPr bwMode="gray">
            <a:xfrm>
              <a:off x="4429187" y="2204893"/>
              <a:ext cx="533119" cy="297785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3" name="Rectangle 32"/>
            <p:cNvSpPr/>
            <p:nvPr>
              <p:custDataLst>
                <p:tags r:id="rId29"/>
              </p:custDataLst>
            </p:nvPr>
          </p:nvSpPr>
          <p:spPr bwMode="gray">
            <a:xfrm>
              <a:off x="3576197" y="2207729"/>
              <a:ext cx="533119" cy="144638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4" name="Rectangle 33"/>
            <p:cNvSpPr/>
            <p:nvPr>
              <p:custDataLst>
                <p:tags r:id="rId30"/>
              </p:custDataLst>
            </p:nvPr>
          </p:nvSpPr>
          <p:spPr bwMode="gray">
            <a:xfrm>
              <a:off x="1017225" y="2258778"/>
              <a:ext cx="533119" cy="204195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5" name="Rectangle 34"/>
            <p:cNvSpPr/>
            <p:nvPr>
              <p:custDataLst>
                <p:tags r:id="rId31"/>
              </p:custDataLst>
            </p:nvPr>
          </p:nvSpPr>
          <p:spPr bwMode="gray">
            <a:xfrm>
              <a:off x="2723206" y="2204893"/>
              <a:ext cx="533119" cy="363014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6" name="Rectangle 35"/>
            <p:cNvSpPr/>
            <p:nvPr>
              <p:custDataLst>
                <p:tags r:id="rId32"/>
              </p:custDataLst>
            </p:nvPr>
          </p:nvSpPr>
          <p:spPr bwMode="gray">
            <a:xfrm>
              <a:off x="5282179" y="2204893"/>
              <a:ext cx="533119" cy="147474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7" name="Rectangle 36"/>
            <p:cNvSpPr/>
            <p:nvPr>
              <p:custDataLst>
                <p:tags r:id="rId33"/>
              </p:custDataLst>
            </p:nvPr>
          </p:nvSpPr>
          <p:spPr bwMode="gray">
            <a:xfrm>
              <a:off x="6135169" y="2204893"/>
              <a:ext cx="533119" cy="320473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34"/>
              </p:custDataLst>
            </p:nvPr>
          </p:nvSpPr>
          <p:spPr bwMode="gray">
            <a:xfrm>
              <a:off x="6988159" y="2502677"/>
              <a:ext cx="533119" cy="1040828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9" name="Rectangle 38"/>
            <p:cNvSpPr/>
            <p:nvPr>
              <p:custDataLst>
                <p:tags r:id="rId35"/>
              </p:custDataLst>
            </p:nvPr>
          </p:nvSpPr>
          <p:spPr bwMode="gray">
            <a:xfrm>
              <a:off x="6988159" y="2204893"/>
              <a:ext cx="533119" cy="297785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0" name="Rectangle 39"/>
            <p:cNvSpPr/>
            <p:nvPr>
              <p:custDataLst>
                <p:tags r:id="rId36"/>
              </p:custDataLst>
            </p:nvPr>
          </p:nvSpPr>
          <p:spPr bwMode="gray">
            <a:xfrm>
              <a:off x="1017225" y="2204893"/>
              <a:ext cx="533119" cy="53885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1" name="Rectangle 40"/>
            <p:cNvSpPr/>
            <p:nvPr>
              <p:custDataLst>
                <p:tags r:id="rId37"/>
              </p:custDataLst>
            </p:nvPr>
          </p:nvSpPr>
          <p:spPr bwMode="gray">
            <a:xfrm>
              <a:off x="7841150" y="2204893"/>
              <a:ext cx="533119" cy="416898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2" name="Rectangle 41"/>
            <p:cNvSpPr/>
            <p:nvPr>
              <p:custDataLst>
                <p:tags r:id="rId38"/>
              </p:custDataLst>
            </p:nvPr>
          </p:nvSpPr>
          <p:spPr bwMode="gray">
            <a:xfrm>
              <a:off x="1870216" y="2204893"/>
              <a:ext cx="533119" cy="138966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cxnSp>
          <p:nvCxnSpPr>
            <p:cNvPr id="3" name="Straight Connector 2"/>
            <p:cNvCxnSpPr/>
            <p:nvPr>
              <p:custDataLst>
                <p:tags r:id="rId39"/>
              </p:custDataLst>
            </p:nvPr>
          </p:nvCxnSpPr>
          <p:spPr bwMode="gray">
            <a:xfrm>
              <a:off x="857289" y="5040936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>
              <p:custDataLst>
                <p:tags r:id="rId40"/>
              </p:custDataLst>
            </p:nvPr>
          </p:nvCxnSpPr>
          <p:spPr bwMode="gray">
            <a:xfrm flipV="1">
              <a:off x="857289" y="2204893"/>
              <a:ext cx="0" cy="2836043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>
              <p:custDataLst>
                <p:tags r:id="rId41"/>
              </p:custDataLst>
            </p:nvPr>
          </p:nvCxnSpPr>
          <p:spPr bwMode="gray">
            <a:xfrm flipH="1">
              <a:off x="806489" y="3339310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>
              <p:custDataLst>
                <p:tags r:id="rId42"/>
              </p:custDataLst>
            </p:nvPr>
          </p:nvCxnSpPr>
          <p:spPr bwMode="gray">
            <a:xfrm flipH="1">
              <a:off x="806489" y="22048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>
              <p:custDataLst>
                <p:tags r:id="rId43"/>
              </p:custDataLst>
            </p:nvPr>
          </p:nvCxnSpPr>
          <p:spPr bwMode="gray">
            <a:xfrm flipH="1">
              <a:off x="806489" y="277210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>
              <p:custDataLst>
                <p:tags r:id="rId44"/>
              </p:custDataLst>
            </p:nvPr>
          </p:nvCxnSpPr>
          <p:spPr bwMode="gray">
            <a:xfrm flipH="1">
              <a:off x="806489" y="5040936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>
              <p:custDataLst>
                <p:tags r:id="rId45"/>
              </p:custDataLst>
            </p:nvPr>
          </p:nvCxnSpPr>
          <p:spPr bwMode="gray">
            <a:xfrm flipH="1">
              <a:off x="806489" y="447372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>
              <p:custDataLst>
                <p:tags r:id="rId46"/>
              </p:custDataLst>
            </p:nvPr>
          </p:nvCxnSpPr>
          <p:spPr bwMode="gray">
            <a:xfrm flipH="1">
              <a:off x="806489" y="3906519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>
              <p:custDataLst>
                <p:tags r:id="rId47"/>
              </p:custDataLst>
            </p:nvPr>
          </p:nvSpPr>
          <p:spPr bwMode="gray">
            <a:xfrm>
              <a:off x="491805" y="3825727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050"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52" name="TextBox 51"/>
            <p:cNvSpPr txBox="1"/>
            <p:nvPr>
              <p:custDataLst>
                <p:tags r:id="rId48"/>
              </p:custDataLst>
            </p:nvPr>
          </p:nvSpPr>
          <p:spPr bwMode="gray">
            <a:xfrm>
              <a:off x="567147" y="4960145"/>
              <a:ext cx="239194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050">
                  <a:effectLst/>
                  <a:ea typeface="ＭＳ Ｐゴシック" charset="-128"/>
                </a:rPr>
                <a:t>0%</a:t>
              </a:r>
            </a:p>
          </p:txBody>
        </p:sp>
        <p:sp>
          <p:nvSpPr>
            <p:cNvPr id="53" name="TextBox 52"/>
            <p:cNvSpPr txBox="1"/>
            <p:nvPr>
              <p:custDataLst>
                <p:tags r:id="rId49"/>
              </p:custDataLst>
            </p:nvPr>
          </p:nvSpPr>
          <p:spPr bwMode="gray">
            <a:xfrm>
              <a:off x="491805" y="269131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050">
                  <a:effectLst/>
                  <a:ea typeface="ＭＳ Ｐゴシック" charset="-128"/>
                </a:rPr>
                <a:t>80%</a:t>
              </a:r>
            </a:p>
          </p:txBody>
        </p:sp>
        <p:sp>
          <p:nvSpPr>
            <p:cNvPr id="54" name="TextBox 53"/>
            <p:cNvSpPr txBox="1"/>
            <p:nvPr>
              <p:custDataLst>
                <p:tags r:id="rId50"/>
              </p:custDataLst>
            </p:nvPr>
          </p:nvSpPr>
          <p:spPr bwMode="gray">
            <a:xfrm>
              <a:off x="416464" y="2124101"/>
              <a:ext cx="389877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050">
                  <a:effectLst/>
                  <a:ea typeface="ＭＳ Ｐゴシック" charset="-128"/>
                </a:rPr>
                <a:t>100%</a:t>
              </a:r>
            </a:p>
          </p:txBody>
        </p:sp>
        <p:sp>
          <p:nvSpPr>
            <p:cNvPr id="55" name="TextBox 54"/>
            <p:cNvSpPr txBox="1"/>
            <p:nvPr>
              <p:custDataLst>
                <p:tags r:id="rId51"/>
              </p:custDataLst>
            </p:nvPr>
          </p:nvSpPr>
          <p:spPr bwMode="gray">
            <a:xfrm>
              <a:off x="491805" y="3258519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050">
                  <a:effectLst/>
                  <a:ea typeface="ＭＳ Ｐゴシック" charset="-128"/>
                </a:rPr>
                <a:t>60%</a:t>
              </a:r>
            </a:p>
          </p:txBody>
        </p:sp>
        <p:sp>
          <p:nvSpPr>
            <p:cNvPr id="56" name="TextBox 55"/>
            <p:cNvSpPr txBox="1"/>
            <p:nvPr>
              <p:custDataLst>
                <p:tags r:id="rId52"/>
              </p:custDataLst>
            </p:nvPr>
          </p:nvSpPr>
          <p:spPr bwMode="gray">
            <a:xfrm>
              <a:off x="491805" y="4392936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050"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57" name="TextBox 56"/>
            <p:cNvSpPr txBox="1"/>
            <p:nvPr>
              <p:custDataLst>
                <p:tags r:id="rId53"/>
              </p:custDataLst>
            </p:nvPr>
          </p:nvSpPr>
          <p:spPr bwMode="gray">
            <a:xfrm>
              <a:off x="1829626" y="5104436"/>
              <a:ext cx="614297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Alerts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&amp; Signals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58" name="TextBox 57"/>
            <p:cNvSpPr txBox="1"/>
            <p:nvPr>
              <p:custDataLst>
                <p:tags r:id="rId54"/>
              </p:custDataLst>
            </p:nvPr>
          </p:nvSpPr>
          <p:spPr bwMode="gray">
            <a:xfrm>
              <a:off x="6883450" y="5104436"/>
              <a:ext cx="742537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Diagnostics</a:t>
              </a:r>
            </a:p>
          </p:txBody>
        </p:sp>
        <p:sp>
          <p:nvSpPr>
            <p:cNvPr id="59" name="TextBox 58"/>
            <p:cNvSpPr txBox="1"/>
            <p:nvPr>
              <p:custDataLst>
                <p:tags r:id="rId55"/>
              </p:custDataLst>
            </p:nvPr>
          </p:nvSpPr>
          <p:spPr bwMode="gray">
            <a:xfrm>
              <a:off x="8418868" y="2332550"/>
              <a:ext cx="707271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050">
                  <a:effectLst/>
                  <a:ea typeface="ＭＳ Ｐゴシック" charset="-128"/>
                </a:rPr>
                <a:t>Don't know</a:t>
              </a:r>
            </a:p>
          </p:txBody>
        </p:sp>
        <p:sp>
          <p:nvSpPr>
            <p:cNvPr id="60" name="TextBox 59"/>
            <p:cNvSpPr txBox="1"/>
            <p:nvPr>
              <p:custDataLst>
                <p:tags r:id="rId56"/>
              </p:custDataLst>
            </p:nvPr>
          </p:nvSpPr>
          <p:spPr bwMode="gray">
            <a:xfrm>
              <a:off x="7628238" y="5104436"/>
              <a:ext cx="958942" cy="48474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Performance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Measurement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&amp; Management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1" name="TextBox 60"/>
            <p:cNvSpPr txBox="1"/>
            <p:nvPr>
              <p:custDataLst>
                <p:tags r:id="rId57"/>
              </p:custDataLst>
            </p:nvPr>
          </p:nvSpPr>
          <p:spPr bwMode="gray">
            <a:xfrm>
              <a:off x="965415" y="5104436"/>
              <a:ext cx="636739" cy="48474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Academic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Planning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&amp; Audit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2" name="TextBox 61"/>
            <p:cNvSpPr txBox="1"/>
            <p:nvPr>
              <p:custDataLst>
                <p:tags r:id="rId58"/>
              </p:custDataLst>
            </p:nvPr>
          </p:nvSpPr>
          <p:spPr bwMode="gray">
            <a:xfrm>
              <a:off x="8418868" y="4710501"/>
              <a:ext cx="759524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050" dirty="0" smtClean="0">
                  <a:effectLst/>
                  <a:ea typeface="ＭＳ Ｐゴシック" charset="-128"/>
                </a:rPr>
                <a:t>Widespread</a:t>
              </a:r>
            </a:p>
            <a:p>
              <a:r>
                <a:rPr lang="en-US" sz="1050" dirty="0" smtClean="0">
                  <a:effectLst/>
                  <a:ea typeface="ＭＳ Ｐゴシック" charset="-128"/>
                </a:rPr>
                <a:t>use</a:t>
              </a:r>
              <a:endParaRPr lang="en-US" sz="1050" dirty="0">
                <a:effectLst/>
                <a:ea typeface="ＭＳ Ｐゴシック" charset="-128"/>
              </a:endParaRPr>
            </a:p>
          </p:txBody>
        </p:sp>
        <p:sp>
          <p:nvSpPr>
            <p:cNvPr id="63" name="TextBox 62"/>
            <p:cNvSpPr txBox="1"/>
            <p:nvPr>
              <p:custDataLst>
                <p:tags r:id="rId59"/>
              </p:custDataLst>
            </p:nvPr>
          </p:nvSpPr>
          <p:spPr bwMode="gray">
            <a:xfrm>
              <a:off x="4358142" y="5104436"/>
              <a:ext cx="675211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Transfer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Evaluation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4" name="TextBox 63"/>
            <p:cNvSpPr txBox="1"/>
            <p:nvPr>
              <p:custDataLst>
                <p:tags r:id="rId60"/>
              </p:custDataLst>
            </p:nvPr>
          </p:nvSpPr>
          <p:spPr bwMode="gray">
            <a:xfrm>
              <a:off x="8418868" y="4279494"/>
              <a:ext cx="734523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050">
                  <a:effectLst/>
                  <a:ea typeface="ＭＳ Ｐゴシック" charset="-128"/>
                </a:rPr>
                <a:t>Limited use</a:t>
              </a:r>
            </a:p>
          </p:txBody>
        </p:sp>
        <p:sp>
          <p:nvSpPr>
            <p:cNvPr id="65" name="TextBox 64"/>
            <p:cNvSpPr txBox="1"/>
            <p:nvPr>
              <p:custDataLst>
                <p:tags r:id="rId61"/>
              </p:custDataLst>
            </p:nvPr>
          </p:nvSpPr>
          <p:spPr bwMode="gray">
            <a:xfrm>
              <a:off x="6116221" y="5104436"/>
              <a:ext cx="571015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Career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Planning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6" name="TextBox 65"/>
            <p:cNvSpPr txBox="1"/>
            <p:nvPr>
              <p:custDataLst>
                <p:tags r:id="rId62"/>
              </p:custDataLst>
            </p:nvPr>
          </p:nvSpPr>
          <p:spPr bwMode="gray">
            <a:xfrm>
              <a:off x="2648954" y="5104436"/>
              <a:ext cx="681623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Integration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Solutions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7" name="TextBox 66"/>
            <p:cNvSpPr txBox="1"/>
            <p:nvPr>
              <p:custDataLst>
                <p:tags r:id="rId63"/>
              </p:custDataLst>
            </p:nvPr>
          </p:nvSpPr>
          <p:spPr bwMode="gray">
            <a:xfrm>
              <a:off x="5158234" y="5104436"/>
              <a:ext cx="781009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Resource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Connection*</a:t>
              </a:r>
              <a:endParaRPr lang="en-US" sz="1050" dirty="0">
                <a:effectLst/>
                <a:ea typeface="ＭＳ Ｐゴシック" charset="-128"/>
              </a:endParaRPr>
            </a:p>
          </p:txBody>
        </p:sp>
        <p:sp>
          <p:nvSpPr>
            <p:cNvPr id="68" name="TextBox 67"/>
            <p:cNvSpPr txBox="1"/>
            <p:nvPr>
              <p:custDataLst>
                <p:tags r:id="rId64"/>
              </p:custDataLst>
            </p:nvPr>
          </p:nvSpPr>
          <p:spPr bwMode="gray">
            <a:xfrm>
              <a:off x="8418868" y="3163511"/>
              <a:ext cx="583840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r>
                <a:rPr lang="en-US" sz="1050">
                  <a:effectLst/>
                  <a:ea typeface="ＭＳ Ｐゴシック" charset="-128"/>
                </a:rPr>
                <a:t>Not used</a:t>
              </a:r>
            </a:p>
          </p:txBody>
        </p:sp>
        <p:sp>
          <p:nvSpPr>
            <p:cNvPr id="69" name="TextBox 68"/>
            <p:cNvSpPr txBox="1"/>
            <p:nvPr>
              <p:custDataLst>
                <p:tags r:id="rId65"/>
              </p:custDataLst>
            </p:nvPr>
          </p:nvSpPr>
          <p:spPr bwMode="gray">
            <a:xfrm>
              <a:off x="3426605" y="5104436"/>
              <a:ext cx="832305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Caseload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Management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70" name="TextBox 69"/>
            <p:cNvSpPr txBox="1"/>
            <p:nvPr>
              <p:custDataLst>
                <p:tags r:id="rId66"/>
              </p:custDataLst>
            </p:nvPr>
          </p:nvSpPr>
          <p:spPr bwMode="gray">
            <a:xfrm>
              <a:off x="2832497" y="4614147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4%</a:t>
              </a:r>
            </a:p>
          </p:txBody>
        </p:sp>
        <p:sp>
          <p:nvSpPr>
            <p:cNvPr id="71" name="TextBox 70"/>
            <p:cNvSpPr txBox="1"/>
            <p:nvPr>
              <p:custDataLst>
                <p:tags r:id="rId67"/>
              </p:custDataLst>
            </p:nvPr>
          </p:nvSpPr>
          <p:spPr bwMode="gray">
            <a:xfrm>
              <a:off x="7950441" y="3163511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4%</a:t>
              </a:r>
            </a:p>
          </p:txBody>
        </p:sp>
        <p:sp>
          <p:nvSpPr>
            <p:cNvPr id="72" name="TextBox 71"/>
            <p:cNvSpPr txBox="1"/>
            <p:nvPr>
              <p:custDataLst>
                <p:tags r:id="rId68"/>
              </p:custDataLst>
            </p:nvPr>
          </p:nvSpPr>
          <p:spPr bwMode="gray">
            <a:xfrm>
              <a:off x="1979507" y="2535327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9%</a:t>
              </a:r>
            </a:p>
          </p:txBody>
        </p:sp>
        <p:sp>
          <p:nvSpPr>
            <p:cNvPr id="73" name="TextBox 72"/>
            <p:cNvSpPr txBox="1"/>
            <p:nvPr>
              <p:custDataLst>
                <p:tags r:id="rId69"/>
              </p:custDataLst>
            </p:nvPr>
          </p:nvSpPr>
          <p:spPr bwMode="gray">
            <a:xfrm>
              <a:off x="1164188" y="2280084"/>
              <a:ext cx="239194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7%</a:t>
              </a:r>
            </a:p>
          </p:txBody>
        </p:sp>
        <p:sp>
          <p:nvSpPr>
            <p:cNvPr id="74" name="TextBox 73"/>
            <p:cNvSpPr txBox="1"/>
            <p:nvPr>
              <p:custDataLst>
                <p:tags r:id="rId70"/>
              </p:custDataLst>
            </p:nvPr>
          </p:nvSpPr>
          <p:spPr bwMode="gray">
            <a:xfrm>
              <a:off x="7097451" y="294230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37%</a:t>
              </a:r>
            </a:p>
          </p:txBody>
        </p:sp>
        <p:sp>
          <p:nvSpPr>
            <p:cNvPr id="75" name="TextBox 74"/>
            <p:cNvSpPr txBox="1"/>
            <p:nvPr>
              <p:custDataLst>
                <p:tags r:id="rId71"/>
              </p:custDataLst>
            </p:nvPr>
          </p:nvSpPr>
          <p:spPr bwMode="gray">
            <a:xfrm>
              <a:off x="6244460" y="2902595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32%</a:t>
              </a:r>
            </a:p>
          </p:txBody>
        </p:sp>
        <p:sp>
          <p:nvSpPr>
            <p:cNvPr id="76" name="TextBox 75"/>
            <p:cNvSpPr txBox="1"/>
            <p:nvPr>
              <p:custDataLst>
                <p:tags r:id="rId72"/>
              </p:custDataLst>
            </p:nvPr>
          </p:nvSpPr>
          <p:spPr bwMode="gray">
            <a:xfrm>
              <a:off x="5391470" y="2638842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6%</a:t>
              </a:r>
            </a:p>
          </p:txBody>
        </p:sp>
        <p:sp>
          <p:nvSpPr>
            <p:cNvPr id="77" name="TextBox 76"/>
            <p:cNvSpPr txBox="1"/>
            <p:nvPr>
              <p:custDataLst>
                <p:tags r:id="rId73"/>
              </p:custDataLst>
            </p:nvPr>
          </p:nvSpPr>
          <p:spPr bwMode="gray">
            <a:xfrm>
              <a:off x="3685489" y="2716834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31%</a:t>
              </a:r>
            </a:p>
          </p:txBody>
        </p:sp>
        <p:sp>
          <p:nvSpPr>
            <p:cNvPr id="78" name="TextBox 77"/>
            <p:cNvSpPr txBox="1"/>
            <p:nvPr>
              <p:custDataLst>
                <p:tags r:id="rId74"/>
              </p:custDataLst>
            </p:nvPr>
          </p:nvSpPr>
          <p:spPr bwMode="gray">
            <a:xfrm>
              <a:off x="4538480" y="2796243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6%</a:t>
              </a:r>
            </a:p>
          </p:txBody>
        </p:sp>
        <p:sp>
          <p:nvSpPr>
            <p:cNvPr id="79" name="TextBox 78"/>
            <p:cNvSpPr txBox="1"/>
            <p:nvPr>
              <p:custDataLst>
                <p:tags r:id="rId75"/>
              </p:custDataLst>
            </p:nvPr>
          </p:nvSpPr>
          <p:spPr bwMode="gray">
            <a:xfrm>
              <a:off x="2832497" y="2305608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3%</a:t>
              </a:r>
            </a:p>
          </p:txBody>
        </p:sp>
        <p:sp>
          <p:nvSpPr>
            <p:cNvPr id="80" name="TextBox 79"/>
            <p:cNvSpPr txBox="1"/>
            <p:nvPr>
              <p:custDataLst>
                <p:tags r:id="rId76"/>
              </p:custDataLst>
            </p:nvPr>
          </p:nvSpPr>
          <p:spPr bwMode="gray">
            <a:xfrm>
              <a:off x="7950441" y="233255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5%</a:t>
              </a:r>
            </a:p>
          </p:txBody>
        </p:sp>
        <p:sp>
          <p:nvSpPr>
            <p:cNvPr id="81" name="TextBox 80"/>
            <p:cNvSpPr txBox="1"/>
            <p:nvPr>
              <p:custDataLst>
                <p:tags r:id="rId77"/>
              </p:custDataLst>
            </p:nvPr>
          </p:nvSpPr>
          <p:spPr bwMode="gray">
            <a:xfrm>
              <a:off x="2017178" y="2193584"/>
              <a:ext cx="239194" cy="161583"/>
            </a:xfrm>
            <a:prstGeom prst="rect">
              <a:avLst/>
            </a:prstGeom>
            <a:solidFill>
              <a:schemeClr val="accent4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5%</a:t>
              </a:r>
            </a:p>
          </p:txBody>
        </p:sp>
        <p:sp>
          <p:nvSpPr>
            <p:cNvPr id="82" name="TextBox 81"/>
            <p:cNvSpPr txBox="1"/>
            <p:nvPr>
              <p:custDataLst>
                <p:tags r:id="rId78"/>
              </p:custDataLst>
            </p:nvPr>
          </p:nvSpPr>
          <p:spPr bwMode="gray">
            <a:xfrm>
              <a:off x="1164188" y="2151043"/>
              <a:ext cx="239194" cy="161583"/>
            </a:xfrm>
            <a:prstGeom prst="rect">
              <a:avLst/>
            </a:prstGeom>
            <a:solidFill>
              <a:schemeClr val="accent4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%</a:t>
              </a:r>
            </a:p>
          </p:txBody>
        </p:sp>
        <p:sp>
          <p:nvSpPr>
            <p:cNvPr id="83" name="TextBox 82"/>
            <p:cNvSpPr txBox="1"/>
            <p:nvPr>
              <p:custDataLst>
                <p:tags r:id="rId79"/>
              </p:custDataLst>
            </p:nvPr>
          </p:nvSpPr>
          <p:spPr bwMode="gray">
            <a:xfrm>
              <a:off x="7097451" y="2272993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1%</a:t>
              </a:r>
            </a:p>
          </p:txBody>
        </p:sp>
        <p:sp>
          <p:nvSpPr>
            <p:cNvPr id="84" name="TextBox 83"/>
            <p:cNvSpPr txBox="1"/>
            <p:nvPr>
              <p:custDataLst>
                <p:tags r:id="rId80"/>
              </p:custDataLst>
            </p:nvPr>
          </p:nvSpPr>
          <p:spPr bwMode="gray">
            <a:xfrm>
              <a:off x="6244460" y="2284337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1%</a:t>
              </a:r>
            </a:p>
          </p:txBody>
        </p:sp>
        <p:sp>
          <p:nvSpPr>
            <p:cNvPr id="85" name="TextBox 84"/>
            <p:cNvSpPr txBox="1"/>
            <p:nvPr>
              <p:custDataLst>
                <p:tags r:id="rId81"/>
              </p:custDataLst>
            </p:nvPr>
          </p:nvSpPr>
          <p:spPr bwMode="gray">
            <a:xfrm>
              <a:off x="5429141" y="2197837"/>
              <a:ext cx="239194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5%</a:t>
              </a:r>
            </a:p>
          </p:txBody>
        </p:sp>
        <p:sp>
          <p:nvSpPr>
            <p:cNvPr id="86" name="TextBox 85"/>
            <p:cNvSpPr txBox="1"/>
            <p:nvPr>
              <p:custDataLst>
                <p:tags r:id="rId82"/>
              </p:custDataLst>
            </p:nvPr>
          </p:nvSpPr>
          <p:spPr bwMode="gray">
            <a:xfrm>
              <a:off x="3723160" y="2199256"/>
              <a:ext cx="239194" cy="161583"/>
            </a:xfrm>
            <a:prstGeom prst="rect">
              <a:avLst/>
            </a:prstGeom>
            <a:solidFill>
              <a:schemeClr val="accent4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5%</a:t>
              </a:r>
            </a:p>
          </p:txBody>
        </p:sp>
        <p:sp>
          <p:nvSpPr>
            <p:cNvPr id="87" name="TextBox 86"/>
            <p:cNvSpPr txBox="1"/>
            <p:nvPr>
              <p:custDataLst>
                <p:tags r:id="rId83"/>
              </p:custDataLst>
            </p:nvPr>
          </p:nvSpPr>
          <p:spPr bwMode="gray">
            <a:xfrm>
              <a:off x="4538480" y="2272993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1%</a:t>
              </a:r>
            </a:p>
          </p:txBody>
        </p:sp>
        <p:sp>
          <p:nvSpPr>
            <p:cNvPr id="88" name="TextBox 87"/>
            <p:cNvSpPr txBox="1"/>
            <p:nvPr>
              <p:custDataLst>
                <p:tags r:id="rId84"/>
              </p:custDataLst>
            </p:nvPr>
          </p:nvSpPr>
          <p:spPr bwMode="gray">
            <a:xfrm>
              <a:off x="2832497" y="280617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3%</a:t>
              </a:r>
            </a:p>
          </p:txBody>
        </p:sp>
        <p:sp>
          <p:nvSpPr>
            <p:cNvPr id="89" name="TextBox 88"/>
            <p:cNvSpPr txBox="1"/>
            <p:nvPr>
              <p:custDataLst>
                <p:tags r:id="rId85"/>
              </p:custDataLst>
            </p:nvPr>
          </p:nvSpPr>
          <p:spPr bwMode="gray">
            <a:xfrm>
              <a:off x="7988112" y="4866556"/>
              <a:ext cx="239194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7%</a:t>
              </a:r>
            </a:p>
          </p:txBody>
        </p:sp>
        <p:sp>
          <p:nvSpPr>
            <p:cNvPr id="90" name="TextBox 89"/>
            <p:cNvSpPr txBox="1"/>
            <p:nvPr>
              <p:custDataLst>
                <p:tags r:id="rId86"/>
              </p:custDataLst>
            </p:nvPr>
          </p:nvSpPr>
          <p:spPr bwMode="gray">
            <a:xfrm>
              <a:off x="1979507" y="4548918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9%</a:t>
              </a:r>
            </a:p>
          </p:txBody>
        </p:sp>
        <p:sp>
          <p:nvSpPr>
            <p:cNvPr id="91" name="TextBox 90"/>
            <p:cNvSpPr txBox="1"/>
            <p:nvPr>
              <p:custDataLst>
                <p:tags r:id="rId87"/>
              </p:custDataLst>
            </p:nvPr>
          </p:nvSpPr>
          <p:spPr bwMode="gray">
            <a:xfrm>
              <a:off x="1126517" y="4137692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58%</a:t>
              </a:r>
            </a:p>
          </p:txBody>
        </p:sp>
        <p:sp>
          <p:nvSpPr>
            <p:cNvPr id="92" name="TextBox 91"/>
            <p:cNvSpPr txBox="1"/>
            <p:nvPr>
              <p:custDataLst>
                <p:tags r:id="rId88"/>
              </p:custDataLst>
            </p:nvPr>
          </p:nvSpPr>
          <p:spPr bwMode="gray">
            <a:xfrm>
              <a:off x="7097451" y="4771547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3%</a:t>
              </a:r>
            </a:p>
          </p:txBody>
        </p:sp>
        <p:sp>
          <p:nvSpPr>
            <p:cNvPr id="93" name="TextBox 92"/>
            <p:cNvSpPr txBox="1"/>
            <p:nvPr>
              <p:custDataLst>
                <p:tags r:id="rId89"/>
              </p:custDataLst>
            </p:nvPr>
          </p:nvSpPr>
          <p:spPr bwMode="gray">
            <a:xfrm>
              <a:off x="6244460" y="477013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3%</a:t>
              </a:r>
            </a:p>
          </p:txBody>
        </p:sp>
        <p:sp>
          <p:nvSpPr>
            <p:cNvPr id="94" name="TextBox 93"/>
            <p:cNvSpPr txBox="1"/>
            <p:nvPr>
              <p:custDataLst>
                <p:tags r:id="rId90"/>
              </p:custDataLst>
            </p:nvPr>
          </p:nvSpPr>
          <p:spPr bwMode="gray">
            <a:xfrm>
              <a:off x="5391470" y="4694975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9%</a:t>
              </a:r>
            </a:p>
          </p:txBody>
        </p:sp>
        <p:sp>
          <p:nvSpPr>
            <p:cNvPr id="95" name="TextBox 94"/>
            <p:cNvSpPr txBox="1"/>
            <p:nvPr>
              <p:custDataLst>
                <p:tags r:id="rId91"/>
              </p:custDataLst>
            </p:nvPr>
          </p:nvSpPr>
          <p:spPr bwMode="gray">
            <a:xfrm>
              <a:off x="3685489" y="465527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2%</a:t>
              </a:r>
            </a:p>
          </p:txBody>
        </p:sp>
        <p:sp>
          <p:nvSpPr>
            <p:cNvPr id="96" name="TextBox 95"/>
            <p:cNvSpPr txBox="1"/>
            <p:nvPr>
              <p:custDataLst>
                <p:tags r:id="rId92"/>
              </p:custDataLst>
            </p:nvPr>
          </p:nvSpPr>
          <p:spPr bwMode="gray">
            <a:xfrm>
              <a:off x="4538480" y="4663777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21%</a:t>
              </a:r>
            </a:p>
          </p:txBody>
        </p:sp>
        <p:sp>
          <p:nvSpPr>
            <p:cNvPr id="97" name="TextBox 96"/>
            <p:cNvSpPr txBox="1"/>
            <p:nvPr>
              <p:custDataLst>
                <p:tags r:id="rId93"/>
              </p:custDataLst>
            </p:nvPr>
          </p:nvSpPr>
          <p:spPr bwMode="gray">
            <a:xfrm>
              <a:off x="2832497" y="3696688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98" name="TextBox 97"/>
            <p:cNvSpPr txBox="1"/>
            <p:nvPr>
              <p:custDataLst>
                <p:tags r:id="rId94"/>
              </p:custDataLst>
            </p:nvPr>
          </p:nvSpPr>
          <p:spPr bwMode="gray">
            <a:xfrm>
              <a:off x="7950441" y="4279494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35%</a:t>
              </a:r>
            </a:p>
          </p:txBody>
        </p:sp>
        <p:sp>
          <p:nvSpPr>
            <p:cNvPr id="99" name="TextBox 98"/>
            <p:cNvSpPr txBox="1"/>
            <p:nvPr>
              <p:custDataLst>
                <p:tags r:id="rId95"/>
              </p:custDataLst>
            </p:nvPr>
          </p:nvSpPr>
          <p:spPr bwMode="gray">
            <a:xfrm>
              <a:off x="1979507" y="3472639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7%</a:t>
              </a:r>
            </a:p>
          </p:txBody>
        </p:sp>
        <p:sp>
          <p:nvSpPr>
            <p:cNvPr id="100" name="TextBox 99"/>
            <p:cNvSpPr txBox="1"/>
            <p:nvPr>
              <p:custDataLst>
                <p:tags r:id="rId96"/>
              </p:custDataLst>
            </p:nvPr>
          </p:nvSpPr>
          <p:spPr bwMode="gray">
            <a:xfrm>
              <a:off x="1126517" y="2848710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33%</a:t>
              </a:r>
            </a:p>
          </p:txBody>
        </p:sp>
        <p:sp>
          <p:nvSpPr>
            <p:cNvPr id="101" name="TextBox 100"/>
            <p:cNvSpPr txBox="1"/>
            <p:nvPr>
              <p:custDataLst>
                <p:tags r:id="rId97"/>
              </p:custDataLst>
            </p:nvPr>
          </p:nvSpPr>
          <p:spPr bwMode="gray">
            <a:xfrm>
              <a:off x="7097451" y="4022832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102" name="TextBox 101"/>
            <p:cNvSpPr txBox="1"/>
            <p:nvPr>
              <p:custDataLst>
                <p:tags r:id="rId98"/>
              </p:custDataLst>
            </p:nvPr>
          </p:nvSpPr>
          <p:spPr bwMode="gray">
            <a:xfrm>
              <a:off x="6244460" y="3970365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3%</a:t>
              </a:r>
            </a:p>
          </p:txBody>
        </p:sp>
        <p:sp>
          <p:nvSpPr>
            <p:cNvPr id="103" name="TextBox 102"/>
            <p:cNvSpPr txBox="1"/>
            <p:nvPr>
              <p:custDataLst>
                <p:tags r:id="rId99"/>
              </p:custDataLst>
            </p:nvPr>
          </p:nvSpPr>
          <p:spPr bwMode="gray">
            <a:xfrm>
              <a:off x="5391470" y="3717958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50%</a:t>
              </a:r>
            </a:p>
          </p:txBody>
        </p:sp>
        <p:sp>
          <p:nvSpPr>
            <p:cNvPr id="104" name="TextBox 103"/>
            <p:cNvSpPr txBox="1"/>
            <p:nvPr>
              <p:custDataLst>
                <p:tags r:id="rId100"/>
              </p:custDataLst>
            </p:nvPr>
          </p:nvSpPr>
          <p:spPr bwMode="gray">
            <a:xfrm>
              <a:off x="3685489" y="3756244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2%</a:t>
              </a:r>
            </a:p>
          </p:txBody>
        </p:sp>
        <p:sp>
          <p:nvSpPr>
            <p:cNvPr id="105" name="TextBox 104"/>
            <p:cNvSpPr txBox="1"/>
            <p:nvPr>
              <p:custDataLst>
                <p:tags r:id="rId101"/>
              </p:custDataLst>
            </p:nvPr>
          </p:nvSpPr>
          <p:spPr bwMode="gray">
            <a:xfrm>
              <a:off x="4538480" y="3769006"/>
              <a:ext cx="31453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42%</a:t>
              </a:r>
            </a:p>
          </p:txBody>
        </p:sp>
      </p:grpSp>
      <p:sp>
        <p:nvSpPr>
          <p:cNvPr id="116" name="TextBox 115"/>
          <p:cNvSpPr txBox="1"/>
          <p:nvPr/>
        </p:nvSpPr>
        <p:spPr>
          <a:xfrm>
            <a:off x="512064" y="1260484"/>
            <a:ext cx="80565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Which of the following academic advising functions does your institution use technology to support?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3283" y="6460646"/>
            <a:ext cx="6485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/>
              <a:t>Note: Resource Connection encompasses the </a:t>
            </a:r>
            <a:r>
              <a:rPr lang="en-US" sz="900" i="1" smtClean="0"/>
              <a:t>Academic, Aid</a:t>
            </a:r>
            <a:r>
              <a:rPr lang="en-US" sz="900" i="1" dirty="0" smtClean="0"/>
              <a:t>, Benefits &amp; Wellness, Life Skills, and Co-Curricular Recognition categories.</a:t>
            </a:r>
            <a:endParaRPr lang="en-US" sz="900" i="1" dirty="0"/>
          </a:p>
        </p:txBody>
      </p:sp>
      <p:sp>
        <p:nvSpPr>
          <p:cNvPr id="115" name="Rectangle 114"/>
          <p:cNvSpPr/>
          <p:nvPr/>
        </p:nvSpPr>
        <p:spPr>
          <a:xfrm>
            <a:off x="649479" y="5651915"/>
            <a:ext cx="7884725" cy="72763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Technology that fulfills multiple functions promises to add value by streamlining operation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704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titutions Using Point Solutions – rather than Integrated Ones – Report Modestly Greater Success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525463" y="1200719"/>
            <a:ext cx="8056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Overall, my institution successfully achieves an ideal advising situation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1" t="28458" r="4914" b="6511"/>
          <a:stretch/>
        </p:blipFill>
        <p:spPr>
          <a:xfrm>
            <a:off x="1241638" y="1610360"/>
            <a:ext cx="6530759" cy="372942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87927" y="5412792"/>
            <a:ext cx="8194098" cy="82267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Fully integrated solutions are not yet meeting expectations</a:t>
            </a:r>
            <a:r>
              <a:rPr lang="en-US" b="1">
                <a:solidFill>
                  <a:schemeClr val="bg1"/>
                </a:solidFill>
              </a:rPr>
              <a:t>, but given </a:t>
            </a:r>
            <a:r>
              <a:rPr lang="en-US" b="1" dirty="0">
                <a:solidFill>
                  <a:schemeClr val="bg1"/>
                </a:solidFill>
              </a:rPr>
              <a:t>the “neutral</a:t>
            </a:r>
            <a:r>
              <a:rPr lang="en-US" b="1">
                <a:solidFill>
                  <a:schemeClr val="bg1"/>
                </a:solidFill>
              </a:rPr>
              <a:t>” sentiment, room </a:t>
            </a:r>
            <a:r>
              <a:rPr lang="en-US" b="1" dirty="0">
                <a:solidFill>
                  <a:schemeClr val="bg1"/>
                </a:solidFill>
              </a:rPr>
              <a:t>for </a:t>
            </a:r>
            <a:r>
              <a:rPr lang="en-US" b="1">
                <a:solidFill>
                  <a:schemeClr val="bg1"/>
                </a:solidFill>
              </a:rPr>
              <a:t>improvement exists for all tech offering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49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40% of Institutions Report that a Lack of Student Engagement Impedes Advising Improveme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14178" y="1484643"/>
            <a:ext cx="5063420" cy="4788505"/>
          </a:xfrm>
          <a:prstGeom prst="rect">
            <a:avLst/>
          </a:prstGeom>
        </p:spPr>
      </p:pic>
      <p:sp>
        <p:nvSpPr>
          <p:cNvPr id="6" name="Freeform 5"/>
          <p:cNvSpPr/>
          <p:nvPr/>
        </p:nvSpPr>
        <p:spPr>
          <a:xfrm>
            <a:off x="2486722" y="1215483"/>
            <a:ext cx="4873083" cy="5207619"/>
          </a:xfrm>
          <a:custGeom>
            <a:avLst/>
            <a:gdLst>
              <a:gd name="connsiteX0" fmla="*/ 1159727 w 4873083"/>
              <a:gd name="connsiteY0" fmla="*/ 1572322 h 5207619"/>
              <a:gd name="connsiteX1" fmla="*/ 1126273 w 4873083"/>
              <a:gd name="connsiteY1" fmla="*/ 1293541 h 5207619"/>
              <a:gd name="connsiteX2" fmla="*/ 591015 w 4873083"/>
              <a:gd name="connsiteY2" fmla="*/ 1103971 h 5207619"/>
              <a:gd name="connsiteX3" fmla="*/ 2062976 w 4873083"/>
              <a:gd name="connsiteY3" fmla="*/ 0 h 5207619"/>
              <a:gd name="connsiteX4" fmla="*/ 4873083 w 4873083"/>
              <a:gd name="connsiteY4" fmla="*/ 1996068 h 5207619"/>
              <a:gd name="connsiteX5" fmla="*/ 3523785 w 4873083"/>
              <a:gd name="connsiteY5" fmla="*/ 5207619 h 5207619"/>
              <a:gd name="connsiteX6" fmla="*/ 412595 w 4873083"/>
              <a:gd name="connsiteY6" fmla="*/ 5018049 h 5207619"/>
              <a:gd name="connsiteX7" fmla="*/ 0 w 4873083"/>
              <a:gd name="connsiteY7" fmla="*/ 3757961 h 5207619"/>
              <a:gd name="connsiteX8" fmla="*/ 356839 w 4873083"/>
              <a:gd name="connsiteY8" fmla="*/ 3233854 h 5207619"/>
              <a:gd name="connsiteX9" fmla="*/ 847493 w 4873083"/>
              <a:gd name="connsiteY9" fmla="*/ 3300761 h 5207619"/>
              <a:gd name="connsiteX10" fmla="*/ 1148576 w 4873083"/>
              <a:gd name="connsiteY10" fmla="*/ 2575932 h 5207619"/>
              <a:gd name="connsiteX11" fmla="*/ 1260088 w 4873083"/>
              <a:gd name="connsiteY11" fmla="*/ 1773044 h 5207619"/>
              <a:gd name="connsiteX12" fmla="*/ 1159727 w 4873083"/>
              <a:gd name="connsiteY12" fmla="*/ 1572322 h 5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73083" h="5207619">
                <a:moveTo>
                  <a:pt x="1159727" y="1572322"/>
                </a:moveTo>
                <a:lnTo>
                  <a:pt x="1126273" y="1293541"/>
                </a:lnTo>
                <a:lnTo>
                  <a:pt x="591015" y="1103971"/>
                </a:lnTo>
                <a:lnTo>
                  <a:pt x="2062976" y="0"/>
                </a:lnTo>
                <a:lnTo>
                  <a:pt x="4873083" y="1996068"/>
                </a:lnTo>
                <a:lnTo>
                  <a:pt x="3523785" y="5207619"/>
                </a:lnTo>
                <a:lnTo>
                  <a:pt x="412595" y="5018049"/>
                </a:lnTo>
                <a:lnTo>
                  <a:pt x="0" y="3757961"/>
                </a:lnTo>
                <a:lnTo>
                  <a:pt x="356839" y="3233854"/>
                </a:lnTo>
                <a:lnTo>
                  <a:pt x="847493" y="3300761"/>
                </a:lnTo>
                <a:lnTo>
                  <a:pt x="1148576" y="2575932"/>
                </a:lnTo>
                <a:lnTo>
                  <a:pt x="1260088" y="1773044"/>
                </a:lnTo>
                <a:lnTo>
                  <a:pt x="1159727" y="1572322"/>
                </a:lnTo>
                <a:close/>
              </a:path>
            </a:pathLst>
          </a:custGeom>
          <a:solidFill>
            <a:schemeClr val="bg1">
              <a:alpha val="6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Nearly Half of Institutions Surveyed Use the Prescriptive Advising Model</a:t>
            </a:r>
          </a:p>
        </p:txBody>
      </p:sp>
      <p:grpSp>
        <p:nvGrpSpPr>
          <p:cNvPr id="19" name="Group 18"/>
          <p:cNvGrpSpPr/>
          <p:nvPr>
            <p:custDataLst>
              <p:tags r:id="rId2"/>
            </p:custDataLst>
          </p:nvPr>
        </p:nvGrpSpPr>
        <p:grpSpPr>
          <a:xfrm>
            <a:off x="2583962" y="2140722"/>
            <a:ext cx="4349480" cy="3956539"/>
            <a:chOff x="2583962" y="1817077"/>
            <a:chExt cx="4349480" cy="3956539"/>
          </a:xfrm>
        </p:grpSpPr>
        <p:sp>
          <p:nvSpPr>
            <p:cNvPr id="4" name="Pie 3"/>
            <p:cNvSpPr/>
            <p:nvPr>
              <p:custDataLst>
                <p:tags r:id="rId3"/>
              </p:custDataLst>
            </p:nvPr>
          </p:nvSpPr>
          <p:spPr bwMode="gray">
            <a:xfrm>
              <a:off x="2583962" y="1817077"/>
              <a:ext cx="3956540" cy="3956539"/>
            </a:xfrm>
            <a:prstGeom prst="pie">
              <a:avLst>
                <a:gd name="adj1" fmla="val 19960974"/>
                <a:gd name="adj2" fmla="val 0"/>
              </a:avLst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" name="Pie 4"/>
            <p:cNvSpPr/>
            <p:nvPr>
              <p:custDataLst>
                <p:tags r:id="rId4"/>
              </p:custDataLst>
            </p:nvPr>
          </p:nvSpPr>
          <p:spPr bwMode="gray">
            <a:xfrm>
              <a:off x="2583962" y="1817077"/>
              <a:ext cx="3956540" cy="3956539"/>
            </a:xfrm>
            <a:prstGeom prst="pie">
              <a:avLst>
                <a:gd name="adj1" fmla="val 12136584"/>
                <a:gd name="adj2" fmla="val 16039026"/>
              </a:avLst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Pie 5"/>
            <p:cNvSpPr/>
            <p:nvPr>
              <p:custDataLst>
                <p:tags r:id="rId5"/>
              </p:custDataLst>
            </p:nvPr>
          </p:nvSpPr>
          <p:spPr bwMode="gray">
            <a:xfrm>
              <a:off x="2583962" y="1817077"/>
              <a:ext cx="3956540" cy="3956539"/>
            </a:xfrm>
            <a:prstGeom prst="pie">
              <a:avLst>
                <a:gd name="adj1" fmla="val 16039026"/>
                <a:gd name="adj2" fmla="val 19960974"/>
              </a:avLst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" name="Pie 6"/>
            <p:cNvSpPr/>
            <p:nvPr>
              <p:custDataLst>
                <p:tags r:id="rId6"/>
              </p:custDataLst>
            </p:nvPr>
          </p:nvSpPr>
          <p:spPr bwMode="gray">
            <a:xfrm>
              <a:off x="2583962" y="1817077"/>
              <a:ext cx="3956540" cy="3956539"/>
            </a:xfrm>
            <a:prstGeom prst="pie">
              <a:avLst>
                <a:gd name="adj1" fmla="val 9619512"/>
                <a:gd name="adj2" fmla="val 12136584"/>
              </a:avLst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" name="Pie 7"/>
            <p:cNvSpPr/>
            <p:nvPr>
              <p:custDataLst>
                <p:tags r:id="rId7"/>
              </p:custDataLst>
            </p:nvPr>
          </p:nvSpPr>
          <p:spPr bwMode="gray">
            <a:xfrm>
              <a:off x="2583962" y="1817077"/>
              <a:ext cx="3956540" cy="3956539"/>
            </a:xfrm>
            <a:prstGeom prst="pie">
              <a:avLst>
                <a:gd name="adj1" fmla="val 0"/>
                <a:gd name="adj2" fmla="val 9619512"/>
              </a:avLst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9" name="TextBox 8"/>
            <p:cNvSpPr txBox="1"/>
            <p:nvPr>
              <p:custDataLst>
                <p:tags r:id="rId8"/>
              </p:custDataLst>
            </p:nvPr>
          </p:nvSpPr>
          <p:spPr bwMode="gray">
            <a:xfrm>
              <a:off x="4881897" y="284639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/>
                  <a:ea typeface="ＭＳ Ｐゴシック" charset="-128"/>
                </a:rPr>
                <a:t>18%</a:t>
              </a:r>
            </a:p>
          </p:txBody>
        </p:sp>
        <p:sp>
          <p:nvSpPr>
            <p:cNvPr id="10" name="TextBox 9"/>
            <p:cNvSpPr txBox="1"/>
            <p:nvPr>
              <p:custDataLst>
                <p:tags r:id="rId9"/>
              </p:custDataLst>
            </p:nvPr>
          </p:nvSpPr>
          <p:spPr bwMode="gray">
            <a:xfrm>
              <a:off x="6505093" y="3225634"/>
              <a:ext cx="42834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dirty="0">
                  <a:effectLst/>
                  <a:ea typeface="ＭＳ Ｐゴシック" charset="-128"/>
                </a:rPr>
                <a:t>Other</a:t>
              </a:r>
            </a:p>
          </p:txBody>
        </p:sp>
        <p:sp>
          <p:nvSpPr>
            <p:cNvPr id="11" name="TextBox 10"/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5390972" y="3469444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8%</a:t>
              </a:r>
            </a:p>
          </p:txBody>
        </p:sp>
        <p:sp>
          <p:nvSpPr>
            <p:cNvPr id="13" name="TextBox 12"/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3398451" y="368055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/>
                  <a:ea typeface="ＭＳ Ｐゴシック" charset="-128"/>
                </a:rPr>
                <a:t>12%</a:t>
              </a:r>
            </a:p>
          </p:txBody>
        </p:sp>
        <p:sp>
          <p:nvSpPr>
            <p:cNvPr id="15" name="TextBox 14"/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4556327" y="467760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effectLst/>
                  <a:ea typeface="ＭＳ Ｐゴシック" charset="-128"/>
                </a:rPr>
                <a:t>45%</a:t>
              </a:r>
            </a:p>
          </p:txBody>
        </p:sp>
        <p:sp>
          <p:nvSpPr>
            <p:cNvPr id="17" name="TextBox 16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3817115" y="289478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8%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5861410" y="5598934"/>
            <a:ext cx="2790663" cy="73866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ea typeface="Calibri"/>
                <a:cs typeface="Times New Roman"/>
              </a:rPr>
              <a:t>Prescriptive</a:t>
            </a:r>
            <a:r>
              <a:rPr lang="en-US" sz="1400" dirty="0">
                <a:ea typeface="Calibri"/>
                <a:cs typeface="Times New Roman"/>
              </a:rPr>
              <a:t>: Offer course and degree information and prescribe solutions for academic problem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861410" y="1828167"/>
            <a:ext cx="3282590" cy="78386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>
                <a:ea typeface="Calibri"/>
                <a:cs typeface="Times New Roman"/>
              </a:rPr>
              <a:t>Intrusive / Proactive</a:t>
            </a:r>
            <a:r>
              <a:rPr lang="en-US" sz="1400" dirty="0">
                <a:ea typeface="Calibri"/>
                <a:cs typeface="Times New Roman"/>
              </a:rPr>
              <a:t>: Incorporate intervention strategies for students who otherwise might not seek advisin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94555" y="1900385"/>
            <a:ext cx="2689687" cy="101438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 dirty="0">
                <a:ea typeface="Calibri"/>
                <a:cs typeface="Times New Roman"/>
              </a:rPr>
              <a:t>Advising as Teaching</a:t>
            </a:r>
            <a:r>
              <a:rPr lang="en-US" sz="1400" dirty="0">
                <a:ea typeface="Calibri"/>
                <a:cs typeface="Times New Roman"/>
              </a:rPr>
              <a:t>: Connect students with who they are, what they are learning, and who they want to becom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4555" y="3589347"/>
            <a:ext cx="2319209" cy="101438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 dirty="0">
                <a:ea typeface="Calibri"/>
                <a:cs typeface="Times New Roman"/>
              </a:rPr>
              <a:t>Developmental</a:t>
            </a:r>
            <a:r>
              <a:rPr lang="en-US" sz="1400" dirty="0">
                <a:ea typeface="Calibri"/>
                <a:cs typeface="Times New Roman"/>
              </a:rPr>
              <a:t>: Focus on the whole student, facilitating students</a:t>
            </a:r>
            <a:r>
              <a:rPr lang="en-US" sz="1400">
                <a:ea typeface="Calibri"/>
                <a:cs typeface="Times New Roman"/>
              </a:rPr>
              <a:t>’ </a:t>
            </a:r>
            <a:br>
              <a:rPr lang="en-US" sz="1400">
                <a:ea typeface="Calibri"/>
                <a:cs typeface="Times New Roman"/>
              </a:rPr>
            </a:br>
            <a:r>
              <a:rPr lang="en-US" sz="1400">
                <a:ea typeface="Calibri"/>
                <a:cs typeface="Times New Roman"/>
              </a:rPr>
              <a:t>non-cognitive </a:t>
            </a:r>
            <a:r>
              <a:rPr lang="en-US" sz="1400" dirty="0">
                <a:ea typeface="Calibri"/>
                <a:cs typeface="Times New Roman"/>
              </a:rPr>
              <a:t>skill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98230" y="1214936"/>
            <a:ext cx="80659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In your opinion, which of the following best describes the type of academic advising that occurs at your institution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2017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1999260" y="1620741"/>
            <a:ext cx="3037849" cy="1874022"/>
          </a:xfrm>
          <a:prstGeom prst="rect">
            <a:avLst/>
          </a:prstGeom>
          <a:solidFill>
            <a:srgbClr val="FFFF0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5024602" y="3469512"/>
            <a:ext cx="3037849" cy="1901126"/>
          </a:xfrm>
          <a:prstGeom prst="rect">
            <a:avLst/>
          </a:prstGeom>
          <a:solidFill>
            <a:srgbClr val="FFFF0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1986754" y="3466483"/>
            <a:ext cx="3037849" cy="1901126"/>
          </a:xfrm>
          <a:prstGeom prst="rect">
            <a:avLst/>
          </a:prstGeom>
          <a:solidFill>
            <a:srgbClr val="FF000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024603" y="1612491"/>
            <a:ext cx="3037849" cy="1853991"/>
          </a:xfrm>
          <a:prstGeom prst="rect">
            <a:avLst/>
          </a:prstGeom>
          <a:solidFill>
            <a:srgbClr val="A0E25E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criptive and Intrusive Models Are Associated with Relatively Poor Student </a:t>
            </a:r>
            <a:r>
              <a:rPr lang="en-US" dirty="0" smtClean="0"/>
              <a:t>Outcomes</a:t>
            </a:r>
            <a:r>
              <a:rPr lang="mr-IN" dirty="0" smtClean="0"/>
              <a:t>…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3561267" y="5790142"/>
            <a:ext cx="32997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Perception of Advising Succes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24295" y="3115084"/>
            <a:ext cx="12547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Student Outcome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6244791" y="5415818"/>
            <a:ext cx="7216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Positiv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064846" y="5415818"/>
            <a:ext cx="7889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Negative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1196510" y="4321874"/>
            <a:ext cx="6286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Worse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265083" y="2294305"/>
            <a:ext cx="595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Better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633081" y="2610492"/>
            <a:ext cx="1921620" cy="6356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200" b="1" dirty="0">
                <a:ea typeface="Calibri"/>
                <a:cs typeface="Times New Roman"/>
              </a:rPr>
              <a:t>Developmental</a:t>
            </a:r>
            <a:endParaRPr lang="en-US" sz="120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40%</a:t>
            </a: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44%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627278" y="4072097"/>
            <a:ext cx="1927423" cy="6356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200" b="1" dirty="0">
                <a:ea typeface="Calibri"/>
                <a:cs typeface="Times New Roman"/>
              </a:rPr>
              <a:t>Intrusive (Proactive)</a:t>
            </a:r>
            <a:endParaRPr lang="en-US" sz="120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46%</a:t>
            </a: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33%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633081" y="1774623"/>
            <a:ext cx="1945091" cy="6356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200" b="1" dirty="0">
                <a:ea typeface="Calibri"/>
                <a:cs typeface="Times New Roman"/>
              </a:rPr>
              <a:t>Advising as Teaching</a:t>
            </a:r>
            <a:endParaRPr lang="en-US" sz="120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43%</a:t>
            </a: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49%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2532128" y="4072097"/>
            <a:ext cx="1947100" cy="6356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200" b="1" dirty="0">
                <a:ea typeface="Calibri"/>
                <a:cs typeface="Times New Roman"/>
              </a:rPr>
              <a:t>Prescriptive</a:t>
            </a:r>
            <a:endParaRPr lang="en-US" sz="1200" dirty="0">
              <a:ea typeface="Calibri"/>
              <a:cs typeface="Times New Roman"/>
            </a:endParaRP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Perceived successful by </a:t>
            </a:r>
            <a:r>
              <a:rPr lang="en-US" sz="1050" b="1" dirty="0">
                <a:ea typeface="Calibri"/>
                <a:cs typeface="Times New Roman"/>
              </a:rPr>
              <a:t>20%</a:t>
            </a:r>
          </a:p>
          <a:p>
            <a:pPr>
              <a:lnSpc>
                <a:spcPct val="107000"/>
              </a:lnSpc>
            </a:pPr>
            <a:r>
              <a:rPr lang="en-US" sz="1050" dirty="0">
                <a:ea typeface="Calibri"/>
                <a:cs typeface="Times New Roman"/>
              </a:rPr>
              <a:t>Avg. graduation rate: </a:t>
            </a:r>
            <a:r>
              <a:rPr lang="en-US" sz="1050" b="1" dirty="0">
                <a:ea typeface="Calibri"/>
                <a:cs typeface="Times New Roman"/>
              </a:rPr>
              <a:t>38%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037109" y="1608041"/>
            <a:ext cx="0" cy="3764544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>
            <a:off x="1986755" y="3466482"/>
            <a:ext cx="6075697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1113936" y="4756031"/>
            <a:ext cx="1770647" cy="172562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What are the implications of the widespread use of the prescriptive model, given its poor efficacy? </a:t>
            </a:r>
          </a:p>
        </p:txBody>
      </p:sp>
    </p:spTree>
    <p:extLst>
      <p:ext uri="{BB962C8B-B14F-4D97-AF65-F5344CB8AC3E}">
        <p14:creationId xmlns:p14="http://schemas.microsoft.com/office/powerpoint/2010/main" val="1611341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2900" y="201613"/>
            <a:ext cx="8559799" cy="844550"/>
          </a:xfrm>
        </p:spPr>
        <p:txBody>
          <a:bodyPr/>
          <a:lstStyle/>
          <a:p>
            <a:r>
              <a:rPr lang="mr-IN" sz="2200" dirty="0" smtClean="0"/>
              <a:t>…</a:t>
            </a:r>
            <a:r>
              <a:rPr lang="en-US" sz="2200" dirty="0" smtClean="0"/>
              <a:t>However, Developmental and Advising as Teaching Models Are Works-in-Progress, as Student Disengagement is More Likely</a:t>
            </a:r>
            <a:endParaRPr lang="en-US" sz="2200" dirty="0"/>
          </a:p>
        </p:txBody>
      </p:sp>
      <p:grpSp>
        <p:nvGrpSpPr>
          <p:cNvPr id="39" name="Group 38"/>
          <p:cNvGrpSpPr/>
          <p:nvPr>
            <p:custDataLst>
              <p:tags r:id="rId1"/>
            </p:custDataLst>
          </p:nvPr>
        </p:nvGrpSpPr>
        <p:grpSpPr>
          <a:xfrm>
            <a:off x="459239" y="2204891"/>
            <a:ext cx="8074966" cy="3828068"/>
            <a:chOff x="459239" y="2204891"/>
            <a:chExt cx="8074966" cy="3828068"/>
          </a:xfrm>
        </p:grpSpPr>
        <p:sp>
          <p:nvSpPr>
            <p:cNvPr id="4" name="Rectangle 3"/>
            <p:cNvSpPr/>
            <p:nvPr>
              <p:custDataLst>
                <p:tags r:id="rId2"/>
              </p:custDataLst>
            </p:nvPr>
          </p:nvSpPr>
          <p:spPr bwMode="gray">
            <a:xfrm>
              <a:off x="6974831" y="2562882"/>
              <a:ext cx="1199518" cy="3221911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3"/>
              </p:custDataLst>
            </p:nvPr>
          </p:nvSpPr>
          <p:spPr bwMode="gray">
            <a:xfrm>
              <a:off x="3136373" y="2914829"/>
              <a:ext cx="1199518" cy="2869962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4"/>
              </p:custDataLst>
            </p:nvPr>
          </p:nvSpPr>
          <p:spPr bwMode="gray">
            <a:xfrm>
              <a:off x="5055602" y="2573904"/>
              <a:ext cx="1199518" cy="3210889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1217144" y="3079006"/>
              <a:ext cx="1199518" cy="2705786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2" name="Straight Connector 1"/>
            <p:cNvCxnSpPr/>
            <p:nvPr>
              <p:custDataLst>
                <p:tags r:id="rId6"/>
              </p:custDataLst>
            </p:nvPr>
          </p:nvCxnSpPr>
          <p:spPr bwMode="gray">
            <a:xfrm flipV="1">
              <a:off x="857288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>
              <p:custDataLst>
                <p:tags r:id="rId7"/>
              </p:custDataLst>
            </p:nvPr>
          </p:nvCxnSpPr>
          <p:spPr bwMode="gray">
            <a:xfrm>
              <a:off x="857288" y="5784793"/>
              <a:ext cx="7676917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>
              <p:custDataLst>
                <p:tags r:id="rId8"/>
              </p:custDataLst>
            </p:nvPr>
          </p:nvCxnSpPr>
          <p:spPr bwMode="gray">
            <a:xfrm flipH="1">
              <a:off x="806488" y="4193725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>
              <p:custDataLst>
                <p:tags r:id="rId9"/>
              </p:custDataLst>
            </p:nvPr>
          </p:nvCxnSpPr>
          <p:spPr bwMode="gray">
            <a:xfrm flipH="1">
              <a:off x="806488" y="339819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>
              <p:custDataLst>
                <p:tags r:id="rId10"/>
              </p:custDataLst>
            </p:nvPr>
          </p:nvCxnSpPr>
          <p:spPr bwMode="gray">
            <a:xfrm flipH="1">
              <a:off x="806488" y="4989259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806488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>
              <p:custDataLst>
                <p:tags r:id="rId12"/>
              </p:custDataLst>
            </p:nvPr>
          </p:nvCxnSpPr>
          <p:spPr bwMode="gray">
            <a:xfrm flipH="1">
              <a:off x="806488" y="2204891"/>
              <a:ext cx="50800" cy="0"/>
            </a:xfrm>
            <a:prstGeom prst="line">
              <a:avLst/>
            </a:prstGeom>
            <a:ln w="9525" cmpd="sng">
              <a:solidFill>
                <a:schemeClr val="bg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>
              <p:custDataLst>
                <p:tags r:id="rId13"/>
              </p:custDataLst>
            </p:nvPr>
          </p:nvCxnSpPr>
          <p:spPr bwMode="gray">
            <a:xfrm flipH="1">
              <a:off x="806488" y="260265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544199" y="5692460"/>
              <a:ext cx="26484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7" name="TextBox 16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459239" y="489692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1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8" name="TextBox 17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459239" y="330585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3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459239" y="4101392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2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0" name="TextBox 19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459239" y="2510325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6834053" y="5848293"/>
              <a:ext cx="148107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Advising as Teaching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3203761" y="5848293"/>
              <a:ext cx="1064741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Developmental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394338" y="5848293"/>
              <a:ext cx="84512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Prescriptive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4950668" y="5848293"/>
              <a:ext cx="1409386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Intrusive (Proactive)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642002" y="433956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34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7399689" y="408150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1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7" name="TextBox 26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3561231" y="425747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36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8" name="TextBox 27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5480460" y="408701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0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937208" y="1242134"/>
            <a:ext cx="73420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What are the barriers to improving academic advising at your institution?</a:t>
            </a:r>
          </a:p>
          <a:p>
            <a:pPr algn="ctr"/>
            <a:r>
              <a:rPr lang="en-US" sz="1600" i="1" dirty="0" smtClean="0"/>
              <a:t>Students are not taking advantage of resources</a:t>
            </a:r>
            <a:endParaRPr lang="en-US" sz="1600" i="1" dirty="0"/>
          </a:p>
        </p:txBody>
      </p:sp>
      <p:sp>
        <p:nvSpPr>
          <p:cNvPr id="31" name="TextBox 30"/>
          <p:cNvSpPr txBox="1"/>
          <p:nvPr/>
        </p:nvSpPr>
        <p:spPr>
          <a:xfrm>
            <a:off x="161947" y="1913978"/>
            <a:ext cx="764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% Agree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940283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 smtClean="0"/>
              <a:t>48% of Institutions Have Adopted the Guided Pathways Approach (Partially or Completely)</a:t>
            </a:r>
            <a:endParaRPr lang="en-US" dirty="0"/>
          </a:p>
        </p:txBody>
      </p:sp>
      <p:grpSp>
        <p:nvGrpSpPr>
          <p:cNvPr id="16" name="Group 15"/>
          <p:cNvGrpSpPr/>
          <p:nvPr>
            <p:custDataLst>
              <p:tags r:id="rId1"/>
            </p:custDataLst>
          </p:nvPr>
        </p:nvGrpSpPr>
        <p:grpSpPr>
          <a:xfrm>
            <a:off x="3887956" y="1875936"/>
            <a:ext cx="4945062" cy="4157896"/>
            <a:chOff x="4178069" y="1844712"/>
            <a:chExt cx="4945062" cy="4157896"/>
          </a:xfrm>
        </p:grpSpPr>
        <p:sp>
          <p:nvSpPr>
            <p:cNvPr id="4" name="Pie 3"/>
            <p:cNvSpPr/>
            <p:nvPr>
              <p:custDataLst>
                <p:tags r:id="rId2"/>
              </p:custDataLst>
            </p:nvPr>
          </p:nvSpPr>
          <p:spPr bwMode="gray">
            <a:xfrm>
              <a:off x="4777153" y="2100384"/>
              <a:ext cx="3419232" cy="3419232"/>
            </a:xfrm>
            <a:prstGeom prst="pie">
              <a:avLst>
                <a:gd name="adj1" fmla="val 4600722"/>
                <a:gd name="adj2" fmla="val 10351626"/>
              </a:avLst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" name="Pie 4"/>
            <p:cNvSpPr/>
            <p:nvPr>
              <p:custDataLst>
                <p:tags r:id="rId3"/>
              </p:custDataLst>
            </p:nvPr>
          </p:nvSpPr>
          <p:spPr bwMode="gray">
            <a:xfrm>
              <a:off x="4777153" y="2100384"/>
              <a:ext cx="3419232" cy="3419232"/>
            </a:xfrm>
            <a:prstGeom prst="pie">
              <a:avLst>
                <a:gd name="adj1" fmla="val 19046208"/>
                <a:gd name="adj2" fmla="val 0"/>
              </a:avLst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Pie 5"/>
            <p:cNvSpPr/>
            <p:nvPr>
              <p:custDataLst>
                <p:tags r:id="rId4"/>
              </p:custDataLst>
            </p:nvPr>
          </p:nvSpPr>
          <p:spPr bwMode="gray">
            <a:xfrm>
              <a:off x="4777153" y="2100384"/>
              <a:ext cx="3419232" cy="3419232"/>
            </a:xfrm>
            <a:prstGeom prst="pie">
              <a:avLst>
                <a:gd name="adj1" fmla="val 10351626"/>
                <a:gd name="adj2" fmla="val 19046208"/>
              </a:avLst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" name="Pie 6"/>
            <p:cNvSpPr/>
            <p:nvPr>
              <p:custDataLst>
                <p:tags r:id="rId5"/>
              </p:custDataLst>
            </p:nvPr>
          </p:nvSpPr>
          <p:spPr bwMode="gray">
            <a:xfrm>
              <a:off x="4777153" y="2100384"/>
              <a:ext cx="3419232" cy="3419232"/>
            </a:xfrm>
            <a:prstGeom prst="pie">
              <a:avLst>
                <a:gd name="adj1" fmla="val 0"/>
                <a:gd name="adj2" fmla="val 4600722"/>
              </a:avLst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8" name="TextBox 7"/>
            <p:cNvSpPr txBox="1"/>
            <p:nvPr>
              <p:custDataLst>
                <p:tags r:id="rId6"/>
              </p:custDataLst>
            </p:nvPr>
          </p:nvSpPr>
          <p:spPr bwMode="gray">
            <a:xfrm>
              <a:off x="5396378" y="1844712"/>
              <a:ext cx="206180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b">
              <a:spAutoFit/>
            </a:bodyPr>
            <a:lstStyle/>
            <a:p>
              <a:pPr algn="r"/>
              <a:r>
                <a:rPr lang="en-US" sz="1200" dirty="0" smtClean="0">
                  <a:effectLst/>
                  <a:ea typeface="ＭＳ Ｐゴシック" charset="-128"/>
                </a:rPr>
                <a:t>No guided pathways adoption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9" name="TextBox 8"/>
            <p:cNvSpPr txBox="1"/>
            <p:nvPr>
              <p:custDataLst>
                <p:tags r:id="rId7"/>
              </p:custDataLst>
            </p:nvPr>
          </p:nvSpPr>
          <p:spPr bwMode="gray">
            <a:xfrm>
              <a:off x="7108385" y="3407413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2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10" name="TextBox 9"/>
            <p:cNvSpPr txBox="1"/>
            <p:nvPr>
              <p:custDataLst>
                <p:tags r:id="rId8"/>
              </p:custDataLst>
            </p:nvPr>
          </p:nvSpPr>
          <p:spPr bwMode="gray">
            <a:xfrm>
              <a:off x="8108316" y="3077638"/>
              <a:ext cx="79703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smtClean="0">
                  <a:effectLst/>
                  <a:ea typeface="ＭＳ Ｐゴシック" charset="-128"/>
                </a:rPr>
                <a:t>Don't know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1" name="TextBox 10"/>
            <p:cNvSpPr txBox="1"/>
            <p:nvPr>
              <p:custDataLst>
                <p:tags r:id="rId9"/>
              </p:custDataLst>
            </p:nvPr>
          </p:nvSpPr>
          <p:spPr bwMode="gray">
            <a:xfrm>
              <a:off x="5950366" y="2943062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0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7221622" y="5388806"/>
              <a:ext cx="1901509" cy="55399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r>
                <a:rPr lang="en-US" sz="1200" dirty="0" smtClean="0">
                  <a:effectLst/>
                  <a:ea typeface="ＭＳ Ｐゴシック" charset="-128"/>
                </a:rPr>
                <a:t>Guided pathways adoption </a:t>
              </a:r>
            </a:p>
            <a:p>
              <a:r>
                <a:rPr lang="en-US" sz="1200" dirty="0" smtClean="0">
                  <a:effectLst/>
                  <a:ea typeface="ＭＳ Ｐゴシック" charset="-128"/>
                </a:rPr>
                <a:t>across all departments </a:t>
              </a:r>
            </a:p>
            <a:p>
              <a:r>
                <a:rPr lang="en-US" sz="1200" dirty="0" smtClean="0">
                  <a:effectLst/>
                  <a:ea typeface="ＭＳ Ｐゴシック" charset="-128"/>
                </a:rPr>
                <a:t>and/or colleg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6982337" y="424792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21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14" name="TextBox 13"/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4178069" y="5448610"/>
              <a:ext cx="1858227" cy="55399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r"/>
              <a:r>
                <a:rPr lang="en-US" sz="1200" dirty="0" smtClean="0">
                  <a:effectLst/>
                  <a:ea typeface="ＭＳ Ｐゴシック" charset="-128"/>
                </a:rPr>
                <a:t>Guided pathways adoption</a:t>
              </a:r>
            </a:p>
            <a:p>
              <a:pPr algn="r"/>
              <a:r>
                <a:rPr lang="en-US" sz="1200" dirty="0" smtClean="0">
                  <a:effectLst/>
                  <a:ea typeface="ＭＳ Ｐゴシック" charset="-128"/>
                </a:rPr>
                <a:t>across some departments</a:t>
              </a:r>
            </a:p>
            <a:p>
              <a:pPr algn="r"/>
              <a:r>
                <a:rPr lang="en-US" sz="1200" dirty="0" smtClean="0">
                  <a:effectLst/>
                  <a:ea typeface="ＭＳ Ｐゴシック" charset="-128"/>
                </a:rPr>
                <a:t>and/or colleg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15" name="TextBox 14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5826435" y="442126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27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268751" y="1623540"/>
            <a:ext cx="383379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The </a:t>
            </a:r>
            <a:r>
              <a:rPr lang="en-US" sz="1400" b="1" dirty="0"/>
              <a:t>guided pathways </a:t>
            </a:r>
            <a:r>
              <a:rPr lang="en-US" sz="1400" dirty="0"/>
              <a:t>model entails a systemic redesign of the student experience from initial connection to college through to completion. </a:t>
            </a:r>
            <a:endParaRPr lang="en-US" sz="14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4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dirty="0"/>
              <a:t>In this study, we describe guided pathways as courses in the context of highly structured, educationally coherent program maps that align with students’ goals for careers and further education</a:t>
            </a:r>
            <a:r>
              <a:rPr lang="en-US" sz="1400" dirty="0" smtClean="0"/>
              <a:t>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02542" y="1119761"/>
            <a:ext cx="39352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Has your institution adopted or begun to adopt </a:t>
            </a:r>
            <a:r>
              <a:rPr lang="en-US" sz="1600" b="1"/>
              <a:t>guided </a:t>
            </a:r>
            <a:r>
              <a:rPr lang="en-US" sz="1600" b="1" smtClean="0"/>
              <a:t>pathways?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40952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uided Pathways Adoption Is Associated with Advising Success</a:t>
            </a:r>
            <a:endParaRPr lang="en-US" dirty="0"/>
          </a:p>
        </p:txBody>
      </p:sp>
      <p:grpSp>
        <p:nvGrpSpPr>
          <p:cNvPr id="82" name="Group 81"/>
          <p:cNvGrpSpPr/>
          <p:nvPr>
            <p:custDataLst>
              <p:tags r:id="rId1"/>
            </p:custDataLst>
          </p:nvPr>
        </p:nvGrpSpPr>
        <p:grpSpPr>
          <a:xfrm>
            <a:off x="374280" y="2112558"/>
            <a:ext cx="8372534" cy="4289731"/>
            <a:chOff x="374280" y="2112558"/>
            <a:chExt cx="8372534" cy="4289731"/>
          </a:xfrm>
        </p:grpSpPr>
        <p:sp>
          <p:nvSpPr>
            <p:cNvPr id="4" name="Rectangle 3"/>
            <p:cNvSpPr/>
            <p:nvPr>
              <p:custDataLst>
                <p:tags r:id="rId2"/>
              </p:custDataLst>
            </p:nvPr>
          </p:nvSpPr>
          <p:spPr bwMode="gray">
            <a:xfrm>
              <a:off x="6455039" y="3192944"/>
              <a:ext cx="1599358" cy="1593056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3"/>
              </p:custDataLst>
            </p:nvPr>
          </p:nvSpPr>
          <p:spPr bwMode="gray">
            <a:xfrm>
              <a:off x="3896068" y="2838534"/>
              <a:ext cx="1599358" cy="1664654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4"/>
              </p:custDataLst>
            </p:nvPr>
          </p:nvSpPr>
          <p:spPr bwMode="gray">
            <a:xfrm>
              <a:off x="1337095" y="2820634"/>
              <a:ext cx="1599358" cy="1457020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3896068" y="4503188"/>
              <a:ext cx="1599358" cy="1281604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6"/>
              </p:custDataLst>
            </p:nvPr>
          </p:nvSpPr>
          <p:spPr bwMode="gray">
            <a:xfrm>
              <a:off x="6455039" y="4786000"/>
              <a:ext cx="1599358" cy="998792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7"/>
              </p:custDataLst>
            </p:nvPr>
          </p:nvSpPr>
          <p:spPr bwMode="gray">
            <a:xfrm>
              <a:off x="1337095" y="4277653"/>
              <a:ext cx="1599358" cy="1507138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8"/>
              </p:custDataLst>
            </p:nvPr>
          </p:nvSpPr>
          <p:spPr bwMode="gray">
            <a:xfrm>
              <a:off x="3896068" y="2204891"/>
              <a:ext cx="1599358" cy="633642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9"/>
              </p:custDataLst>
            </p:nvPr>
          </p:nvSpPr>
          <p:spPr bwMode="gray">
            <a:xfrm>
              <a:off x="1337095" y="2208472"/>
              <a:ext cx="1599358" cy="61216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10"/>
              </p:custDataLst>
            </p:nvPr>
          </p:nvSpPr>
          <p:spPr bwMode="gray">
            <a:xfrm>
              <a:off x="6455039" y="2204891"/>
              <a:ext cx="1599358" cy="98805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74" name="Straight Connector 73"/>
            <p:cNvCxnSpPr/>
            <p:nvPr>
              <p:custDataLst>
                <p:tags r:id="rId11"/>
              </p:custDataLst>
            </p:nvPr>
          </p:nvCxnSpPr>
          <p:spPr bwMode="gray">
            <a:xfrm flipV="1">
              <a:off x="857289" y="2204891"/>
              <a:ext cx="0" cy="357990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>
              <p:custDataLst>
                <p:tags r:id="rId12"/>
              </p:custDataLst>
            </p:nvPr>
          </p:nvCxnSpPr>
          <p:spPr bwMode="gray">
            <a:xfrm>
              <a:off x="857289" y="5784791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>
              <p:custDataLst>
                <p:tags r:id="rId13"/>
              </p:custDataLst>
            </p:nvPr>
          </p:nvCxnSpPr>
          <p:spPr bwMode="gray">
            <a:xfrm flipH="1">
              <a:off x="806489" y="506881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>
              <p:custDataLst>
                <p:tags r:id="rId14"/>
              </p:custDataLst>
            </p:nvPr>
          </p:nvCxnSpPr>
          <p:spPr bwMode="gray">
            <a:xfrm flipH="1">
              <a:off x="806489" y="435283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>
              <p:custDataLst>
                <p:tags r:id="rId15"/>
              </p:custDataLst>
            </p:nvPr>
          </p:nvCxnSpPr>
          <p:spPr bwMode="gray">
            <a:xfrm flipH="1">
              <a:off x="806489" y="363685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>
              <p:custDataLst>
                <p:tags r:id="rId16"/>
              </p:custDataLst>
            </p:nvPr>
          </p:nvCxnSpPr>
          <p:spPr bwMode="gray">
            <a:xfrm flipH="1">
              <a:off x="806489" y="57847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>
              <p:custDataLst>
                <p:tags r:id="rId17"/>
              </p:custDataLst>
            </p:nvPr>
          </p:nvCxnSpPr>
          <p:spPr bwMode="gray">
            <a:xfrm flipH="1">
              <a:off x="806489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>
              <p:custDataLst>
                <p:tags r:id="rId18"/>
              </p:custDataLst>
            </p:nvPr>
          </p:nvCxnSpPr>
          <p:spPr bwMode="gray">
            <a:xfrm flipH="1">
              <a:off x="806489" y="292087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459240" y="426049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459240" y="497647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2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374280" y="2112558"/>
              <a:ext cx="43476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10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44199" y="5692458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59240" y="282853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8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459240" y="354451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6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7" name="TextBox 26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6512354" y="5848291"/>
              <a:ext cx="1484727" cy="369332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b="1" dirty="0" smtClean="0">
                  <a:effectLst/>
                  <a:ea typeface="ＭＳ Ｐゴシック" charset="-128"/>
                </a:rPr>
                <a:t>No</a:t>
              </a:r>
              <a:r>
                <a:rPr lang="en-US" sz="1200" dirty="0" smtClean="0">
                  <a:effectLst/>
                  <a:ea typeface="ＭＳ Ｐゴシック" charset="-128"/>
                </a:rPr>
                <a:t> Guided Pathways</a:t>
              </a:r>
            </a:p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Adoption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8" name="TextBox 27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8096294" y="3897140"/>
              <a:ext cx="53735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smtClean="0">
                  <a:effectLst/>
                  <a:ea typeface="ＭＳ Ｐゴシック" charset="-128"/>
                </a:rPr>
                <a:t>Neutral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9" name="TextBox 28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8096294" y="2606585"/>
              <a:ext cx="65052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smtClean="0">
                  <a:effectLst/>
                  <a:ea typeface="ＭＳ Ｐゴシック" charset="-128"/>
                </a:rPr>
                <a:t>Disagree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0" name="TextBox 29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8096294" y="5193063"/>
              <a:ext cx="45239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smtClean="0">
                  <a:effectLst/>
                  <a:ea typeface="ＭＳ Ｐゴシック" charset="-128"/>
                </a:rPr>
                <a:t>Agree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1" name="TextBox 30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3918439" y="5848291"/>
              <a:ext cx="1554614" cy="55399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Guided Pathways</a:t>
              </a:r>
            </a:p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Adoption for </a:t>
              </a:r>
              <a:r>
                <a:rPr lang="en-US" sz="1200" b="1" dirty="0" smtClean="0">
                  <a:effectLst/>
                  <a:ea typeface="ＭＳ Ｐゴシック" charset="-128"/>
                </a:rPr>
                <a:t>Some</a:t>
              </a:r>
            </a:p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Departments/Colleg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32" name="TextBox 31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1359468" y="5848291"/>
              <a:ext cx="1554614" cy="55399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Guided Pathways</a:t>
              </a:r>
            </a:p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Adoption across </a:t>
              </a:r>
              <a:r>
                <a:rPr lang="en-US" sz="1200" b="1" dirty="0" smtClean="0">
                  <a:effectLst/>
                  <a:ea typeface="ＭＳ Ｐゴシック" charset="-128"/>
                </a:rPr>
                <a:t>All</a:t>
              </a:r>
            </a:p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Departments/Colleg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33" name="TextBox 32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1961874" y="345681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1%</a:t>
              </a:r>
              <a:endParaRPr lang="en-US" sz="1200" dirty="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34" name="TextBox 33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4520845" y="3578527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7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35" name="TextBox 34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7079817" y="389714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5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1961874" y="242222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7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37" name="TextBox 36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4520845" y="242937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8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38" name="TextBox 37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7079817" y="2606585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28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39" name="TextBox 38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961874" y="493889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2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40" name="TextBox 39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4520845" y="5051657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36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41" name="TextBox 40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7079817" y="5193063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28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857289" y="1322509"/>
            <a:ext cx="72417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Overall, my institution successfully achieves an ideal advising situation.</a:t>
            </a:r>
          </a:p>
        </p:txBody>
      </p:sp>
    </p:spTree>
    <p:extLst>
      <p:ext uri="{BB962C8B-B14F-4D97-AF65-F5344CB8AC3E}">
        <p14:creationId xmlns:p14="http://schemas.microsoft.com/office/powerpoint/2010/main" val="51695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 smtClean="0"/>
              <a:t>Survey </a:t>
            </a:r>
            <a:r>
              <a:rPr lang="en-US" dirty="0"/>
              <a:t>Respondents Demographic Summary</a:t>
            </a:r>
          </a:p>
        </p:txBody>
      </p:sp>
      <p:grpSp>
        <p:nvGrpSpPr>
          <p:cNvPr id="103" name="Group 102"/>
          <p:cNvGrpSpPr/>
          <p:nvPr>
            <p:custDataLst>
              <p:tags r:id="rId2"/>
            </p:custDataLst>
          </p:nvPr>
        </p:nvGrpSpPr>
        <p:grpSpPr>
          <a:xfrm>
            <a:off x="4763056" y="1887391"/>
            <a:ext cx="3613083" cy="3853630"/>
            <a:chOff x="4763056" y="1887391"/>
            <a:chExt cx="3613083" cy="3853630"/>
          </a:xfrm>
        </p:grpSpPr>
        <p:sp>
          <p:nvSpPr>
            <p:cNvPr id="7" name="Rectangle 6"/>
            <p:cNvSpPr/>
            <p:nvPr>
              <p:custDataLst>
                <p:tags r:id="rId23"/>
              </p:custDataLst>
            </p:nvPr>
          </p:nvSpPr>
          <p:spPr bwMode="gray">
            <a:xfrm>
              <a:off x="5101783" y="4681372"/>
              <a:ext cx="1129088" cy="399140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24"/>
              </p:custDataLst>
            </p:nvPr>
          </p:nvSpPr>
          <p:spPr bwMode="gray">
            <a:xfrm>
              <a:off x="6908324" y="2473039"/>
              <a:ext cx="1129088" cy="1348731"/>
            </a:xfrm>
            <a:prstGeom prst="rect">
              <a:avLst/>
            </a:prstGeom>
            <a:solidFill>
              <a:schemeClr val="bg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25"/>
              </p:custDataLst>
            </p:nvPr>
          </p:nvSpPr>
          <p:spPr bwMode="gray">
            <a:xfrm>
              <a:off x="5101783" y="2322817"/>
              <a:ext cx="1129088" cy="2358555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26"/>
              </p:custDataLst>
            </p:nvPr>
          </p:nvSpPr>
          <p:spPr bwMode="gray">
            <a:xfrm>
              <a:off x="5101783" y="5334510"/>
              <a:ext cx="1129088" cy="181427"/>
            </a:xfrm>
            <a:prstGeom prst="rect">
              <a:avLst/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27"/>
              </p:custDataLst>
            </p:nvPr>
          </p:nvSpPr>
          <p:spPr bwMode="gray">
            <a:xfrm>
              <a:off x="5101783" y="5080512"/>
              <a:ext cx="1129088" cy="253998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28"/>
              </p:custDataLst>
            </p:nvPr>
          </p:nvSpPr>
          <p:spPr bwMode="gray">
            <a:xfrm>
              <a:off x="6908324" y="3821770"/>
              <a:ext cx="1129088" cy="1694168"/>
            </a:xfrm>
            <a:prstGeom prst="rect">
              <a:avLst/>
            </a:prstGeom>
            <a:solidFill>
              <a:schemeClr val="accent6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29"/>
              </p:custDataLst>
            </p:nvPr>
          </p:nvSpPr>
          <p:spPr bwMode="gray">
            <a:xfrm>
              <a:off x="6908324" y="1887391"/>
              <a:ext cx="1129088" cy="585647"/>
            </a:xfrm>
            <a:prstGeom prst="rect">
              <a:avLst/>
            </a:prstGeom>
            <a:solidFill>
              <a:schemeClr val="tx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30"/>
              </p:custDataLst>
            </p:nvPr>
          </p:nvSpPr>
          <p:spPr bwMode="gray">
            <a:xfrm>
              <a:off x="5101783" y="1887391"/>
              <a:ext cx="1129088" cy="435426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cxnSp>
          <p:nvCxnSpPr>
            <p:cNvPr id="102" name="Straight Connector 101"/>
            <p:cNvCxnSpPr/>
            <p:nvPr>
              <p:custDataLst>
                <p:tags r:id="rId31"/>
              </p:custDataLst>
            </p:nvPr>
          </p:nvCxnSpPr>
          <p:spPr bwMode="gray">
            <a:xfrm>
              <a:off x="4763056" y="5515938"/>
              <a:ext cx="3613083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5155921" y="5579438"/>
              <a:ext cx="1020813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Institutional Size</a:t>
              </a:r>
            </a:p>
          </p:txBody>
        </p:sp>
        <p:sp>
          <p:nvSpPr>
            <p:cNvPr id="17" name="TextBox 16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6944027" y="5579438"/>
              <a:ext cx="1057683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Institutional Type</a:t>
              </a:r>
            </a:p>
          </p:txBody>
        </p:sp>
        <p:sp>
          <p:nvSpPr>
            <p:cNvPr id="18" name="TextBox 17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7026581" y="2985822"/>
              <a:ext cx="892573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4-Year Private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37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5286565" y="4719360"/>
              <a:ext cx="759524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5,000-9,999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1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0" name="TextBox 19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5286565" y="3340512"/>
              <a:ext cx="759524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,000-4,999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65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7052229" y="2018633"/>
              <a:ext cx="841277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-Year Public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6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5050122" y="5126720"/>
              <a:ext cx="1232410" cy="161583"/>
            </a:xfrm>
            <a:prstGeom prst="rect">
              <a:avLst/>
            </a:prstGeom>
            <a:solidFill>
              <a:schemeClr val="accent4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10,000-19,999 (7%)</a:t>
              </a:r>
            </a:p>
          </p:txBody>
        </p:sp>
        <p:sp>
          <p:nvSpPr>
            <p:cNvPr id="23" name="TextBox 22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5240078" y="5344433"/>
              <a:ext cx="852499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20,000+ (5%)</a:t>
              </a:r>
            </a:p>
          </p:txBody>
        </p:sp>
        <p:sp>
          <p:nvSpPr>
            <p:cNvPr id="24" name="TextBox 23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5275344" y="1943522"/>
              <a:ext cx="781967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Under 1,000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2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7251002" y="4507272"/>
              <a:ext cx="443733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2-Year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47%)</a:t>
              </a:r>
              <a:endParaRPr lang="en-US" sz="1050">
                <a:effectLst/>
                <a:ea typeface="ＭＳ Ｐゴシック" charset="-128"/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526142" y="1189634"/>
            <a:ext cx="80659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/>
              <a:t>Survey </a:t>
            </a:r>
            <a:r>
              <a:rPr lang="en-US" sz="1600" b="1" smtClean="0"/>
              <a:t>respondents </a:t>
            </a:r>
            <a:r>
              <a:rPr lang="en-US" sz="1600" b="1"/>
              <a:t>by i</a:t>
            </a:r>
            <a:r>
              <a:rPr lang="en-US" sz="1600" b="1" smtClean="0"/>
              <a:t>nstitutional </a:t>
            </a:r>
            <a:r>
              <a:rPr lang="en-US" sz="1600" b="1" dirty="0"/>
              <a:t>s</a:t>
            </a:r>
            <a:r>
              <a:rPr lang="en-US" sz="1600" b="1" smtClean="0"/>
              <a:t>ize and type</a:t>
            </a:r>
            <a:endParaRPr lang="en-US" sz="1600" b="1" dirty="0" smtClean="0"/>
          </a:p>
        </p:txBody>
      </p:sp>
      <p:sp>
        <p:nvSpPr>
          <p:cNvPr id="78" name="Content Placeholder 2"/>
          <p:cNvSpPr txBox="1">
            <a:spLocks/>
          </p:cNvSpPr>
          <p:nvPr/>
        </p:nvSpPr>
        <p:spPr bwMode="auto">
          <a:xfrm>
            <a:off x="403870" y="5841750"/>
            <a:ext cx="7080465" cy="83819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900" i="1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1pPr>
            <a:lvl2pPr marL="173037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34607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51752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690562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r>
              <a:rPr lang="en-US" dirty="0"/>
              <a:t>*</a:t>
            </a:r>
            <a:r>
              <a:rPr lang="en-US" dirty="0" smtClean="0"/>
              <a:t>Note: </a:t>
            </a:r>
            <a:r>
              <a:rPr lang="en-US" dirty="0"/>
              <a:t>In several instances we received multiple responses form the same institution so we used a key respondent methodology, whereby we only used the most senior respondent at an institution by role/titl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6125404" y="5754635"/>
            <a:ext cx="88838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/>
              <a:t>2017</a:t>
            </a:r>
          </a:p>
          <a:p>
            <a:pPr algn="ctr"/>
            <a:r>
              <a:rPr lang="en-US" sz="1200" dirty="0"/>
              <a:t>n</a:t>
            </a:r>
            <a:r>
              <a:rPr lang="en-US" sz="1200" dirty="0" smtClean="0"/>
              <a:t> = 1,313*</a:t>
            </a:r>
            <a:endParaRPr lang="en-US" sz="1200" dirty="0"/>
          </a:p>
        </p:txBody>
      </p:sp>
      <p:grpSp>
        <p:nvGrpSpPr>
          <p:cNvPr id="101" name="Group 100"/>
          <p:cNvGrpSpPr/>
          <p:nvPr>
            <p:custDataLst>
              <p:tags r:id="rId3"/>
            </p:custDataLst>
          </p:nvPr>
        </p:nvGrpSpPr>
        <p:grpSpPr>
          <a:xfrm>
            <a:off x="669747" y="1881528"/>
            <a:ext cx="3613082" cy="3853629"/>
            <a:chOff x="669747" y="1881528"/>
            <a:chExt cx="3613082" cy="3853629"/>
          </a:xfrm>
        </p:grpSpPr>
        <p:sp>
          <p:nvSpPr>
            <p:cNvPr id="79" name="Rectangle 78"/>
            <p:cNvSpPr/>
            <p:nvPr>
              <p:custDataLst>
                <p:tags r:id="rId4"/>
              </p:custDataLst>
            </p:nvPr>
          </p:nvSpPr>
          <p:spPr bwMode="gray">
            <a:xfrm>
              <a:off x="1008473" y="4276368"/>
              <a:ext cx="1129088" cy="580567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0" name="Rectangle 79"/>
            <p:cNvSpPr/>
            <p:nvPr>
              <p:custDataLst>
                <p:tags r:id="rId5"/>
              </p:custDataLst>
            </p:nvPr>
          </p:nvSpPr>
          <p:spPr bwMode="gray">
            <a:xfrm>
              <a:off x="2815015" y="2716093"/>
              <a:ext cx="1129088" cy="1415133"/>
            </a:xfrm>
            <a:prstGeom prst="rect">
              <a:avLst/>
            </a:prstGeom>
            <a:solidFill>
              <a:schemeClr val="bg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1" name="Rectangle 80"/>
            <p:cNvSpPr/>
            <p:nvPr>
              <p:custDataLst>
                <p:tags r:id="rId6"/>
              </p:custDataLst>
            </p:nvPr>
          </p:nvSpPr>
          <p:spPr bwMode="gray">
            <a:xfrm>
              <a:off x="1008473" y="2353239"/>
              <a:ext cx="1129088" cy="1923129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2" name="Rectangle 81"/>
            <p:cNvSpPr/>
            <p:nvPr>
              <p:custDataLst>
                <p:tags r:id="rId7"/>
              </p:custDataLst>
            </p:nvPr>
          </p:nvSpPr>
          <p:spPr bwMode="gray">
            <a:xfrm>
              <a:off x="1008473" y="5256075"/>
              <a:ext cx="1129088" cy="253998"/>
            </a:xfrm>
            <a:prstGeom prst="rect">
              <a:avLst/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3" name="Rectangle 82"/>
            <p:cNvSpPr/>
            <p:nvPr>
              <p:custDataLst>
                <p:tags r:id="rId8"/>
              </p:custDataLst>
            </p:nvPr>
          </p:nvSpPr>
          <p:spPr bwMode="gray">
            <a:xfrm>
              <a:off x="1008473" y="4856936"/>
              <a:ext cx="1129088" cy="399140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4" name="Rectangle 83"/>
            <p:cNvSpPr/>
            <p:nvPr>
              <p:custDataLst>
                <p:tags r:id="rId9"/>
              </p:custDataLst>
            </p:nvPr>
          </p:nvSpPr>
          <p:spPr bwMode="gray">
            <a:xfrm>
              <a:off x="2815015" y="4131226"/>
              <a:ext cx="1129088" cy="1378848"/>
            </a:xfrm>
            <a:prstGeom prst="rect">
              <a:avLst/>
            </a:prstGeom>
            <a:solidFill>
              <a:schemeClr val="accent6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5" name="Rectangle 84"/>
            <p:cNvSpPr/>
            <p:nvPr>
              <p:custDataLst>
                <p:tags r:id="rId10"/>
              </p:custDataLst>
            </p:nvPr>
          </p:nvSpPr>
          <p:spPr bwMode="gray">
            <a:xfrm>
              <a:off x="2815015" y="1881528"/>
              <a:ext cx="1129088" cy="834566"/>
            </a:xfrm>
            <a:prstGeom prst="rect">
              <a:avLst/>
            </a:prstGeom>
            <a:solidFill>
              <a:schemeClr val="tx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86" name="Rectangle 85"/>
            <p:cNvSpPr/>
            <p:nvPr>
              <p:custDataLst>
                <p:tags r:id="rId11"/>
              </p:custDataLst>
            </p:nvPr>
          </p:nvSpPr>
          <p:spPr bwMode="gray">
            <a:xfrm>
              <a:off x="1008473" y="1881528"/>
              <a:ext cx="1129088" cy="471711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cxnSp>
          <p:nvCxnSpPr>
            <p:cNvPr id="100" name="Straight Connector 99"/>
            <p:cNvCxnSpPr/>
            <p:nvPr>
              <p:custDataLst>
                <p:tags r:id="rId12"/>
              </p:custDataLst>
            </p:nvPr>
          </p:nvCxnSpPr>
          <p:spPr bwMode="gray">
            <a:xfrm>
              <a:off x="669747" y="5510074"/>
              <a:ext cx="3613082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1062610" y="5573574"/>
              <a:ext cx="1020813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Institutional Size</a:t>
              </a:r>
            </a:p>
          </p:txBody>
        </p:sp>
        <p:sp>
          <p:nvSpPr>
            <p:cNvPr id="89" name="TextBox 88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2850716" y="5573574"/>
              <a:ext cx="1057683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Institutional Type</a:t>
              </a:r>
            </a:p>
          </p:txBody>
        </p:sp>
        <p:sp>
          <p:nvSpPr>
            <p:cNvPr id="90" name="TextBox 89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2933271" y="3262077"/>
              <a:ext cx="892573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4-Year Private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39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1193255" y="4405069"/>
              <a:ext cx="759524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5,000-9,999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6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92" name="TextBox 91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193255" y="3153220"/>
              <a:ext cx="759524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,000-4,999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53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93" name="TextBox 92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2958919" y="2137228"/>
              <a:ext cx="841277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-Year Public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23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94" name="TextBox 93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117913" y="4894924"/>
              <a:ext cx="910207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0,000-19,999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1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146767" y="5302284"/>
              <a:ext cx="852499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20,000+ (7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96" name="TextBox 95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182033" y="1955801"/>
              <a:ext cx="781967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Under 1,000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3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3157691" y="4659067"/>
              <a:ext cx="443733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2-Year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38%)</a:t>
              </a:r>
              <a:endParaRPr lang="en-US" sz="1050">
                <a:effectLst/>
                <a:ea typeface="ＭＳ Ｐゴシック" charset="-128"/>
              </a:endParaRP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2025792" y="5754635"/>
            <a:ext cx="88838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/>
              <a:t>2015</a:t>
            </a:r>
          </a:p>
          <a:p>
            <a:pPr algn="ctr"/>
            <a:r>
              <a:rPr lang="en-US" sz="1200" dirty="0"/>
              <a:t>n</a:t>
            </a:r>
            <a:r>
              <a:rPr lang="en-US" sz="1200" dirty="0" smtClean="0"/>
              <a:t> = 1,096*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459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Progress Is Being Made, But Much Work Remains to Move Outcomes across the Field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47750" y="1484643"/>
            <a:ext cx="5063420" cy="4788505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8C4E0D57-C956-4820-9CE1-35650D85D4D2}"/>
              </a:ext>
            </a:extLst>
          </p:cNvPr>
          <p:cNvSpPr txBox="1">
            <a:spLocks/>
          </p:cNvSpPr>
          <p:nvPr/>
        </p:nvSpPr>
        <p:spPr bwMode="auto">
          <a:xfrm>
            <a:off x="-106170" y="3125581"/>
            <a:ext cx="2214880" cy="104494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2400" i="0" kern="1200" baseline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defRPr>
            </a:lvl1pPr>
            <a:lvl2pPr marL="173037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34607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51752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690562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40% of Institutions Report that a Lack of Student Engagement Impedes Advising Improvemen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05E0023-39FD-4696-9C37-6DE3F176F223}"/>
              </a:ext>
            </a:extLst>
          </p:cNvPr>
          <p:cNvSpPr txBox="1">
            <a:spLocks/>
          </p:cNvSpPr>
          <p:nvPr/>
        </p:nvSpPr>
        <p:spPr bwMode="auto">
          <a:xfrm>
            <a:off x="365761" y="5013607"/>
            <a:ext cx="2214880" cy="104494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spcBef>
                <a:spcPct val="20000"/>
              </a:spcBef>
              <a:spcAft>
                <a:spcPct val="0"/>
              </a:spcAft>
              <a:buFontTx/>
              <a:buNone/>
              <a:defRPr sz="2400" b="1" i="0" baseline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defRPr>
            </a:lvl1pPr>
            <a:lvl2pPr marL="173037" indent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>
                <a:latin typeface="Arial"/>
                <a:ea typeface="ＭＳ Ｐゴシック" charset="0"/>
                <a:cs typeface="Arial"/>
              </a:defRPr>
            </a:lvl2pPr>
            <a:lvl3pPr marL="346075" indent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>
                <a:latin typeface="Arial"/>
                <a:ea typeface="ＭＳ Ｐゴシック" charset="0"/>
                <a:cs typeface="Arial"/>
              </a:defRPr>
            </a:lvl3pPr>
            <a:lvl4pPr marL="517525" indent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>
                <a:latin typeface="Arial"/>
                <a:ea typeface="ＭＳ Ｐゴシック" charset="0"/>
                <a:cs typeface="Arial"/>
              </a:defRPr>
            </a:lvl4pPr>
            <a:lvl5pPr marL="690562" indent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>
                <a:latin typeface="Arial"/>
                <a:ea typeface="ＭＳ Ｐゴシック" charset="0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400" dirty="0"/>
              <a:t>A Majority of Respondents Report that Technology Enhances Academic Advising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AB72240-EB58-4913-9F7A-D02B204C5135}"/>
              </a:ext>
            </a:extLst>
          </p:cNvPr>
          <p:cNvSpPr txBox="1">
            <a:spLocks/>
          </p:cNvSpPr>
          <p:nvPr/>
        </p:nvSpPr>
        <p:spPr bwMode="auto">
          <a:xfrm>
            <a:off x="5354321" y="1161314"/>
            <a:ext cx="2214880" cy="104494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2400" i="0" kern="1200" baseline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defRPr>
            </a:lvl1pPr>
            <a:lvl2pPr marL="173037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34607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51752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690562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60% of Institutions Report Clear Ownership over Academic Advising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5841624-D7A2-46D0-AB85-7B954D1360DB}"/>
              </a:ext>
            </a:extLst>
          </p:cNvPr>
          <p:cNvSpPr txBox="1">
            <a:spLocks/>
          </p:cNvSpPr>
          <p:nvPr/>
        </p:nvSpPr>
        <p:spPr bwMode="auto">
          <a:xfrm>
            <a:off x="6862759" y="3125582"/>
            <a:ext cx="2214880" cy="104494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2400" i="0" kern="1200" baseline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defRPr>
            </a:lvl1pPr>
            <a:lvl2pPr marL="173037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34607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51752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690562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37% of Institutions Report that They Have Too Few Academic Advisor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4012882-70FC-46BA-8AC4-E8360CDB637E}"/>
              </a:ext>
            </a:extLst>
          </p:cNvPr>
          <p:cNvSpPr txBox="1">
            <a:spLocks/>
          </p:cNvSpPr>
          <p:nvPr/>
        </p:nvSpPr>
        <p:spPr bwMode="auto">
          <a:xfrm>
            <a:off x="6349586" y="5013607"/>
            <a:ext cx="2214880" cy="104494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2400" i="0" kern="1200" baseline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</a:defRPr>
            </a:lvl1pPr>
            <a:lvl2pPr marL="173037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34607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517525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690562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33% of Institutions Report that a Lack of Coordination across Departments Impedes Advising Improvement</a:t>
            </a:r>
          </a:p>
        </p:txBody>
      </p:sp>
    </p:spTree>
    <p:extLst>
      <p:ext uri="{BB962C8B-B14F-4D97-AF65-F5344CB8AC3E}">
        <p14:creationId xmlns:p14="http://schemas.microsoft.com/office/powerpoint/2010/main" val="2140169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1" grpId="0"/>
      <p:bldP spid="1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Tyton</a:t>
            </a:r>
            <a:r>
              <a:rPr lang="en-US" dirty="0"/>
              <a:t> Partners Identified Four Institutional Segments that Differ in Attitudes toward Advising and Level of Succes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16" t="16037" r="9037" b="9696"/>
          <a:stretch/>
        </p:blipFill>
        <p:spPr>
          <a:xfrm>
            <a:off x="2278593" y="1180566"/>
            <a:ext cx="4586814" cy="538619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72364" y="1488333"/>
            <a:ext cx="1069343" cy="461665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  <a:effectLst/>
        </p:spPr>
        <p:txBody>
          <a:bodyPr wrap="square" rtlCol="0">
            <a:spAutoFit/>
          </a:bodyPr>
          <a:lstStyle/>
          <a:p>
            <a:r>
              <a:rPr lang="en-US" sz="1200" smtClean="0"/>
              <a:t>35% of respondents</a:t>
            </a:r>
            <a:endParaRPr lang="en-US" sz="1200"/>
          </a:p>
        </p:txBody>
      </p:sp>
      <p:sp>
        <p:nvSpPr>
          <p:cNvPr id="6" name="TextBox 5"/>
          <p:cNvSpPr txBox="1"/>
          <p:nvPr/>
        </p:nvSpPr>
        <p:spPr>
          <a:xfrm>
            <a:off x="5932952" y="2321670"/>
            <a:ext cx="1069341" cy="461665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  <a:effectLst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20% of respondents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1805181" y="2451671"/>
            <a:ext cx="1054751" cy="461665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  <a:effectLst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24% of respondents</a:t>
            </a:r>
            <a:endParaRPr 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5796064" y="4734428"/>
            <a:ext cx="1069343" cy="461665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  <a:effectLst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21% of respondent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3481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egments Vary in Perceptions and Attitudes around Advising</a:t>
            </a:r>
            <a:endParaRPr lang="en-US" dirty="0"/>
          </a:p>
        </p:txBody>
      </p:sp>
      <p:grpSp>
        <p:nvGrpSpPr>
          <p:cNvPr id="84" name="Group 83"/>
          <p:cNvGrpSpPr/>
          <p:nvPr/>
        </p:nvGrpSpPr>
        <p:grpSpPr>
          <a:xfrm>
            <a:off x="133649" y="1507583"/>
            <a:ext cx="9059483" cy="1114615"/>
            <a:chOff x="89513" y="1693949"/>
            <a:chExt cx="9059483" cy="1114615"/>
          </a:xfrm>
        </p:grpSpPr>
        <p:cxnSp>
          <p:nvCxnSpPr>
            <p:cNvPr id="56" name="Straight Arrow Connector 55"/>
            <p:cNvCxnSpPr/>
            <p:nvPr/>
          </p:nvCxnSpPr>
          <p:spPr>
            <a:xfrm>
              <a:off x="771403" y="2160847"/>
              <a:ext cx="7641771" cy="0"/>
            </a:xfrm>
            <a:prstGeom prst="straightConnector1">
              <a:avLst/>
            </a:prstGeom>
            <a:ln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49"/>
            <p:cNvSpPr/>
            <p:nvPr/>
          </p:nvSpPr>
          <p:spPr>
            <a:xfrm rot="2700000">
              <a:off x="3859201" y="2059459"/>
              <a:ext cx="204460" cy="204460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853418" y="1693949"/>
              <a:ext cx="55339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Perception of success</a:t>
              </a:r>
            </a:p>
          </p:txBody>
        </p:sp>
        <p:sp>
          <p:nvSpPr>
            <p:cNvPr id="53" name="Rectangle 52"/>
            <p:cNvSpPr/>
            <p:nvPr/>
          </p:nvSpPr>
          <p:spPr>
            <a:xfrm rot="2700000">
              <a:off x="6349159" y="2063207"/>
              <a:ext cx="221685" cy="221685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 rot="2700000">
              <a:off x="3336715" y="2058250"/>
              <a:ext cx="204141" cy="204141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 rot="2700000">
              <a:off x="5937301" y="2057598"/>
              <a:ext cx="221649" cy="221649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345976" y="2393066"/>
              <a:ext cx="280302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 smtClean="0"/>
                <a:t>My institution successfully achieves an </a:t>
              </a:r>
              <a:r>
                <a:rPr lang="en-US" sz="1050" b="1" dirty="0" smtClean="0"/>
                <a:t>ideal</a:t>
              </a:r>
              <a:r>
                <a:rPr lang="en-US" sz="1050" dirty="0" smtClean="0"/>
                <a:t> advising situation.</a:t>
              </a:r>
              <a:endParaRPr lang="en-US" sz="1050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89513" y="2393066"/>
              <a:ext cx="280302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My institution does </a:t>
              </a:r>
              <a:r>
                <a:rPr lang="en-US" sz="1050" b="1" dirty="0" smtClean="0"/>
                <a:t>not</a:t>
              </a:r>
              <a:r>
                <a:rPr lang="en-US" sz="1050" dirty="0" smtClean="0"/>
                <a:t> achieve an ideal advising situation.</a:t>
              </a:r>
              <a:endParaRPr lang="en-US" sz="1050" dirty="0"/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1659421" y="6368303"/>
            <a:ext cx="1745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mtClean="0"/>
              <a:t>Limited Technology Users</a:t>
            </a:r>
            <a:endParaRPr lang="en-US" sz="1050"/>
          </a:p>
        </p:txBody>
      </p:sp>
      <p:sp>
        <p:nvSpPr>
          <p:cNvPr id="60" name="TextBox 59"/>
          <p:cNvSpPr txBox="1"/>
          <p:nvPr/>
        </p:nvSpPr>
        <p:spPr>
          <a:xfrm>
            <a:off x="5305480" y="6366457"/>
            <a:ext cx="76335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err="1" smtClean="0"/>
              <a:t>Refuelers</a:t>
            </a:r>
            <a:endParaRPr lang="en-US" sz="1050" dirty="0"/>
          </a:p>
        </p:txBody>
      </p:sp>
      <p:sp>
        <p:nvSpPr>
          <p:cNvPr id="62" name="TextBox 61"/>
          <p:cNvSpPr txBox="1"/>
          <p:nvPr/>
        </p:nvSpPr>
        <p:spPr>
          <a:xfrm>
            <a:off x="3810001" y="6359880"/>
            <a:ext cx="10935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/>
              <a:t>Check Engines</a:t>
            </a:r>
            <a:endParaRPr lang="en-US" sz="1050" dirty="0"/>
          </a:p>
        </p:txBody>
      </p:sp>
      <p:sp>
        <p:nvSpPr>
          <p:cNvPr id="63" name="TextBox 62"/>
          <p:cNvSpPr txBox="1"/>
          <p:nvPr/>
        </p:nvSpPr>
        <p:spPr>
          <a:xfrm>
            <a:off x="6382314" y="6368303"/>
            <a:ext cx="143981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/>
              <a:t>Equipped Navigators</a:t>
            </a:r>
            <a:endParaRPr lang="en-US" sz="1050" dirty="0"/>
          </a:p>
        </p:txBody>
      </p:sp>
      <p:sp>
        <p:nvSpPr>
          <p:cNvPr id="64" name="Rectangle 63"/>
          <p:cNvSpPr/>
          <p:nvPr/>
        </p:nvSpPr>
        <p:spPr>
          <a:xfrm rot="2700000">
            <a:off x="1465414" y="6418545"/>
            <a:ext cx="172006" cy="172006"/>
          </a:xfrm>
          <a:prstGeom prst="rect">
            <a:avLst/>
          </a:prstGeom>
          <a:solidFill>
            <a:srgbClr val="A13F1F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 rot="2700000">
            <a:off x="5102436" y="6427068"/>
            <a:ext cx="163416" cy="163416"/>
          </a:xfrm>
          <a:prstGeom prst="rect">
            <a:avLst/>
          </a:prstGeom>
          <a:solidFill>
            <a:srgbClr val="39A4C4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 rot="2700000">
            <a:off x="3628454" y="6416876"/>
            <a:ext cx="166411" cy="166411"/>
          </a:xfrm>
          <a:prstGeom prst="rect">
            <a:avLst/>
          </a:prstGeom>
          <a:solidFill>
            <a:srgbClr val="DBAC00"/>
          </a:soli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 rot="2700000">
            <a:off x="6206975" y="6427360"/>
            <a:ext cx="164703" cy="164703"/>
          </a:xfrm>
          <a:prstGeom prst="rect">
            <a:avLst/>
          </a:prstGeom>
          <a:solidFill>
            <a:srgbClr val="659129"/>
          </a:solidFill>
          <a:ln>
            <a:solidFill>
              <a:srgbClr val="177736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0" name="Group 79"/>
          <p:cNvGrpSpPr/>
          <p:nvPr/>
        </p:nvGrpSpPr>
        <p:grpSpPr>
          <a:xfrm>
            <a:off x="58879" y="2368711"/>
            <a:ext cx="9085121" cy="1085768"/>
            <a:chOff x="21145" y="3233479"/>
            <a:chExt cx="9085121" cy="1085768"/>
          </a:xfrm>
        </p:grpSpPr>
        <p:sp>
          <p:nvSpPr>
            <p:cNvPr id="27" name="TextBox 26"/>
            <p:cNvSpPr txBox="1"/>
            <p:nvPr/>
          </p:nvSpPr>
          <p:spPr>
            <a:xfrm>
              <a:off x="1795840" y="3233479"/>
              <a:ext cx="55339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Clarity of ownership</a:t>
              </a:r>
            </a:p>
          </p:txBody>
        </p:sp>
        <p:sp>
          <p:nvSpPr>
            <p:cNvPr id="29" name="Rectangle 28"/>
            <p:cNvSpPr/>
            <p:nvPr/>
          </p:nvSpPr>
          <p:spPr>
            <a:xfrm rot="2700000">
              <a:off x="4865570" y="3689633"/>
              <a:ext cx="90076" cy="90076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 rot="2700000">
              <a:off x="7141483" y="3690753"/>
              <a:ext cx="90076" cy="90076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 rot="2700000">
              <a:off x="4063810" y="3682371"/>
              <a:ext cx="90076" cy="90076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 rot="2700000">
              <a:off x="6946225" y="3687861"/>
              <a:ext cx="90076" cy="90076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8" name="Straight Arrow Connector 37"/>
            <p:cNvCxnSpPr/>
            <p:nvPr/>
          </p:nvCxnSpPr>
          <p:spPr>
            <a:xfrm>
              <a:off x="764946" y="3727409"/>
              <a:ext cx="7641771" cy="0"/>
            </a:xfrm>
            <a:prstGeom prst="straightConnector1">
              <a:avLst/>
            </a:prstGeom>
            <a:ln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>
            <a:xfrm rot="2700000">
              <a:off x="4008680" y="3626580"/>
              <a:ext cx="204141" cy="204141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/>
            <p:cNvSpPr/>
            <p:nvPr/>
          </p:nvSpPr>
          <p:spPr>
            <a:xfrm rot="2700000">
              <a:off x="4833064" y="3620545"/>
              <a:ext cx="204460" cy="204460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tangle 72"/>
            <p:cNvSpPr/>
            <p:nvPr/>
          </p:nvSpPr>
          <p:spPr>
            <a:xfrm rot="2700000">
              <a:off x="6892835" y="3610269"/>
              <a:ext cx="221649" cy="221649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/>
            <p:cNvSpPr/>
            <p:nvPr/>
          </p:nvSpPr>
          <p:spPr>
            <a:xfrm rot="2700000">
              <a:off x="7071663" y="3606320"/>
              <a:ext cx="221685" cy="221685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6463991" y="3903749"/>
              <a:ext cx="2642275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 smtClean="0"/>
                <a:t>Clear ownership of academic advising </a:t>
              </a:r>
              <a:r>
                <a:rPr lang="en-US" sz="1050" b="1" dirty="0" smtClean="0"/>
                <a:t>exists</a:t>
              </a:r>
              <a:r>
                <a:rPr lang="en-US" sz="1050" dirty="0" smtClean="0"/>
                <a:t> at my institution.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21145" y="3903749"/>
              <a:ext cx="211752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Ownership of academic advising is </a:t>
              </a:r>
              <a:r>
                <a:rPr lang="en-US" sz="1050" b="1" dirty="0" smtClean="0"/>
                <a:t>unclear</a:t>
              </a:r>
              <a:r>
                <a:rPr lang="en-US" sz="1050" dirty="0" smtClean="0"/>
                <a:t>.</a:t>
              </a: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79517" y="3297810"/>
            <a:ext cx="9093667" cy="1105987"/>
            <a:chOff x="12599" y="4780542"/>
            <a:chExt cx="9093667" cy="1105987"/>
          </a:xfrm>
        </p:grpSpPr>
        <p:sp>
          <p:nvSpPr>
            <p:cNvPr id="28" name="TextBox 27"/>
            <p:cNvSpPr txBox="1"/>
            <p:nvPr/>
          </p:nvSpPr>
          <p:spPr>
            <a:xfrm>
              <a:off x="6225060" y="5471031"/>
              <a:ext cx="288120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 smtClean="0"/>
                <a:t>Cross-departmental collaboration </a:t>
              </a:r>
              <a:r>
                <a:rPr lang="en-US" sz="1050" b="1" dirty="0" smtClean="0"/>
                <a:t>exists</a:t>
              </a:r>
              <a:r>
                <a:rPr lang="en-US" sz="1050" dirty="0" smtClean="0"/>
                <a:t> to support academic advising.</a:t>
              </a:r>
            </a:p>
          </p:txBody>
        </p:sp>
        <p:sp>
          <p:nvSpPr>
            <p:cNvPr id="30" name="Rectangle 29"/>
            <p:cNvSpPr/>
            <p:nvPr/>
          </p:nvSpPr>
          <p:spPr>
            <a:xfrm rot="2700000">
              <a:off x="4376601" y="5206365"/>
              <a:ext cx="90076" cy="90076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 rot="2700000">
              <a:off x="6701057" y="5208081"/>
              <a:ext cx="90076" cy="90076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 rot="2700000">
              <a:off x="3933780" y="5214160"/>
              <a:ext cx="90076" cy="90076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 rot="2700000">
              <a:off x="6329503" y="5208674"/>
              <a:ext cx="90076" cy="90076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7" name="Straight Arrow Connector 36"/>
            <p:cNvCxnSpPr/>
            <p:nvPr/>
          </p:nvCxnSpPr>
          <p:spPr>
            <a:xfrm>
              <a:off x="723032" y="5251403"/>
              <a:ext cx="7641771" cy="0"/>
            </a:xfrm>
            <a:prstGeom prst="straightConnector1">
              <a:avLst/>
            </a:prstGeom>
            <a:ln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tangle 67"/>
            <p:cNvSpPr/>
            <p:nvPr/>
          </p:nvSpPr>
          <p:spPr>
            <a:xfrm rot="2700000">
              <a:off x="3874845" y="5160579"/>
              <a:ext cx="204141" cy="204141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tangle 69"/>
            <p:cNvSpPr/>
            <p:nvPr/>
          </p:nvSpPr>
          <p:spPr>
            <a:xfrm rot="2700000">
              <a:off x="4329023" y="5149173"/>
              <a:ext cx="204460" cy="204460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tangle 71"/>
            <p:cNvSpPr/>
            <p:nvPr/>
          </p:nvSpPr>
          <p:spPr>
            <a:xfrm rot="2700000">
              <a:off x="6273743" y="5155185"/>
              <a:ext cx="221649" cy="221649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 73"/>
            <p:cNvSpPr/>
            <p:nvPr/>
          </p:nvSpPr>
          <p:spPr>
            <a:xfrm rot="2700000">
              <a:off x="6642329" y="5155166"/>
              <a:ext cx="221685" cy="221685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1808731" y="4780542"/>
              <a:ext cx="55339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Cross-departmental coordination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2599" y="5471031"/>
              <a:ext cx="224348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There is </a:t>
              </a:r>
              <a:r>
                <a:rPr lang="en-US" sz="1050" b="1" dirty="0" smtClean="0"/>
                <a:t>little coordination </a:t>
              </a:r>
              <a:r>
                <a:rPr lang="en-US" sz="1050" dirty="0" smtClean="0"/>
                <a:t>in support of academic advising.</a:t>
              </a:r>
            </a:p>
          </p:txBody>
        </p:sp>
      </p:grpSp>
      <p:pic>
        <p:nvPicPr>
          <p:cNvPr id="85" name="Picture 8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728" y="1146560"/>
            <a:ext cx="567107" cy="953189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06" y="1168575"/>
            <a:ext cx="557003" cy="937014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61243" y="4272990"/>
            <a:ext cx="9102213" cy="1088895"/>
            <a:chOff x="41787" y="3378044"/>
            <a:chExt cx="9102213" cy="1088895"/>
          </a:xfrm>
        </p:grpSpPr>
        <p:cxnSp>
          <p:nvCxnSpPr>
            <p:cNvPr id="88" name="Straight Arrow Connector 87"/>
            <p:cNvCxnSpPr/>
            <p:nvPr/>
          </p:nvCxnSpPr>
          <p:spPr>
            <a:xfrm>
              <a:off x="760766" y="3831813"/>
              <a:ext cx="7641771" cy="0"/>
            </a:xfrm>
            <a:prstGeom prst="straightConnector1">
              <a:avLst/>
            </a:prstGeom>
            <a:ln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/>
            <p:cNvSpPr txBox="1"/>
            <p:nvPr/>
          </p:nvSpPr>
          <p:spPr>
            <a:xfrm>
              <a:off x="6262794" y="4051441"/>
              <a:ext cx="2881206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 smtClean="0"/>
                <a:t>Technology </a:t>
              </a:r>
              <a:r>
                <a:rPr lang="en-US" sz="1050" b="1" dirty="0" smtClean="0"/>
                <a:t>enhances</a:t>
              </a:r>
              <a:r>
                <a:rPr lang="en-US" sz="1050" dirty="0" smtClean="0"/>
                <a:t> academic advising.</a:t>
              </a:r>
            </a:p>
          </p:txBody>
        </p:sp>
        <p:sp>
          <p:nvSpPr>
            <p:cNvPr id="61" name="Rectangle 60"/>
            <p:cNvSpPr/>
            <p:nvPr/>
          </p:nvSpPr>
          <p:spPr>
            <a:xfrm rot="2700000">
              <a:off x="4414335" y="3786775"/>
              <a:ext cx="90076" cy="90076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/>
            <p:cNvSpPr/>
            <p:nvPr/>
          </p:nvSpPr>
          <p:spPr>
            <a:xfrm rot="2700000">
              <a:off x="5211542" y="3723897"/>
              <a:ext cx="204141" cy="204141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 89"/>
            <p:cNvSpPr/>
            <p:nvPr/>
          </p:nvSpPr>
          <p:spPr>
            <a:xfrm rot="2700000">
              <a:off x="4358210" y="3729584"/>
              <a:ext cx="204460" cy="204460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tangle 90"/>
            <p:cNvSpPr/>
            <p:nvPr/>
          </p:nvSpPr>
          <p:spPr>
            <a:xfrm rot="2700000">
              <a:off x="6089286" y="3718501"/>
              <a:ext cx="221649" cy="221649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/>
            <p:cNvSpPr/>
            <p:nvPr/>
          </p:nvSpPr>
          <p:spPr>
            <a:xfrm rot="2700000">
              <a:off x="6987712" y="3718485"/>
              <a:ext cx="221685" cy="221685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1846465" y="3378044"/>
              <a:ext cx="55339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Value of technology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41787" y="4051441"/>
              <a:ext cx="224348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Technology does </a:t>
              </a:r>
              <a:r>
                <a:rPr lang="en-US" sz="1050" b="1" dirty="0" smtClean="0"/>
                <a:t>not</a:t>
              </a:r>
              <a:r>
                <a:rPr lang="en-US" sz="1050" dirty="0" smtClean="0"/>
                <a:t> enhance academic advising.</a:t>
              </a: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79947" y="5214442"/>
            <a:ext cx="9050937" cy="1114615"/>
            <a:chOff x="89513" y="1693949"/>
            <a:chExt cx="9050937" cy="1114615"/>
          </a:xfrm>
        </p:grpSpPr>
        <p:cxnSp>
          <p:nvCxnSpPr>
            <p:cNvPr id="97" name="Straight Arrow Connector 96"/>
            <p:cNvCxnSpPr/>
            <p:nvPr/>
          </p:nvCxnSpPr>
          <p:spPr>
            <a:xfrm>
              <a:off x="771403" y="2160847"/>
              <a:ext cx="7641771" cy="0"/>
            </a:xfrm>
            <a:prstGeom prst="straightConnector1">
              <a:avLst/>
            </a:prstGeom>
            <a:ln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Rectangle 97"/>
            <p:cNvSpPr/>
            <p:nvPr/>
          </p:nvSpPr>
          <p:spPr>
            <a:xfrm rot="2700000">
              <a:off x="4533159" y="2067585"/>
              <a:ext cx="204460" cy="204460"/>
            </a:xfrm>
            <a:prstGeom prst="rect">
              <a:avLst/>
            </a:prstGeom>
            <a:solidFill>
              <a:srgbClr val="A13F1F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853418" y="1693949"/>
              <a:ext cx="55339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Preferred spending area</a:t>
              </a:r>
            </a:p>
          </p:txBody>
        </p:sp>
        <p:sp>
          <p:nvSpPr>
            <p:cNvPr id="100" name="Rectangle 99"/>
            <p:cNvSpPr/>
            <p:nvPr/>
          </p:nvSpPr>
          <p:spPr>
            <a:xfrm rot="2700000">
              <a:off x="6648042" y="2045469"/>
              <a:ext cx="221685" cy="221685"/>
            </a:xfrm>
            <a:prstGeom prst="rect">
              <a:avLst/>
            </a:prstGeom>
            <a:solidFill>
              <a:srgbClr val="659129"/>
            </a:solidFill>
            <a:ln>
              <a:solidFill>
                <a:srgbClr val="177736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00"/>
            <p:cNvSpPr/>
            <p:nvPr/>
          </p:nvSpPr>
          <p:spPr>
            <a:xfrm rot="2700000">
              <a:off x="4614823" y="2066646"/>
              <a:ext cx="204141" cy="204141"/>
            </a:xfrm>
            <a:prstGeom prst="rect">
              <a:avLst/>
            </a:prstGeom>
            <a:solidFill>
              <a:srgbClr val="DBAC00"/>
            </a:solidFill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101"/>
            <p:cNvSpPr/>
            <p:nvPr/>
          </p:nvSpPr>
          <p:spPr>
            <a:xfrm rot="2700000">
              <a:off x="2781709" y="2055137"/>
              <a:ext cx="221649" cy="221649"/>
            </a:xfrm>
            <a:prstGeom prst="rect">
              <a:avLst/>
            </a:prstGeom>
            <a:solidFill>
              <a:srgbClr val="39A4C4"/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6337430" y="2393066"/>
              <a:ext cx="280302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 smtClean="0"/>
                <a:t>Investing in </a:t>
              </a:r>
              <a:r>
                <a:rPr lang="en-US" sz="1050" b="1" dirty="0" smtClean="0"/>
                <a:t>technology</a:t>
              </a:r>
              <a:r>
                <a:rPr lang="en-US" sz="1050" dirty="0" smtClean="0"/>
                <a:t> has the greatest potential to improve academic advising.</a:t>
              </a:r>
              <a:endParaRPr lang="en-US" sz="1050" dirty="0"/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89513" y="2393066"/>
              <a:ext cx="280302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Investing in </a:t>
              </a:r>
              <a:r>
                <a:rPr lang="en-US" sz="1050" b="1" dirty="0" smtClean="0"/>
                <a:t>people</a:t>
              </a:r>
              <a:r>
                <a:rPr lang="en-US" sz="1050" dirty="0" smtClean="0"/>
                <a:t> has the greatest potential to improve academic advising.</a:t>
              </a:r>
              <a:endParaRPr lang="en-US" sz="1050" dirty="0"/>
            </a:p>
          </p:txBody>
        </p:sp>
      </p:grpSp>
    </p:spTree>
    <p:extLst>
      <p:ext uri="{BB962C8B-B14F-4D97-AF65-F5344CB8AC3E}">
        <p14:creationId xmlns:p14="http://schemas.microsoft.com/office/powerpoint/2010/main" val="1467868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cessful Segments Adopt Technology for Advising (Even When They Prefer to Invest in People)</a:t>
            </a:r>
            <a:endParaRPr lang="en-US" dirty="0"/>
          </a:p>
        </p:txBody>
      </p:sp>
      <p:grpSp>
        <p:nvGrpSpPr>
          <p:cNvPr id="83" name="Group 82"/>
          <p:cNvGrpSpPr/>
          <p:nvPr>
            <p:custDataLst>
              <p:tags r:id="rId1"/>
            </p:custDataLst>
          </p:nvPr>
        </p:nvGrpSpPr>
        <p:grpSpPr>
          <a:xfrm>
            <a:off x="377033" y="2112559"/>
            <a:ext cx="8157172" cy="4278460"/>
            <a:chOff x="377033" y="2112559"/>
            <a:chExt cx="8157172" cy="4278460"/>
          </a:xfrm>
        </p:grpSpPr>
        <p:sp>
          <p:nvSpPr>
            <p:cNvPr id="15" name="Rectangle 14"/>
            <p:cNvSpPr/>
            <p:nvPr>
              <p:custDataLst>
                <p:tags r:id="rId2"/>
              </p:custDataLst>
            </p:nvPr>
          </p:nvSpPr>
          <p:spPr bwMode="gray">
            <a:xfrm>
              <a:off x="6899305" y="4649964"/>
              <a:ext cx="710825" cy="1134829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6" name="Rectangle 15"/>
            <p:cNvSpPr/>
            <p:nvPr>
              <p:custDataLst>
                <p:tags r:id="rId3"/>
              </p:custDataLst>
            </p:nvPr>
          </p:nvSpPr>
          <p:spPr bwMode="gray">
            <a:xfrm>
              <a:off x="4340333" y="4295554"/>
              <a:ext cx="710826" cy="1489239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7" name="Rectangle 16"/>
            <p:cNvSpPr/>
            <p:nvPr>
              <p:custDataLst>
                <p:tags r:id="rId4"/>
              </p:custDataLst>
            </p:nvPr>
          </p:nvSpPr>
          <p:spPr bwMode="gray">
            <a:xfrm>
              <a:off x="1781362" y="2741877"/>
              <a:ext cx="710826" cy="3042916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8" name="Rectangle 17"/>
            <p:cNvSpPr/>
            <p:nvPr>
              <p:custDataLst>
                <p:tags r:id="rId5"/>
              </p:custDataLst>
            </p:nvPr>
          </p:nvSpPr>
          <p:spPr bwMode="gray">
            <a:xfrm>
              <a:off x="7610131" y="4059281"/>
              <a:ext cx="710825" cy="1725512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9" name="Rectangle 18"/>
            <p:cNvSpPr/>
            <p:nvPr>
              <p:custDataLst>
                <p:tags r:id="rId6"/>
              </p:custDataLst>
            </p:nvPr>
          </p:nvSpPr>
          <p:spPr bwMode="gray">
            <a:xfrm>
              <a:off x="5051158" y="3980523"/>
              <a:ext cx="710826" cy="1804270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0" name="Rectangle 19"/>
            <p:cNvSpPr/>
            <p:nvPr>
              <p:custDataLst>
                <p:tags r:id="rId7"/>
              </p:custDataLst>
            </p:nvPr>
          </p:nvSpPr>
          <p:spPr bwMode="gray">
            <a:xfrm>
              <a:off x="2492187" y="2863593"/>
              <a:ext cx="710826" cy="2921199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2" name="Rectangle 21"/>
            <p:cNvSpPr/>
            <p:nvPr>
              <p:custDataLst>
                <p:tags r:id="rId8"/>
              </p:custDataLst>
            </p:nvPr>
          </p:nvSpPr>
          <p:spPr bwMode="gray">
            <a:xfrm>
              <a:off x="3629508" y="4854019"/>
              <a:ext cx="710826" cy="930774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3" name="Rectangle 22"/>
            <p:cNvSpPr/>
            <p:nvPr>
              <p:custDataLst>
                <p:tags r:id="rId9"/>
              </p:custDataLst>
            </p:nvPr>
          </p:nvSpPr>
          <p:spPr bwMode="gray">
            <a:xfrm>
              <a:off x="6188480" y="5011534"/>
              <a:ext cx="710825" cy="773259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10"/>
              </p:custDataLst>
            </p:nvPr>
          </p:nvSpPr>
          <p:spPr bwMode="gray">
            <a:xfrm>
              <a:off x="1070536" y="3296761"/>
              <a:ext cx="710825" cy="2488032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75" name="Straight Connector 74"/>
            <p:cNvCxnSpPr/>
            <p:nvPr>
              <p:custDataLst>
                <p:tags r:id="rId11"/>
              </p:custDataLst>
            </p:nvPr>
          </p:nvCxnSpPr>
          <p:spPr bwMode="gray">
            <a:xfrm flipV="1">
              <a:off x="857288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>
              <p:custDataLst>
                <p:tags r:id="rId12"/>
              </p:custDataLst>
            </p:nvPr>
          </p:nvCxnSpPr>
          <p:spPr bwMode="gray">
            <a:xfrm>
              <a:off x="857288" y="5784793"/>
              <a:ext cx="7676917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>
              <p:custDataLst>
                <p:tags r:id="rId13"/>
              </p:custDataLst>
            </p:nvPr>
          </p:nvCxnSpPr>
          <p:spPr bwMode="gray">
            <a:xfrm flipH="1">
              <a:off x="806488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>
              <p:custDataLst>
                <p:tags r:id="rId14"/>
              </p:custDataLst>
            </p:nvPr>
          </p:nvCxnSpPr>
          <p:spPr bwMode="gray">
            <a:xfrm flipH="1">
              <a:off x="806488" y="506881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>
              <p:custDataLst>
                <p:tags r:id="rId15"/>
              </p:custDataLst>
            </p:nvPr>
          </p:nvCxnSpPr>
          <p:spPr bwMode="gray">
            <a:xfrm flipH="1">
              <a:off x="806488" y="435283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>
              <p:custDataLst>
                <p:tags r:id="rId16"/>
              </p:custDataLst>
            </p:nvPr>
          </p:nvCxnSpPr>
          <p:spPr bwMode="gray">
            <a:xfrm flipH="1">
              <a:off x="806488" y="292087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>
              <p:custDataLst>
                <p:tags r:id="rId17"/>
              </p:custDataLst>
            </p:nvPr>
          </p:nvCxnSpPr>
          <p:spPr bwMode="gray">
            <a:xfrm flipH="1">
              <a:off x="806488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>
              <p:custDataLst>
                <p:tags r:id="rId18"/>
              </p:custDataLst>
            </p:nvPr>
          </p:nvCxnSpPr>
          <p:spPr bwMode="gray">
            <a:xfrm flipH="1">
              <a:off x="806488" y="363685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377033" y="2112559"/>
              <a:ext cx="42930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10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4" name="TextBox 33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546952" y="5692460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2" name="TextBox 31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461993" y="497648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2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3" name="TextBox 32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461993" y="426050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7" name="TextBox 36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61993" y="354451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6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5" name="TextBox 34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461993" y="282853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8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0" name="TextBox 9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196986" y="5848293"/>
              <a:ext cx="187957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Academic Planning &amp; Audit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8" name="TextBox 7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4134845" y="5848293"/>
              <a:ext cx="112180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Alerts &amp; Signals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7" name="TextBox 6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6443748" y="5848293"/>
              <a:ext cx="162194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Caseload Management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5" name="TextBox 44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6371719" y="530583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22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3" name="TextBox 42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1253775" y="444844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7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2" name="TextBox 41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3812748" y="5227073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26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4" name="TextBox 43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1964601" y="4171001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85%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40" name="TextBox 39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5256648" y="479032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5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6" name="TextBox 45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7793370" y="4829703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48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1" name="TextBox 40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2697676" y="423186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82%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39" name="TextBox 38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4523573" y="494784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42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8" name="TextBox 37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7082545" y="5125046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32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7" name="TextBox 46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4268097" y="6206353"/>
              <a:ext cx="693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 dirty="0" err="1" smtClean="0">
                  <a:effectLst/>
                  <a:ea typeface="ＭＳ Ｐゴシック" charset="-128"/>
                </a:rPr>
                <a:t>Refuel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48" name="TextBox 47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1870593" y="6206353"/>
              <a:ext cx="106890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 dirty="0" smtClean="0">
                  <a:effectLst/>
                  <a:ea typeface="ＭＳ Ｐゴシック" charset="-128"/>
                </a:rPr>
                <a:t>Check Engin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49" name="TextBox 48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6401833" y="6206353"/>
              <a:ext cx="146003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r>
                <a:rPr lang="en-US" sz="1200" smtClean="0">
                  <a:effectLst/>
                  <a:ea typeface="ＭＳ Ｐゴシック" charset="-128"/>
                </a:rPr>
                <a:t>Equipped Navigato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50" name="Rectangle 49"/>
            <p:cNvSpPr/>
            <p:nvPr>
              <p:custDataLst>
                <p:tags r:id="rId40"/>
              </p:custDataLst>
            </p:nvPr>
          </p:nvSpPr>
          <p:spPr bwMode="gray">
            <a:xfrm>
              <a:off x="1705376" y="6206353"/>
              <a:ext cx="146018" cy="146018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1" name="Rectangle 50"/>
            <p:cNvSpPr/>
            <p:nvPr>
              <p:custDataLst>
                <p:tags r:id="rId41"/>
              </p:custDataLst>
            </p:nvPr>
          </p:nvSpPr>
          <p:spPr bwMode="gray">
            <a:xfrm>
              <a:off x="6236617" y="6206353"/>
              <a:ext cx="146018" cy="146018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52" name="Rectangle 51"/>
            <p:cNvSpPr/>
            <p:nvPr>
              <p:custDataLst>
                <p:tags r:id="rId42"/>
              </p:custDataLst>
            </p:nvPr>
          </p:nvSpPr>
          <p:spPr bwMode="gray">
            <a:xfrm>
              <a:off x="4102881" y="6206353"/>
              <a:ext cx="146018" cy="146018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-160699" y="1482853"/>
            <a:ext cx="115972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smtClean="0"/>
              <a:t>% Reporting Widespread Use</a:t>
            </a:r>
            <a:endParaRPr lang="en-US" sz="1050"/>
          </a:p>
        </p:txBody>
      </p:sp>
      <p:sp>
        <p:nvSpPr>
          <p:cNvPr id="56" name="TextBox 55"/>
          <p:cNvSpPr txBox="1"/>
          <p:nvPr/>
        </p:nvSpPr>
        <p:spPr>
          <a:xfrm>
            <a:off x="1489415" y="1311857"/>
            <a:ext cx="6128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Which of the following academic advising functions does your institution use technology to </a:t>
            </a:r>
            <a:r>
              <a:rPr lang="en-US" sz="1600" b="1" smtClean="0"/>
              <a:t>support?</a:t>
            </a:r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1283692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cessful Segments Invest in Advising Personnel</a:t>
            </a:r>
            <a:r>
              <a:rPr lang="mr-IN" dirty="0" smtClean="0"/>
              <a:t>…</a:t>
            </a:r>
            <a:endParaRPr lang="en-US" dirty="0"/>
          </a:p>
        </p:txBody>
      </p:sp>
      <p:grpSp>
        <p:nvGrpSpPr>
          <p:cNvPr id="9" name="Group 8"/>
          <p:cNvGrpSpPr/>
          <p:nvPr>
            <p:custDataLst>
              <p:tags r:id="rId1"/>
            </p:custDataLst>
          </p:nvPr>
        </p:nvGrpSpPr>
        <p:grpSpPr>
          <a:xfrm>
            <a:off x="461995" y="2112559"/>
            <a:ext cx="8072210" cy="3920400"/>
            <a:chOff x="461995" y="2112559"/>
            <a:chExt cx="8072210" cy="3920400"/>
          </a:xfrm>
        </p:grpSpPr>
        <p:sp>
          <p:nvSpPr>
            <p:cNvPr id="12" name="Rectangle 11"/>
            <p:cNvSpPr/>
            <p:nvPr>
              <p:custDataLst>
                <p:tags r:id="rId2"/>
              </p:custDataLst>
            </p:nvPr>
          </p:nvSpPr>
          <p:spPr bwMode="gray">
            <a:xfrm>
              <a:off x="5055603" y="2682212"/>
              <a:ext cx="1199518" cy="3102581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3"/>
              </p:custDataLst>
            </p:nvPr>
          </p:nvSpPr>
          <p:spPr bwMode="gray">
            <a:xfrm>
              <a:off x="6974834" y="2527083"/>
              <a:ext cx="1199518" cy="3257710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4"/>
              </p:custDataLst>
            </p:nvPr>
          </p:nvSpPr>
          <p:spPr bwMode="gray">
            <a:xfrm>
              <a:off x="1217145" y="3422058"/>
              <a:ext cx="1199518" cy="2362735"/>
            </a:xfrm>
            <a:prstGeom prst="rect">
              <a:avLst/>
            </a:prstGeom>
            <a:solidFill>
              <a:srgbClr val="A13F1F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5"/>
              </p:custDataLst>
            </p:nvPr>
          </p:nvSpPr>
          <p:spPr bwMode="gray">
            <a:xfrm>
              <a:off x="3136374" y="3535422"/>
              <a:ext cx="1199518" cy="2249371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2" name="Straight Connector 1"/>
            <p:cNvCxnSpPr/>
            <p:nvPr>
              <p:custDataLst>
                <p:tags r:id="rId6"/>
              </p:custDataLst>
            </p:nvPr>
          </p:nvCxnSpPr>
          <p:spPr bwMode="gray">
            <a:xfrm>
              <a:off x="857290" y="5784793"/>
              <a:ext cx="7676915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/>
            <p:cNvCxnSpPr/>
            <p:nvPr>
              <p:custDataLst>
                <p:tags r:id="rId7"/>
              </p:custDataLst>
            </p:nvPr>
          </p:nvCxnSpPr>
          <p:spPr bwMode="gray">
            <a:xfrm flipV="1">
              <a:off x="857290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>
              <p:custDataLst>
                <p:tags r:id="rId8"/>
              </p:custDataLst>
            </p:nvPr>
          </p:nvCxnSpPr>
          <p:spPr bwMode="gray">
            <a:xfrm flipH="1">
              <a:off x="806490" y="339819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>
              <p:custDataLst>
                <p:tags r:id="rId9"/>
              </p:custDataLst>
            </p:nvPr>
          </p:nvCxnSpPr>
          <p:spPr bwMode="gray">
            <a:xfrm flipH="1">
              <a:off x="806490" y="45914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>
              <p:custDataLst>
                <p:tags r:id="rId10"/>
              </p:custDataLst>
            </p:nvPr>
          </p:nvCxnSpPr>
          <p:spPr bwMode="gray">
            <a:xfrm flipH="1">
              <a:off x="806490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806490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546954" y="5692460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3" name="TextBox 32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461995" y="211255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6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2" name="TextBox 31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461995" y="330586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0" name="TextBox 29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461995" y="4499161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2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6844575" y="5848293"/>
              <a:ext cx="146003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Equipped Navigators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34" name="TextBox 33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5308461" y="5848293"/>
              <a:ext cx="693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err="1" smtClean="0">
                  <a:effectLst/>
                  <a:ea typeface="ＭＳ Ｐゴシック" charset="-128"/>
                </a:rPr>
                <a:t>Refuel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35" name="TextBox 34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3201681" y="5848293"/>
              <a:ext cx="106890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Check Engin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37" name="TextBox 36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921200" y="5848293"/>
              <a:ext cx="179141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Limited Technology Us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56" name="TextBox 55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3563960" y="456777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38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52" name="TextBox 51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7402420" y="406360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55%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53" name="TextBox 52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483189" y="414116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52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51" name="TextBox 50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644731" y="4511093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40%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1507672" y="1311857"/>
            <a:ext cx="61286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Over the past three years, how has the level of personnel dedicated to academic advising in your institution changed?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0" y="1743618"/>
            <a:ext cx="139974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mtClean="0"/>
              <a:t>% Reporting Growth</a:t>
            </a:r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125982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0" y="1743618"/>
            <a:ext cx="124264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/>
              <a:t>% Answering Yes</a:t>
            </a:r>
            <a:endParaRPr lang="en-US" sz="105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 smtClean="0"/>
              <a:t>…</a:t>
            </a:r>
            <a:r>
              <a:rPr lang="en-US" dirty="0" smtClean="0"/>
              <a:t>and Assign Responsibility over Advising to a Single Individual</a:t>
            </a:r>
            <a:endParaRPr lang="en-US" dirty="0"/>
          </a:p>
        </p:txBody>
      </p:sp>
      <p:grpSp>
        <p:nvGrpSpPr>
          <p:cNvPr id="42" name="Group 41"/>
          <p:cNvGrpSpPr/>
          <p:nvPr>
            <p:custDataLst>
              <p:tags r:id="rId1"/>
            </p:custDataLst>
          </p:nvPr>
        </p:nvGrpSpPr>
        <p:grpSpPr>
          <a:xfrm>
            <a:off x="461994" y="2112560"/>
            <a:ext cx="8072211" cy="3176542"/>
            <a:chOff x="461994" y="2112560"/>
            <a:chExt cx="8072211" cy="3176542"/>
          </a:xfrm>
        </p:grpSpPr>
        <p:sp>
          <p:nvSpPr>
            <p:cNvPr id="4" name="Rectangle 3"/>
            <p:cNvSpPr/>
            <p:nvPr>
              <p:custDataLst>
                <p:tags r:id="rId2"/>
              </p:custDataLst>
            </p:nvPr>
          </p:nvSpPr>
          <p:spPr bwMode="gray">
            <a:xfrm>
              <a:off x="5055602" y="2545218"/>
              <a:ext cx="1199518" cy="2495718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3"/>
              </p:custDataLst>
            </p:nvPr>
          </p:nvSpPr>
          <p:spPr bwMode="gray">
            <a:xfrm>
              <a:off x="6974831" y="2805189"/>
              <a:ext cx="1199518" cy="2235747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4"/>
              </p:custDataLst>
            </p:nvPr>
          </p:nvSpPr>
          <p:spPr bwMode="gray">
            <a:xfrm>
              <a:off x="1217145" y="3136061"/>
              <a:ext cx="1199518" cy="1904876"/>
            </a:xfrm>
            <a:prstGeom prst="rect">
              <a:avLst/>
            </a:prstGeom>
            <a:solidFill>
              <a:srgbClr val="A13F1F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3136374" y="3594553"/>
              <a:ext cx="1199518" cy="1446383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cxnSp>
          <p:nvCxnSpPr>
            <p:cNvPr id="26" name="Straight Connector 25"/>
            <p:cNvCxnSpPr/>
            <p:nvPr>
              <p:custDataLst>
                <p:tags r:id="rId6"/>
              </p:custDataLst>
            </p:nvPr>
          </p:nvCxnSpPr>
          <p:spPr bwMode="gray">
            <a:xfrm>
              <a:off x="857289" y="5040936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>
              <p:custDataLst>
                <p:tags r:id="rId7"/>
              </p:custDataLst>
            </p:nvPr>
          </p:nvCxnSpPr>
          <p:spPr bwMode="gray">
            <a:xfrm flipV="1">
              <a:off x="857289" y="2204893"/>
              <a:ext cx="0" cy="2836043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>
              <p:custDataLst>
                <p:tags r:id="rId8"/>
              </p:custDataLst>
            </p:nvPr>
          </p:nvCxnSpPr>
          <p:spPr bwMode="gray">
            <a:xfrm flipH="1">
              <a:off x="806489" y="3150240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>
              <p:custDataLst>
                <p:tags r:id="rId9"/>
              </p:custDataLst>
            </p:nvPr>
          </p:nvCxnSpPr>
          <p:spPr bwMode="gray">
            <a:xfrm flipH="1">
              <a:off x="806489" y="4095588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>
              <p:custDataLst>
                <p:tags r:id="rId10"/>
              </p:custDataLst>
            </p:nvPr>
          </p:nvCxnSpPr>
          <p:spPr bwMode="gray">
            <a:xfrm flipH="1">
              <a:off x="806489" y="5040936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806489" y="22048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546952" y="4948604"/>
              <a:ext cx="25938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5" name="TextBox 14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461994" y="211256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6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461994" y="3057907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7" name="TextBox 16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461994" y="400325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2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8" name="TextBox 17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6844571" y="5104436"/>
              <a:ext cx="146003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Equipped Navigators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5308461" y="5104436"/>
              <a:ext cx="693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err="1" smtClean="0">
                  <a:effectLst/>
                  <a:ea typeface="ＭＳ Ｐゴシック" charset="-128"/>
                </a:rPr>
                <a:t>Refuel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0" name="TextBox 19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3201681" y="5104436"/>
              <a:ext cx="106890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Check Engin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921200" y="5104436"/>
              <a:ext cx="179141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Limited Technology Us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3563959" y="4225412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31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7402416" y="383072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47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483189" y="370074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53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644730" y="3996166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217145" y="1311857"/>
            <a:ext cx="69572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Is there one individual with overall responsibility for academic advising at your </a:t>
            </a:r>
            <a:r>
              <a:rPr lang="en-US" sz="1600" b="1" smtClean="0"/>
              <a:t>institution?</a:t>
            </a:r>
            <a:endParaRPr lang="en-US" sz="1600" b="1" dirty="0" smtClean="0"/>
          </a:p>
        </p:txBody>
      </p:sp>
      <p:sp>
        <p:nvSpPr>
          <p:cNvPr id="43" name="Rectangle 42"/>
          <p:cNvSpPr/>
          <p:nvPr/>
        </p:nvSpPr>
        <p:spPr>
          <a:xfrm>
            <a:off x="806341" y="5486400"/>
            <a:ext cx="7727864" cy="69137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/>
          <p:cNvSpPr txBox="1"/>
          <p:nvPr/>
        </p:nvSpPr>
        <p:spPr>
          <a:xfrm>
            <a:off x="986269" y="5506684"/>
            <a:ext cx="7368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Advising improvements may be achieved through reorganization of existing resources - not necessarily making new investment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860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cessful Segments Are Committed to Advising Redesign</a:t>
            </a:r>
            <a:endParaRPr lang="en-US" dirty="0"/>
          </a:p>
        </p:txBody>
      </p:sp>
      <p:grpSp>
        <p:nvGrpSpPr>
          <p:cNvPr id="38" name="Group 37"/>
          <p:cNvGrpSpPr/>
          <p:nvPr>
            <p:custDataLst>
              <p:tags r:id="rId1"/>
            </p:custDataLst>
          </p:nvPr>
        </p:nvGrpSpPr>
        <p:grpSpPr>
          <a:xfrm>
            <a:off x="461995" y="2112559"/>
            <a:ext cx="8072210" cy="3920400"/>
            <a:chOff x="461995" y="2112559"/>
            <a:chExt cx="8072210" cy="3920400"/>
          </a:xfrm>
        </p:grpSpPr>
        <p:sp>
          <p:nvSpPr>
            <p:cNvPr id="4" name="Rectangle 3"/>
            <p:cNvSpPr/>
            <p:nvPr>
              <p:custDataLst>
                <p:tags r:id="rId2"/>
              </p:custDataLst>
            </p:nvPr>
          </p:nvSpPr>
          <p:spPr bwMode="gray">
            <a:xfrm>
              <a:off x="5055603" y="3627902"/>
              <a:ext cx="1199518" cy="2156890"/>
            </a:xfrm>
            <a:prstGeom prst="rect">
              <a:avLst/>
            </a:prstGeom>
            <a:solidFill>
              <a:srgbClr val="39A4C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3"/>
              </p:custDataLst>
            </p:nvPr>
          </p:nvSpPr>
          <p:spPr bwMode="gray">
            <a:xfrm>
              <a:off x="6974832" y="2929821"/>
              <a:ext cx="1199518" cy="2854971"/>
            </a:xfrm>
            <a:prstGeom prst="rect">
              <a:avLst/>
            </a:prstGeom>
            <a:solidFill>
              <a:srgbClr val="659129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4"/>
              </p:custDataLst>
            </p:nvPr>
          </p:nvSpPr>
          <p:spPr bwMode="gray">
            <a:xfrm>
              <a:off x="1217145" y="4267810"/>
              <a:ext cx="1199518" cy="1516983"/>
            </a:xfrm>
            <a:prstGeom prst="rect">
              <a:avLst/>
            </a:prstGeom>
            <a:solidFill>
              <a:srgbClr val="A13F1F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3136374" y="4357307"/>
              <a:ext cx="1199518" cy="1427485"/>
            </a:xfrm>
            <a:prstGeom prst="rect">
              <a:avLst/>
            </a:prstGeom>
            <a:solidFill>
              <a:srgbClr val="DBAC00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cxnSp>
          <p:nvCxnSpPr>
            <p:cNvPr id="2" name="Straight Connector 1"/>
            <p:cNvCxnSpPr/>
            <p:nvPr>
              <p:custDataLst>
                <p:tags r:id="rId6"/>
              </p:custDataLst>
            </p:nvPr>
          </p:nvCxnSpPr>
          <p:spPr bwMode="gray">
            <a:xfrm flipV="1">
              <a:off x="857290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>
              <p:custDataLst>
                <p:tags r:id="rId7"/>
              </p:custDataLst>
            </p:nvPr>
          </p:nvCxnSpPr>
          <p:spPr bwMode="gray">
            <a:xfrm>
              <a:off x="857290" y="5784793"/>
              <a:ext cx="7676915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>
              <p:custDataLst>
                <p:tags r:id="rId8"/>
              </p:custDataLst>
            </p:nvPr>
          </p:nvCxnSpPr>
          <p:spPr bwMode="gray">
            <a:xfrm flipH="1">
              <a:off x="806490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>
              <p:custDataLst>
                <p:tags r:id="rId9"/>
              </p:custDataLst>
            </p:nvPr>
          </p:nvCxnSpPr>
          <p:spPr bwMode="gray">
            <a:xfrm flipH="1">
              <a:off x="806490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>
              <p:custDataLst>
                <p:tags r:id="rId10"/>
              </p:custDataLst>
            </p:nvPr>
          </p:nvCxnSpPr>
          <p:spPr bwMode="gray">
            <a:xfrm flipH="1">
              <a:off x="806490" y="488981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806490" y="3099867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>
              <p:custDataLst>
                <p:tags r:id="rId12"/>
              </p:custDataLst>
            </p:nvPr>
          </p:nvCxnSpPr>
          <p:spPr bwMode="gray">
            <a:xfrm flipH="1">
              <a:off x="806490" y="399484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461995" y="3902510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4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461995" y="4797485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2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7" name="TextBox 16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546954" y="5692460"/>
              <a:ext cx="25938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8" name="TextBox 17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461995" y="300753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6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461995" y="2112559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r"/>
              <a:r>
                <a:rPr lang="en-US" sz="1200" smtClean="0">
                  <a:effectLst/>
                  <a:ea typeface="ＭＳ Ｐゴシック" charset="-128"/>
                </a:rPr>
                <a:t>80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0" name="TextBox 19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6844573" y="5848293"/>
              <a:ext cx="146003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Equipped Navigators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921200" y="5848293"/>
              <a:ext cx="179141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Limited Technology Us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5308462" y="5848293"/>
              <a:ext cx="693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err="1" smtClean="0">
                  <a:effectLst/>
                  <a:ea typeface="ＭＳ Ｐゴシック" charset="-128"/>
                </a:rPr>
                <a:t>Refueler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3201681" y="5848293"/>
              <a:ext cx="106890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Check Engines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7402418" y="426497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64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644731" y="4933968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34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3563960" y="4978716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32%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27" name="TextBox 26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5483189" y="4614014"/>
              <a:ext cx="34434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200" smtClean="0">
                  <a:effectLst/>
                  <a:ea typeface="ＭＳ Ｐゴシック" charset="-128"/>
                </a:rPr>
                <a:t>48%</a:t>
              </a:r>
              <a:endParaRPr lang="en-US" sz="1200">
                <a:effectLst/>
                <a:ea typeface="ＭＳ Ｐゴシック" charset="-128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217145" y="1311857"/>
            <a:ext cx="69572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Redesign of academic advising is included in my institution’s strategic </a:t>
            </a:r>
            <a:r>
              <a:rPr lang="en-US" sz="1600" b="1" smtClean="0"/>
              <a:t>plan.</a:t>
            </a:r>
            <a:endParaRPr lang="en-US" sz="1600" b="1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218630" y="1739082"/>
            <a:ext cx="70243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smtClean="0"/>
              <a:t>% Agree</a:t>
            </a:r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682768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9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3024740" y="1810294"/>
            <a:ext cx="3053020" cy="2887258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We Help Institutions Move Farther along the Road to an Ideal Academic Advising and Improved Student Success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3"/>
          <a:srcRect t="7114" b="76455"/>
          <a:stretch/>
        </p:blipFill>
        <p:spPr>
          <a:xfrm>
            <a:off x="3024740" y="1097692"/>
            <a:ext cx="3357820" cy="675883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 rotWithShape="1">
          <a:blip r:embed="rId3"/>
          <a:srcRect l="34141" t="73139" b="1"/>
          <a:stretch/>
        </p:blipFill>
        <p:spPr>
          <a:xfrm>
            <a:off x="4026900" y="4636022"/>
            <a:ext cx="2355660" cy="1176935"/>
          </a:xfrm>
          <a:prstGeom prst="rect">
            <a:avLst/>
          </a:prstGeom>
        </p:spPr>
      </p:pic>
      <p:sp>
        <p:nvSpPr>
          <p:cNvPr id="123" name="Rectangle 122"/>
          <p:cNvSpPr/>
          <p:nvPr/>
        </p:nvSpPr>
        <p:spPr>
          <a:xfrm>
            <a:off x="581579" y="4272190"/>
            <a:ext cx="914400" cy="57882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305946" y="2907139"/>
            <a:ext cx="18879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s </a:t>
            </a:r>
            <a:r>
              <a:rPr lang="en-US" sz="1200"/>
              <a:t>advising transactional </a:t>
            </a:r>
            <a:r>
              <a:rPr lang="en-US" sz="1200" dirty="0"/>
              <a:t>or transformational? 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1568316" y="4288401"/>
            <a:ext cx="21271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s technology adopted and implemented as point or integrated solutions? 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1669791" y="1851201"/>
            <a:ext cx="2646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s responsibility for advising held by a single or multiple bodies?</a:t>
            </a:r>
          </a:p>
        </p:txBody>
      </p:sp>
      <p:pic>
        <p:nvPicPr>
          <p:cNvPr id="129" name="Picture 128"/>
          <p:cNvPicPr>
            <a:picLocks noChangeAspect="1"/>
          </p:cNvPicPr>
          <p:nvPr/>
        </p:nvPicPr>
        <p:blipFill rotWithShape="1">
          <a:blip r:embed="rId3"/>
          <a:srcRect l="68777" t="84886" r="22406" b="8709"/>
          <a:stretch/>
        </p:blipFill>
        <p:spPr>
          <a:xfrm rot="16200000">
            <a:off x="4297680" y="4554969"/>
            <a:ext cx="311693" cy="277394"/>
          </a:xfrm>
          <a:prstGeom prst="rect">
            <a:avLst/>
          </a:prstGeom>
        </p:spPr>
      </p:pic>
      <p:sp>
        <p:nvSpPr>
          <p:cNvPr id="130" name="Rectangle 129"/>
          <p:cNvSpPr/>
          <p:nvPr/>
        </p:nvSpPr>
        <p:spPr>
          <a:xfrm>
            <a:off x="2189446" y="4861737"/>
            <a:ext cx="413898" cy="49824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627378" y="3642070"/>
            <a:ext cx="28228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oes the advising organizational structure support cross-departmental coordination?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844711" y="2238053"/>
            <a:ext cx="28228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oes the advising organizational structure support manageable caseloads? 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3958292" y="4632020"/>
            <a:ext cx="357657" cy="45210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362141" y="5955962"/>
            <a:ext cx="8458473" cy="76172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y benchmarking against peers in a similar segment, we help </a:t>
            </a:r>
            <a:r>
              <a:rPr lang="en-US" b="1" dirty="0"/>
              <a:t>institutions identify and overcome barriers to achieving best in class advising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79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/>
          <a:srcRect l="6541" t="22622" r="61557" b="36776"/>
          <a:stretch/>
        </p:blipFill>
        <p:spPr>
          <a:xfrm>
            <a:off x="4041331" y="4044571"/>
            <a:ext cx="896112" cy="100910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3"/>
          <a:srcRect l="63526" t="27170" r="5834" b="38205"/>
          <a:stretch/>
        </p:blipFill>
        <p:spPr>
          <a:xfrm>
            <a:off x="3548920" y="1962232"/>
            <a:ext cx="896112" cy="89598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l="48596" t="61298" r="15730" b="4850"/>
          <a:stretch/>
        </p:blipFill>
        <p:spPr>
          <a:xfrm>
            <a:off x="4056979" y="5279716"/>
            <a:ext cx="896112" cy="75237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/>
          <a:srcRect l="16455" t="60935" r="51062" b="5106"/>
          <a:stretch/>
        </p:blipFill>
        <p:spPr>
          <a:xfrm>
            <a:off x="3921123" y="3088189"/>
            <a:ext cx="896347" cy="82909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4"/>
          </p:nvPr>
        </p:nvSpPr>
        <p:spPr>
          <a:xfrm>
            <a:off x="526142" y="63366"/>
            <a:ext cx="8013455" cy="946615"/>
          </a:xfrm>
        </p:spPr>
        <p:txBody>
          <a:bodyPr>
            <a:normAutofit/>
          </a:bodyPr>
          <a:lstStyle/>
          <a:p>
            <a:r>
              <a:rPr lang="en-US" dirty="0" smtClean="0"/>
              <a:t>Leverage Academic </a:t>
            </a:r>
            <a:r>
              <a:rPr lang="en-US" dirty="0"/>
              <a:t>Advising </a:t>
            </a:r>
            <a:r>
              <a:rPr lang="en-US" dirty="0" smtClean="0"/>
              <a:t>Redesign </a:t>
            </a:r>
            <a:r>
              <a:rPr lang="en-US" dirty="0"/>
              <a:t>to Improve Student Success and the </a:t>
            </a:r>
            <a:r>
              <a:rPr lang="en-US" dirty="0" smtClean="0"/>
              <a:t>Bottom Lin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82799" y="1797924"/>
            <a:ext cx="346165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endParaRPr lang="en-US" sz="1400" dirty="0"/>
          </a:p>
          <a:p>
            <a:pPr marL="342900" indent="-342900">
              <a:buFont typeface="Wingdings" charset="2"/>
              <a:buChar char="ü"/>
            </a:pPr>
            <a:r>
              <a:rPr lang="en-US" sz="1400" dirty="0"/>
              <a:t>Hire additional </a:t>
            </a:r>
            <a:r>
              <a:rPr lang="en-US" sz="1400" b="1" dirty="0"/>
              <a:t>40 advisors</a:t>
            </a:r>
            <a:endParaRPr lang="en-US" sz="1400" dirty="0"/>
          </a:p>
          <a:p>
            <a:pPr marL="342900" indent="-342900">
              <a:buFont typeface="Wingdings" charset="2"/>
              <a:buChar char="ü"/>
            </a:pPr>
            <a:endParaRPr lang="en-US" sz="1400" dirty="0"/>
          </a:p>
          <a:p>
            <a:pPr marL="342900" indent="-342900">
              <a:buFont typeface="Wingdings" charset="2"/>
              <a:buChar char="ü"/>
            </a:pPr>
            <a:endParaRPr lang="en-US" sz="1400" dirty="0"/>
          </a:p>
          <a:p>
            <a:pPr marL="342900" indent="-342900">
              <a:buFont typeface="Wingdings" charset="2"/>
              <a:buChar char="ü"/>
            </a:pPr>
            <a:endParaRPr lang="en-US" sz="1400" dirty="0"/>
          </a:p>
          <a:p>
            <a:pPr marL="342900" indent="-342900">
              <a:buFont typeface="Wingdings" charset="2"/>
              <a:buChar char="ü"/>
            </a:pPr>
            <a:r>
              <a:rPr lang="en-US" sz="1400" b="1" dirty="0"/>
              <a:t>Predictive analytics </a:t>
            </a:r>
            <a:r>
              <a:rPr lang="en-US" sz="1400" dirty="0"/>
              <a:t>to target and intervene with </a:t>
            </a:r>
            <a:r>
              <a:rPr lang="en-US" sz="1400" b="1" dirty="0"/>
              <a:t>at-risk students </a:t>
            </a:r>
          </a:p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r>
              <a:rPr lang="en-US" sz="1400" dirty="0"/>
              <a:t>Instituted </a:t>
            </a:r>
            <a:r>
              <a:rPr lang="en-US" sz="1400" b="1" dirty="0"/>
              <a:t>mandatory advising </a:t>
            </a:r>
            <a:r>
              <a:rPr lang="en-US" sz="1400" dirty="0"/>
              <a:t>for all students</a:t>
            </a: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endParaRPr lang="en-US" sz="1400" b="1" dirty="0"/>
          </a:p>
          <a:p>
            <a:pPr marL="342900" indent="-342900">
              <a:buFont typeface="Wingdings" charset="2"/>
              <a:buChar char="ü"/>
            </a:pPr>
            <a:r>
              <a:rPr lang="en-US" sz="1400" dirty="0"/>
              <a:t>Creation of </a:t>
            </a:r>
            <a:r>
              <a:rPr lang="en-US" sz="1400" b="1" dirty="0"/>
              <a:t>key performance metrics communicated regularly</a:t>
            </a:r>
            <a:r>
              <a:rPr lang="en-US" sz="1400" dirty="0"/>
              <a:t> to leaders across campus</a:t>
            </a:r>
          </a:p>
        </p:txBody>
      </p:sp>
      <p:sp>
        <p:nvSpPr>
          <p:cNvPr id="4" name="Rectangle 3"/>
          <p:cNvSpPr/>
          <p:nvPr/>
        </p:nvSpPr>
        <p:spPr>
          <a:xfrm>
            <a:off x="4748344" y="2047701"/>
            <a:ext cx="4120852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Improved student persistence yielded</a:t>
            </a:r>
          </a:p>
          <a:p>
            <a:pPr algn="ctr"/>
            <a:r>
              <a:rPr lang="en-US" sz="3200" b="1" dirty="0">
                <a:ln w="22225">
                  <a:solidFill>
                    <a:schemeClr val="tx2"/>
                  </a:solidFill>
                  <a:prstDash val="solid"/>
                </a:ln>
                <a:solidFill>
                  <a:schemeClr val="accent1"/>
                </a:solidFill>
              </a:rPr>
              <a:t>370 additional students</a:t>
            </a:r>
          </a:p>
          <a:p>
            <a:pPr algn="ctr"/>
            <a:r>
              <a:rPr lang="en-US" i="1" dirty="0"/>
              <a:t>in the first semester alone</a:t>
            </a:r>
          </a:p>
          <a:p>
            <a:pPr algn="ctr"/>
            <a:endParaRPr lang="en-US" b="1" i="1" dirty="0">
              <a:ln w="22225">
                <a:solidFill>
                  <a:schemeClr val="accent6">
                    <a:lumMod val="75000"/>
                  </a:schemeClr>
                </a:solidFill>
                <a:prstDash val="solid"/>
              </a:ln>
              <a:solidFill>
                <a:schemeClr val="accent6"/>
              </a:solidFill>
            </a:endParaRPr>
          </a:p>
          <a:p>
            <a:pPr algn="ctr"/>
            <a:endParaRPr lang="en-US" b="1" i="1" dirty="0">
              <a:ln w="22225">
                <a:solidFill>
                  <a:schemeClr val="accent6">
                    <a:lumMod val="75000"/>
                  </a:schemeClr>
                </a:solidFill>
                <a:prstDash val="solid"/>
              </a:ln>
              <a:solidFill>
                <a:schemeClr val="accent6"/>
              </a:solidFill>
            </a:endParaRPr>
          </a:p>
          <a:p>
            <a:pPr algn="ctr"/>
            <a:endParaRPr lang="en-US" b="1" i="1" dirty="0">
              <a:ln w="22225">
                <a:solidFill>
                  <a:schemeClr val="accent6">
                    <a:lumMod val="75000"/>
                  </a:schemeClr>
                </a:solidFill>
                <a:prstDash val="solid"/>
              </a:ln>
              <a:solidFill>
                <a:schemeClr val="accent6"/>
              </a:solidFill>
            </a:endParaRPr>
          </a:p>
          <a:p>
            <a:pPr algn="ctr"/>
            <a:r>
              <a:rPr lang="en-US" i="1" dirty="0"/>
              <a:t>accounting for </a:t>
            </a:r>
          </a:p>
          <a:p>
            <a:pPr algn="ctr"/>
            <a:r>
              <a:rPr lang="en-US" sz="3600" b="1" dirty="0">
                <a:ln w="22225">
                  <a:solidFill>
                    <a:schemeClr val="tx2"/>
                  </a:solidFill>
                  <a:prstDash val="solid"/>
                </a:ln>
                <a:solidFill>
                  <a:schemeClr val="accent1"/>
                </a:solidFill>
              </a:rPr>
              <a:t>$1.3 Million</a:t>
            </a:r>
          </a:p>
          <a:p>
            <a:pPr algn="ctr"/>
            <a:r>
              <a:rPr lang="en-US" i="1" dirty="0"/>
              <a:t>in annual revenue</a:t>
            </a:r>
          </a:p>
          <a:p>
            <a:endParaRPr lang="en-US" sz="2400" b="1" i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8484" y="1409496"/>
            <a:ext cx="4310288" cy="3077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What c</a:t>
            </a:r>
            <a:r>
              <a:rPr lang="en-US" sz="1400" b="1" dirty="0" smtClean="0">
                <a:solidFill>
                  <a:schemeClr val="bg1"/>
                </a:solidFill>
              </a:rPr>
              <a:t>an </a:t>
            </a:r>
            <a:r>
              <a:rPr lang="en-US" sz="1400" b="1" dirty="0">
                <a:solidFill>
                  <a:schemeClr val="bg1"/>
                </a:solidFill>
              </a:rPr>
              <a:t>y</a:t>
            </a:r>
            <a:r>
              <a:rPr lang="en-US" sz="1400" b="1" dirty="0" smtClean="0">
                <a:solidFill>
                  <a:schemeClr val="bg1"/>
                </a:solidFill>
              </a:rPr>
              <a:t>our institution </a:t>
            </a:r>
            <a:r>
              <a:rPr lang="en-US" sz="1400" b="1" dirty="0">
                <a:solidFill>
                  <a:schemeClr val="bg1"/>
                </a:solidFill>
              </a:rPr>
              <a:t>d</a:t>
            </a:r>
            <a:r>
              <a:rPr lang="en-US" sz="1400" b="1" dirty="0" smtClean="0">
                <a:solidFill>
                  <a:schemeClr val="bg1"/>
                </a:solidFill>
              </a:rPr>
              <a:t>o to drive </a:t>
            </a:r>
            <a:r>
              <a:rPr lang="en-US" sz="1400" b="1" dirty="0">
                <a:solidFill>
                  <a:schemeClr val="bg1"/>
                </a:solidFill>
              </a:rPr>
              <a:t>o</a:t>
            </a:r>
            <a:r>
              <a:rPr lang="en-US" sz="1400" b="1" dirty="0" smtClean="0">
                <a:solidFill>
                  <a:schemeClr val="bg1"/>
                </a:solidFill>
              </a:rPr>
              <a:t>utcomes?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77939" y="1409496"/>
            <a:ext cx="3461658" cy="3077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The </a:t>
            </a:r>
            <a:r>
              <a:rPr lang="en-US" sz="1400" b="1" dirty="0" smtClean="0">
                <a:solidFill>
                  <a:schemeClr val="bg1"/>
                </a:solidFill>
              </a:rPr>
              <a:t>potential results</a:t>
            </a:r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5085" y="5003248"/>
            <a:ext cx="573736" cy="64439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2662" y="2842948"/>
            <a:ext cx="518583" cy="49048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2662" y="2123619"/>
            <a:ext cx="603250" cy="518538"/>
          </a:xfrm>
          <a:prstGeom prst="rect">
            <a:avLst/>
          </a:prstGeom>
        </p:spPr>
      </p:pic>
      <p:sp>
        <p:nvSpPr>
          <p:cNvPr id="21" name="Striped Right Arrow 20"/>
          <p:cNvSpPr/>
          <p:nvPr/>
        </p:nvSpPr>
        <p:spPr>
          <a:xfrm rot="5400000">
            <a:off x="6432452" y="3821246"/>
            <a:ext cx="752634" cy="454675"/>
          </a:xfrm>
          <a:prstGeom prst="stripedRightArrow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7824" y="4167859"/>
            <a:ext cx="580997" cy="397418"/>
          </a:xfrm>
          <a:prstGeom prst="rect">
            <a:avLst/>
          </a:prstGeom>
        </p:spPr>
      </p:pic>
      <p:sp>
        <p:nvSpPr>
          <p:cNvPr id="2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205094" y="6373510"/>
            <a:ext cx="489186" cy="365125"/>
          </a:xfrm>
        </p:spPr>
        <p:txBody>
          <a:bodyPr/>
          <a:lstStyle/>
          <a:p>
            <a:r>
              <a:rPr lang="en-US" dirty="0" smtClean="0"/>
              <a:t>3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031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32695" y="1353416"/>
            <a:ext cx="8056562" cy="4986338"/>
          </a:xfrm>
        </p:spPr>
        <p:txBody>
          <a:bodyPr>
            <a:normAutofit/>
          </a:bodyPr>
          <a:lstStyle/>
          <a:p>
            <a:pPr marL="0"/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Start a conversation about how advising redesign might look on your campus:</a:t>
            </a:r>
          </a:p>
          <a:p>
            <a:pPr marL="515937" lvl="3"/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Gates Bryant (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  <a:hlinkClick r:id="rId2"/>
              </a:rPr>
              <a:t>gbryant@tytonpartners.com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</a:p>
          <a:p>
            <a:pPr marL="515937" lvl="3"/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Nicholas Java (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  <a:hlinkClick r:id="rId3"/>
              </a:rPr>
              <a:t>njava@tytonpartners.com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endParaRPr lang="en-US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344487" lvl="2"/>
            <a:endParaRPr lang="en-US" dirty="0" smtClean="0">
              <a:solidFill>
                <a:schemeClr val="tx1"/>
              </a:solidFill>
              <a:latin typeface="+mn-lt"/>
              <a:cs typeface="+mn-cs"/>
            </a:endParaRPr>
          </a:p>
          <a:p>
            <a:pPr marL="0"/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Download our 2017 Driving Toward a Degree reports, including the data presented here, at            	</a:t>
            </a:r>
            <a:r>
              <a:rPr lang="en-US" b="1" dirty="0" smtClean="0">
                <a:solidFill>
                  <a:srgbClr val="0070C0"/>
                </a:solidFill>
                <a:latin typeface="+mn-lt"/>
                <a:cs typeface="+mn-cs"/>
                <a:hlinkClick r:id="rId4"/>
              </a:rPr>
              <a:t>drivetodegree.org</a:t>
            </a:r>
            <a:endParaRPr lang="en-US" dirty="0" smtClean="0">
              <a:solidFill>
                <a:schemeClr val="tx1"/>
              </a:solidFill>
              <a:latin typeface="+mn-lt"/>
              <a:cs typeface="+mn-cs"/>
            </a:endParaRPr>
          </a:p>
          <a:p>
            <a:pPr marL="515937" lvl="3"/>
            <a:r>
              <a:rPr lang="en-US" dirty="0" smtClean="0">
                <a:latin typeface="+mn-lt"/>
              </a:rPr>
              <a:t>While you’re there, use our self-assessment to determine where your institution is on the road to advising success.</a:t>
            </a:r>
            <a:endParaRPr lang="en-US" dirty="0" smtClean="0">
              <a:solidFill>
                <a:schemeClr val="tx1"/>
              </a:solidFill>
              <a:latin typeface="+mn-lt"/>
              <a:cs typeface="+mn-cs"/>
            </a:endParaRPr>
          </a:p>
          <a:p>
            <a:pPr marL="0"/>
            <a:endParaRPr lang="en-US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0"/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Sign 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up for our monthly “snapshot” at </a:t>
            </a:r>
            <a:r>
              <a:rPr lang="en-US" b="1" dirty="0">
                <a:solidFill>
                  <a:srgbClr val="0070C0"/>
                </a:solidFill>
                <a:hlinkClick r:id="rId5"/>
              </a:rPr>
              <a:t>tytonpartners.com</a:t>
            </a:r>
            <a:endParaRPr lang="en-US" b="1" dirty="0">
              <a:solidFill>
                <a:srgbClr val="0070C0"/>
              </a:solidFill>
            </a:endParaRPr>
          </a:p>
          <a:p>
            <a:pPr marL="0"/>
            <a:endParaRPr lang="en-US" b="1" dirty="0">
              <a:solidFill>
                <a:srgbClr val="0070C0"/>
              </a:solidFill>
            </a:endParaRPr>
          </a:p>
          <a:p>
            <a:pPr marL="0"/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Follow us </a:t>
            </a:r>
            <a:r>
              <a:rPr lang="en-US" dirty="0" smtClean="0">
                <a:solidFill>
                  <a:schemeClr val="tx1"/>
                </a:solidFill>
                <a:latin typeface="+mn-lt"/>
                <a:cs typeface="+mn-cs"/>
              </a:rPr>
              <a:t>on           </a:t>
            </a:r>
            <a:r>
              <a:rPr lang="en-US" b="1" dirty="0" smtClean="0">
                <a:solidFill>
                  <a:srgbClr val="0070C0"/>
                </a:solidFill>
                <a:hlinkClick r:id="rId6"/>
              </a:rPr>
              <a:t>@</a:t>
            </a:r>
            <a:r>
              <a:rPr lang="en-US" b="1" dirty="0">
                <a:solidFill>
                  <a:srgbClr val="0070C0"/>
                </a:solidFill>
                <a:hlinkClick r:id="rId6"/>
              </a:rPr>
              <a:t>tytonpartners</a:t>
            </a:r>
            <a:endParaRPr lang="en-US" b="1" dirty="0">
              <a:solidFill>
                <a:srgbClr val="0070C0"/>
              </a:solidFill>
            </a:endParaRPr>
          </a:p>
          <a:p>
            <a:pPr marL="0"/>
            <a:endParaRPr lang="en-US" dirty="0">
              <a:solidFill>
                <a:srgbClr val="FF0000"/>
              </a:solidFill>
              <a:latin typeface="+mn-lt"/>
            </a:endParaRPr>
          </a:p>
          <a:p>
            <a:pPr marL="0"/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Upcoming events:</a:t>
            </a:r>
          </a:p>
          <a:p>
            <a:pPr marL="0"/>
            <a:endParaRPr lang="en-US" b="1" dirty="0">
              <a:solidFill>
                <a:schemeClr val="tx1"/>
              </a:solidFill>
              <a:latin typeface="+mn-lt"/>
              <a:cs typeface="+mn-cs"/>
            </a:endParaRPr>
          </a:p>
          <a:p>
            <a:pPr lvl="1">
              <a:buFont typeface="Arial" charset="0"/>
              <a:buChar char="•"/>
            </a:pPr>
            <a:endParaRPr lang="en-US" sz="1600" dirty="0">
              <a:latin typeface="+mn-lt"/>
            </a:endParaRPr>
          </a:p>
          <a:p>
            <a:pPr lvl="1">
              <a:buFont typeface="Arial" charset="0"/>
              <a:buChar char="•"/>
            </a:pPr>
            <a:endParaRPr lang="en-US" sz="160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Want to Learn More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Brand Exposu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1984210" y="4888590"/>
            <a:ext cx="67633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/>
              <a:t>Tyton</a:t>
            </a:r>
            <a:r>
              <a:rPr lang="en-US" sz="1400" dirty="0"/>
              <a:t> Partners will be presenting in </a:t>
            </a:r>
            <a:r>
              <a:rPr lang="en-US" sz="1400" b="1" dirty="0"/>
              <a:t>Philadelphia, PA</a:t>
            </a:r>
            <a:r>
              <a:rPr lang="en-US" sz="1400" dirty="0"/>
              <a:t>, for the </a:t>
            </a:r>
            <a:r>
              <a:rPr lang="en-US" sz="1400" b="1" u="sng" dirty="0">
                <a:hlinkClick r:id="rId7"/>
              </a:rPr>
              <a:t>2017 EDUCAUSE Annual Conference</a:t>
            </a:r>
            <a:r>
              <a:rPr lang="en-US" sz="1400" dirty="0"/>
              <a:t>, </a:t>
            </a:r>
            <a:r>
              <a:rPr lang="en-US" sz="1400" b="1" dirty="0"/>
              <a:t>October 31</a:t>
            </a:r>
            <a:r>
              <a:rPr lang="en-US" sz="1400" b="1" baseline="30000" dirty="0"/>
              <a:t>st</a:t>
            </a:r>
            <a:r>
              <a:rPr lang="en-US" sz="1400" b="1" dirty="0"/>
              <a:t> to November 3</a:t>
            </a:r>
            <a:r>
              <a:rPr lang="en-US" sz="1400" b="1" baseline="30000" dirty="0"/>
              <a:t>rd</a:t>
            </a:r>
            <a:endParaRPr lang="en-US" sz="1400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66" y="5031678"/>
            <a:ext cx="1221773" cy="27150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094" y="4004939"/>
            <a:ext cx="454312" cy="340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45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61281-BD0D-6F47-BBB8-8F6BE6AA34E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2017 Survey Respondents Demographic Summary</a:t>
            </a:r>
          </a:p>
        </p:txBody>
      </p:sp>
      <p:grpSp>
        <p:nvGrpSpPr>
          <p:cNvPr id="4" name="Group 3"/>
          <p:cNvGrpSpPr/>
          <p:nvPr>
            <p:custDataLst>
              <p:tags r:id="rId2"/>
            </p:custDataLst>
          </p:nvPr>
        </p:nvGrpSpPr>
        <p:grpSpPr>
          <a:xfrm>
            <a:off x="857289" y="2184443"/>
            <a:ext cx="7676916" cy="3825433"/>
            <a:chOff x="857289" y="2184443"/>
            <a:chExt cx="7676916" cy="3825433"/>
          </a:xfrm>
        </p:grpSpPr>
        <p:sp>
          <p:nvSpPr>
            <p:cNvPr id="27" name="Rectangle 26"/>
            <p:cNvSpPr/>
            <p:nvPr>
              <p:custDataLst>
                <p:tags r:id="rId3"/>
              </p:custDataLst>
            </p:nvPr>
          </p:nvSpPr>
          <p:spPr bwMode="gray">
            <a:xfrm>
              <a:off x="3896068" y="3256931"/>
              <a:ext cx="1599358" cy="108729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8" name="Rectangle 27"/>
            <p:cNvSpPr/>
            <p:nvPr>
              <p:custDataLst>
                <p:tags r:id="rId4"/>
              </p:custDataLst>
            </p:nvPr>
          </p:nvSpPr>
          <p:spPr bwMode="gray">
            <a:xfrm>
              <a:off x="1337097" y="4993993"/>
              <a:ext cx="1599357" cy="790800"/>
            </a:xfrm>
            <a:prstGeom prst="rect">
              <a:avLst/>
            </a:prstGeom>
            <a:solidFill>
              <a:schemeClr val="accent6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29" name="Rectangle 28"/>
            <p:cNvSpPr/>
            <p:nvPr>
              <p:custDataLst>
                <p:tags r:id="rId5"/>
              </p:custDataLst>
            </p:nvPr>
          </p:nvSpPr>
          <p:spPr bwMode="gray">
            <a:xfrm>
              <a:off x="6455040" y="3583656"/>
              <a:ext cx="1599357" cy="529250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0" name="Rectangle 29"/>
            <p:cNvSpPr/>
            <p:nvPr>
              <p:custDataLst>
                <p:tags r:id="rId6"/>
              </p:custDataLst>
            </p:nvPr>
          </p:nvSpPr>
          <p:spPr bwMode="gray">
            <a:xfrm>
              <a:off x="6455040" y="5182262"/>
              <a:ext cx="1599357" cy="255125"/>
            </a:xfrm>
            <a:prstGeom prst="rect">
              <a:avLst/>
            </a:prstGeom>
            <a:solidFill>
              <a:schemeClr val="accent6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1" name="Rectangle 30"/>
            <p:cNvSpPr/>
            <p:nvPr>
              <p:custDataLst>
                <p:tags r:id="rId7"/>
              </p:custDataLst>
            </p:nvPr>
          </p:nvSpPr>
          <p:spPr bwMode="gray">
            <a:xfrm>
              <a:off x="3896068" y="4526342"/>
              <a:ext cx="1599358" cy="472971"/>
            </a:xfrm>
            <a:prstGeom prst="rect">
              <a:avLst/>
            </a:prstGeom>
            <a:solidFill>
              <a:schemeClr val="accent6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2" name="Rectangle 31"/>
            <p:cNvSpPr/>
            <p:nvPr>
              <p:custDataLst>
                <p:tags r:id="rId8"/>
              </p:custDataLst>
            </p:nvPr>
          </p:nvSpPr>
          <p:spPr bwMode="gray">
            <a:xfrm>
              <a:off x="1337097" y="3628013"/>
              <a:ext cx="1599357" cy="253565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3" name="Rectangle 32"/>
            <p:cNvSpPr/>
            <p:nvPr>
              <p:custDataLst>
                <p:tags r:id="rId9"/>
              </p:custDataLst>
            </p:nvPr>
          </p:nvSpPr>
          <p:spPr bwMode="gray">
            <a:xfrm>
              <a:off x="3896068" y="5412482"/>
              <a:ext cx="1599358" cy="372310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4" name="Rectangle 33"/>
            <p:cNvSpPr/>
            <p:nvPr>
              <p:custDataLst>
                <p:tags r:id="rId10"/>
              </p:custDataLst>
            </p:nvPr>
          </p:nvSpPr>
          <p:spPr bwMode="gray">
            <a:xfrm>
              <a:off x="3896068" y="3920178"/>
              <a:ext cx="1599358" cy="606164"/>
            </a:xfrm>
            <a:prstGeom prst="rect">
              <a:avLst/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5" name="Rectangle 34"/>
            <p:cNvSpPr/>
            <p:nvPr>
              <p:custDataLst>
                <p:tags r:id="rId11"/>
              </p:custDataLst>
            </p:nvPr>
          </p:nvSpPr>
          <p:spPr bwMode="gray">
            <a:xfrm>
              <a:off x="6455040" y="4112905"/>
              <a:ext cx="1599357" cy="507537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6" name="Rectangle 35"/>
            <p:cNvSpPr/>
            <p:nvPr>
              <p:custDataLst>
                <p:tags r:id="rId12"/>
              </p:custDataLst>
            </p:nvPr>
          </p:nvSpPr>
          <p:spPr bwMode="gray">
            <a:xfrm>
              <a:off x="1337097" y="4745881"/>
              <a:ext cx="1599357" cy="248112"/>
            </a:xfrm>
            <a:prstGeom prst="rect">
              <a:avLst/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7" name="Rectangle 36"/>
            <p:cNvSpPr/>
            <p:nvPr>
              <p:custDataLst>
                <p:tags r:id="rId13"/>
              </p:custDataLst>
            </p:nvPr>
          </p:nvSpPr>
          <p:spPr bwMode="gray">
            <a:xfrm>
              <a:off x="1337097" y="3881579"/>
              <a:ext cx="1599357" cy="864302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14"/>
              </p:custDataLst>
            </p:nvPr>
          </p:nvSpPr>
          <p:spPr bwMode="gray">
            <a:xfrm>
              <a:off x="6455040" y="4620443"/>
              <a:ext cx="1599357" cy="561819"/>
            </a:xfrm>
            <a:prstGeom prst="rect">
              <a:avLst/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39" name="Rectangle 38"/>
            <p:cNvSpPr/>
            <p:nvPr>
              <p:custDataLst>
                <p:tags r:id="rId15"/>
              </p:custDataLst>
            </p:nvPr>
          </p:nvSpPr>
          <p:spPr bwMode="gray">
            <a:xfrm>
              <a:off x="3896068" y="3365660"/>
              <a:ext cx="1599358" cy="554518"/>
            </a:xfrm>
            <a:prstGeom prst="rect">
              <a:avLst/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0" name="Rectangle 39"/>
            <p:cNvSpPr/>
            <p:nvPr>
              <p:custDataLst>
                <p:tags r:id="rId16"/>
              </p:custDataLst>
            </p:nvPr>
          </p:nvSpPr>
          <p:spPr bwMode="gray">
            <a:xfrm>
              <a:off x="1337097" y="2204891"/>
              <a:ext cx="1599357" cy="986881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1" name="Rectangle 40"/>
            <p:cNvSpPr/>
            <p:nvPr>
              <p:custDataLst>
                <p:tags r:id="rId17"/>
              </p:custDataLst>
            </p:nvPr>
          </p:nvSpPr>
          <p:spPr bwMode="gray">
            <a:xfrm>
              <a:off x="1337097" y="3191773"/>
              <a:ext cx="1599357" cy="436241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2" name="Rectangle 41"/>
            <p:cNvSpPr/>
            <p:nvPr>
              <p:custDataLst>
                <p:tags r:id="rId18"/>
              </p:custDataLst>
            </p:nvPr>
          </p:nvSpPr>
          <p:spPr bwMode="gray">
            <a:xfrm>
              <a:off x="3896068" y="2204979"/>
              <a:ext cx="1599358" cy="71489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3" name="Rectangle 42"/>
            <p:cNvSpPr/>
            <p:nvPr>
              <p:custDataLst>
                <p:tags r:id="rId19"/>
              </p:custDataLst>
            </p:nvPr>
          </p:nvSpPr>
          <p:spPr bwMode="gray">
            <a:xfrm>
              <a:off x="6455040" y="2204891"/>
              <a:ext cx="1599357" cy="282267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4" name="Rectangle 43"/>
            <p:cNvSpPr/>
            <p:nvPr>
              <p:custDataLst>
                <p:tags r:id="rId20"/>
              </p:custDataLst>
            </p:nvPr>
          </p:nvSpPr>
          <p:spPr bwMode="gray">
            <a:xfrm>
              <a:off x="3896068" y="2919871"/>
              <a:ext cx="1599358" cy="337060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5" name="Rectangle 44"/>
            <p:cNvSpPr/>
            <p:nvPr>
              <p:custDataLst>
                <p:tags r:id="rId21"/>
              </p:custDataLst>
            </p:nvPr>
          </p:nvSpPr>
          <p:spPr bwMode="gray">
            <a:xfrm>
              <a:off x="6455040" y="5437387"/>
              <a:ext cx="1599357" cy="347405"/>
            </a:xfrm>
            <a:prstGeom prst="rect">
              <a:avLst/>
            </a:prstGeom>
            <a:solidFill>
              <a:schemeClr val="tx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6" name="Rectangle 45"/>
            <p:cNvSpPr/>
            <p:nvPr>
              <p:custDataLst>
                <p:tags r:id="rId22"/>
              </p:custDataLst>
            </p:nvPr>
          </p:nvSpPr>
          <p:spPr bwMode="gray">
            <a:xfrm>
              <a:off x="6455040" y="2487158"/>
              <a:ext cx="1599357" cy="1096497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sp>
          <p:nvSpPr>
            <p:cNvPr id="47" name="Rectangle 46"/>
            <p:cNvSpPr/>
            <p:nvPr>
              <p:custDataLst>
                <p:tags r:id="rId23"/>
              </p:custDataLst>
            </p:nvPr>
          </p:nvSpPr>
          <p:spPr bwMode="gray">
            <a:xfrm>
              <a:off x="3896068" y="4999313"/>
              <a:ext cx="1599358" cy="413170"/>
            </a:xfrm>
            <a:prstGeom prst="rect">
              <a:avLst/>
            </a:prstGeom>
            <a:solidFill>
              <a:schemeClr val="tx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50">
                <a:effectLst/>
              </a:endParaRPr>
            </a:p>
          </p:txBody>
        </p:sp>
        <p:cxnSp>
          <p:nvCxnSpPr>
            <p:cNvPr id="2" name="Straight Connector 1"/>
            <p:cNvCxnSpPr/>
            <p:nvPr>
              <p:custDataLst>
                <p:tags r:id="rId24"/>
              </p:custDataLst>
            </p:nvPr>
          </p:nvCxnSpPr>
          <p:spPr bwMode="gray">
            <a:xfrm>
              <a:off x="857289" y="5784793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4537199" y="5848293"/>
              <a:ext cx="317096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Role</a:t>
              </a:r>
            </a:p>
          </p:txBody>
        </p:sp>
        <p:sp>
          <p:nvSpPr>
            <p:cNvPr id="50" name="TextBox 49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6729083" y="5848293"/>
              <a:ext cx="1051271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Years in Position</a:t>
              </a:r>
            </a:p>
          </p:txBody>
        </p:sp>
        <p:sp>
          <p:nvSpPr>
            <p:cNvPr id="51" name="TextBox 50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644803" y="5848293"/>
              <a:ext cx="983945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Functional Area</a:t>
              </a:r>
            </a:p>
          </p:txBody>
        </p:sp>
        <p:sp>
          <p:nvSpPr>
            <p:cNvPr id="52" name="TextBox 51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6922244" y="5530298"/>
              <a:ext cx="664948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&gt;20 (10%)</a:t>
              </a:r>
            </a:p>
          </p:txBody>
        </p:sp>
        <p:sp>
          <p:nvSpPr>
            <p:cNvPr id="53" name="TextBox 52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4309573" y="5517846"/>
              <a:ext cx="772349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Other (10%)</a:t>
              </a:r>
            </a:p>
          </p:txBody>
        </p:sp>
        <p:sp>
          <p:nvSpPr>
            <p:cNvPr id="54" name="TextBox 53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4210989" y="4963524"/>
              <a:ext cx="969517" cy="484748"/>
            </a:xfrm>
            <a:prstGeom prst="rect">
              <a:avLst/>
            </a:prstGeom>
            <a:solidFill>
              <a:schemeClr val="tx2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dirty="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Faculty w/ </a:t>
              </a:r>
            </a:p>
            <a:p>
              <a:pPr algn="ctr"/>
              <a:r>
                <a:rPr lang="en-US" sz="1050" dirty="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Advising Duties</a:t>
              </a:r>
            </a:p>
            <a:p>
              <a:pPr algn="ctr"/>
              <a:r>
                <a:rPr lang="en-US" sz="1050" dirty="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2%)</a:t>
              </a:r>
              <a:endParaRPr lang="en-US" sz="1050" dirty="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55" name="TextBox 54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1514959" y="3674004"/>
              <a:ext cx="1243631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Student Affairs (7%)</a:t>
              </a:r>
            </a:p>
          </p:txBody>
        </p:sp>
        <p:sp>
          <p:nvSpPr>
            <p:cNvPr id="56" name="TextBox 55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7055294" y="2873824"/>
              <a:ext cx="398848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-3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31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57" name="TextBox 56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7055294" y="3686698"/>
              <a:ext cx="398848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-5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5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58" name="TextBox 57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4287131" y="3230505"/>
              <a:ext cx="817233" cy="161583"/>
            </a:xfrm>
            <a:prstGeom prst="rect">
              <a:avLst/>
            </a:prstGeom>
            <a:solidFill>
              <a:schemeClr val="accent3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solidFill>
                    <a:schemeClr val="bg1"/>
                  </a:solidFill>
                  <a:effectLst/>
                  <a:ea typeface="ＭＳ Ｐゴシック" charset="-128"/>
                </a:rPr>
                <a:t>Provost (3%)</a:t>
              </a:r>
            </a:p>
          </p:txBody>
        </p:sp>
        <p:sp>
          <p:nvSpPr>
            <p:cNvPr id="59" name="TextBox 58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4290337" y="2926819"/>
              <a:ext cx="810821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Primary-role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Advisor (9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60" name="TextBox 59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4365678" y="2320052"/>
              <a:ext cx="660138" cy="48474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a typeface="ＭＳ Ｐゴシック" charset="-128"/>
                </a:rPr>
                <a:t>Director of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a typeface="ＭＳ Ｐゴシック" charset="-128"/>
                </a:rPr>
                <a:t>Advising 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a typeface="ＭＳ Ｐゴシック" charset="-128"/>
                </a:rPr>
                <a:t>(20%)</a:t>
              </a:r>
              <a:endParaRPr lang="en-US" sz="1050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61" name="TextBox 60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821133" y="2455958"/>
              <a:ext cx="631284" cy="48474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Academic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Advising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28%)</a:t>
              </a:r>
              <a:endParaRPr lang="en-US" sz="1050" dirty="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62" name="TextBox 61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1630375" y="3167519"/>
              <a:ext cx="1012799" cy="484748"/>
            </a:xfrm>
            <a:prstGeom prst="rect">
              <a:avLst/>
            </a:prstGeom>
            <a:solidFill>
              <a:schemeClr val="accent2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Student Support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Services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2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63" name="TextBox 62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7092965" y="2184443"/>
              <a:ext cx="323508" cy="323165"/>
            </a:xfrm>
            <a:prstGeom prst="rect">
              <a:avLst/>
            </a:prstGeom>
            <a:solidFill>
              <a:schemeClr val="accent1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&lt;1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8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64" name="TextBox 63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1937351" y="5227810"/>
              <a:ext cx="398848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Other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22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5" name="TextBox 64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7055294" y="4739770"/>
              <a:ext cx="398848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10-15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16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6" name="TextBox 65"/>
            <p:cNvSpPr txBox="1"/>
            <p:nvPr>
              <p:custDataLst>
                <p:tags r:id="rId42"/>
              </p:custDataLst>
            </p:nvPr>
          </p:nvSpPr>
          <p:spPr bwMode="gray">
            <a:xfrm>
              <a:off x="6901406" y="5229033"/>
              <a:ext cx="706625" cy="161583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>
                  <a:effectLst/>
                  <a:ea typeface="ＭＳ Ｐゴシック" charset="-128"/>
                </a:rPr>
                <a:t>16-20 (7%)</a:t>
              </a:r>
            </a:p>
          </p:txBody>
        </p:sp>
        <p:sp>
          <p:nvSpPr>
            <p:cNvPr id="67" name="TextBox 66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4440218" y="4601245"/>
              <a:ext cx="511059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6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Director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13%)</a:t>
              </a:r>
              <a:endParaRPr lang="en-US" sz="1050" dirty="0">
                <a:effectLst/>
                <a:ea typeface="ＭＳ Ｐゴシック" charset="-128"/>
              </a:endParaRPr>
            </a:p>
          </p:txBody>
        </p:sp>
        <p:sp>
          <p:nvSpPr>
            <p:cNvPr id="68" name="TextBox 67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4496324" y="4061678"/>
              <a:ext cx="398848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5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Dean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(17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69" name="TextBox 68"/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4223011" y="3400545"/>
              <a:ext cx="945473" cy="484748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Vice President/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Vice Provost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5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70" name="TextBox 69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1765028" y="3990565"/>
              <a:ext cx="743494" cy="64633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4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Academic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Program/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Department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24%)</a:t>
              </a:r>
              <a:endParaRPr lang="en-US" sz="1050" dirty="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71" name="TextBox 70"/>
            <p:cNvSpPr txBox="1"/>
            <p:nvPr>
              <p:custDataLst>
                <p:tags r:id="rId47"/>
              </p:custDataLst>
            </p:nvPr>
          </p:nvSpPr>
          <p:spPr bwMode="gray">
            <a:xfrm>
              <a:off x="1769837" y="4708354"/>
              <a:ext cx="733876" cy="323165"/>
            </a:xfrm>
            <a:prstGeom prst="rect">
              <a:avLst/>
            </a:prstGeom>
            <a:solidFill>
              <a:schemeClr val="accent5"/>
            </a:solidFill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Enrollment</a:t>
              </a:r>
            </a:p>
            <a:p>
              <a:pPr algn="ctr"/>
              <a:r>
                <a:rPr lang="en-US" sz="1050" smtClean="0">
                  <a:effectLst/>
                  <a:ea typeface="ＭＳ Ｐゴシック" charset="-128"/>
                </a:rPr>
                <a:t>Mgmt. (7%)</a:t>
              </a:r>
              <a:endParaRPr lang="en-US" sz="1050">
                <a:effectLst/>
                <a:ea typeface="ＭＳ Ｐゴシック" charset="-128"/>
              </a:endParaRPr>
            </a:p>
          </p:txBody>
        </p:sp>
        <p:sp>
          <p:nvSpPr>
            <p:cNvPr id="72" name="TextBox 71"/>
            <p:cNvSpPr txBox="1"/>
            <p:nvPr>
              <p:custDataLst>
                <p:tags r:id="rId48"/>
              </p:custDataLst>
            </p:nvPr>
          </p:nvSpPr>
          <p:spPr bwMode="gray">
            <a:xfrm>
              <a:off x="7055294" y="4205092"/>
              <a:ext cx="398848" cy="323165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18902" tIns="0" rIns="18902" bIns="0" rtlCol="0" anchor="ctr">
              <a:spAutoFit/>
            </a:bodyPr>
            <a:lstStyle/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6-9</a:t>
              </a:r>
            </a:p>
            <a:p>
              <a:pPr algn="ctr"/>
              <a:r>
                <a:rPr lang="en-US" sz="105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(14%)</a:t>
              </a:r>
              <a:endParaRPr lang="en-US" sz="105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526142" y="1213439"/>
            <a:ext cx="80659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Survey </a:t>
            </a:r>
            <a:r>
              <a:rPr lang="en-US" sz="1600" b="1" dirty="0" smtClean="0"/>
              <a:t>respondents </a:t>
            </a:r>
            <a:r>
              <a:rPr lang="en-US" sz="1600" b="1" dirty="0"/>
              <a:t>by </a:t>
            </a:r>
            <a:r>
              <a:rPr lang="en-US" sz="1600" b="1" dirty="0" smtClean="0"/>
              <a:t>functional </a:t>
            </a:r>
            <a:r>
              <a:rPr lang="en-US" sz="1600" b="1" dirty="0"/>
              <a:t>a</a:t>
            </a:r>
            <a:r>
              <a:rPr lang="en-US" sz="1600" b="1" dirty="0" smtClean="0"/>
              <a:t>rea</a:t>
            </a:r>
            <a:r>
              <a:rPr lang="en-US" sz="1600" b="1" dirty="0"/>
              <a:t>, </a:t>
            </a:r>
            <a:r>
              <a:rPr lang="en-US" sz="1600" b="1" dirty="0" smtClean="0"/>
              <a:t>title</a:t>
            </a:r>
            <a:r>
              <a:rPr lang="en-US" sz="1600" b="1" dirty="0"/>
              <a:t>, and </a:t>
            </a:r>
            <a:r>
              <a:rPr lang="en-US" sz="1600" b="1" dirty="0" smtClean="0"/>
              <a:t>years </a:t>
            </a:r>
            <a:r>
              <a:rPr lang="en-US" sz="1600" b="1" dirty="0"/>
              <a:t>in p</a:t>
            </a:r>
            <a:r>
              <a:rPr lang="en-US" sz="1600" b="1" dirty="0" smtClean="0"/>
              <a:t>osition</a:t>
            </a:r>
            <a:endParaRPr lang="en-US" sz="16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95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ce 2015, </a:t>
            </a:r>
            <a:r>
              <a:rPr lang="en-US" dirty="0" smtClean="0"/>
              <a:t>All Types </a:t>
            </a:r>
            <a:r>
              <a:rPr lang="en-US" dirty="0"/>
              <a:t>of Institutions Report Increases in Advising Success</a:t>
            </a:r>
          </a:p>
        </p:txBody>
      </p:sp>
      <p:grpSp>
        <p:nvGrpSpPr>
          <p:cNvPr id="52" name="Group 51"/>
          <p:cNvGrpSpPr/>
          <p:nvPr>
            <p:custDataLst>
              <p:tags r:id="rId2"/>
            </p:custDataLst>
          </p:nvPr>
        </p:nvGrpSpPr>
        <p:grpSpPr>
          <a:xfrm>
            <a:off x="469010" y="1808762"/>
            <a:ext cx="8074965" cy="3475080"/>
            <a:chOff x="469010" y="1808762"/>
            <a:chExt cx="8074965" cy="3475080"/>
          </a:xfrm>
        </p:grpSpPr>
        <p:sp>
          <p:nvSpPr>
            <p:cNvPr id="4" name="Rectangle 3"/>
            <p:cNvSpPr/>
            <p:nvPr>
              <p:custDataLst>
                <p:tags r:id="rId3"/>
              </p:custDataLst>
            </p:nvPr>
          </p:nvSpPr>
          <p:spPr bwMode="gray">
            <a:xfrm>
              <a:off x="2146545" y="2770952"/>
              <a:ext cx="984220" cy="1966186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sp>
          <p:nvSpPr>
            <p:cNvPr id="5" name="Rectangle 4"/>
            <p:cNvSpPr/>
            <p:nvPr>
              <p:custDataLst>
                <p:tags r:id="rId4"/>
              </p:custDataLst>
            </p:nvPr>
          </p:nvSpPr>
          <p:spPr bwMode="gray">
            <a:xfrm>
              <a:off x="6280269" y="3420805"/>
              <a:ext cx="984220" cy="1316333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sp>
          <p:nvSpPr>
            <p:cNvPr id="6" name="Rectangle 5"/>
            <p:cNvSpPr/>
            <p:nvPr>
              <p:custDataLst>
                <p:tags r:id="rId5"/>
              </p:custDataLst>
            </p:nvPr>
          </p:nvSpPr>
          <p:spPr bwMode="gray">
            <a:xfrm>
              <a:off x="7264489" y="2746704"/>
              <a:ext cx="984221" cy="1990434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sp>
          <p:nvSpPr>
            <p:cNvPr id="9" name="Rectangle 8"/>
            <p:cNvSpPr/>
            <p:nvPr>
              <p:custDataLst>
                <p:tags r:id="rId6"/>
              </p:custDataLst>
            </p:nvPr>
          </p:nvSpPr>
          <p:spPr bwMode="gray">
            <a:xfrm>
              <a:off x="3721298" y="3799354"/>
              <a:ext cx="984220" cy="937785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sp>
          <p:nvSpPr>
            <p:cNvPr id="8" name="Rectangle 7"/>
            <p:cNvSpPr/>
            <p:nvPr>
              <p:custDataLst>
                <p:tags r:id="rId7"/>
              </p:custDataLst>
            </p:nvPr>
          </p:nvSpPr>
          <p:spPr bwMode="gray">
            <a:xfrm>
              <a:off x="1162325" y="3865912"/>
              <a:ext cx="984220" cy="871226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sp>
          <p:nvSpPr>
            <p:cNvPr id="7" name="Rectangle 6"/>
            <p:cNvSpPr/>
            <p:nvPr>
              <p:custDataLst>
                <p:tags r:id="rId8"/>
              </p:custDataLst>
            </p:nvPr>
          </p:nvSpPr>
          <p:spPr bwMode="gray">
            <a:xfrm>
              <a:off x="4705518" y="3063408"/>
              <a:ext cx="984220" cy="1673730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cxnSp>
          <p:nvCxnSpPr>
            <p:cNvPr id="41" name="Straight Connector 40"/>
            <p:cNvCxnSpPr/>
            <p:nvPr>
              <p:custDataLst>
                <p:tags r:id="rId9"/>
              </p:custDataLst>
            </p:nvPr>
          </p:nvCxnSpPr>
          <p:spPr bwMode="gray">
            <a:xfrm>
              <a:off x="867059" y="4737140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>
              <p:custDataLst>
                <p:tags r:id="rId10"/>
              </p:custDataLst>
            </p:nvPr>
          </p:nvCxnSpPr>
          <p:spPr bwMode="gray">
            <a:xfrm flipV="1">
              <a:off x="867059" y="1901095"/>
              <a:ext cx="0" cy="2836045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>
              <p:custDataLst>
                <p:tags r:id="rId11"/>
              </p:custDataLst>
            </p:nvPr>
          </p:nvCxnSpPr>
          <p:spPr bwMode="gray">
            <a:xfrm flipH="1">
              <a:off x="816259" y="4737140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>
              <p:custDataLst>
                <p:tags r:id="rId12"/>
              </p:custDataLst>
            </p:nvPr>
          </p:nvCxnSpPr>
          <p:spPr bwMode="gray">
            <a:xfrm flipH="1">
              <a:off x="816259" y="4169930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>
              <p:custDataLst>
                <p:tags r:id="rId13"/>
              </p:custDataLst>
            </p:nvPr>
          </p:nvCxnSpPr>
          <p:spPr bwMode="gray">
            <a:xfrm flipH="1">
              <a:off x="816259" y="246830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>
              <p:custDataLst>
                <p:tags r:id="rId14"/>
              </p:custDataLst>
            </p:nvPr>
          </p:nvCxnSpPr>
          <p:spPr bwMode="gray">
            <a:xfrm flipH="1">
              <a:off x="816259" y="1901095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>
              <p:custDataLst>
                <p:tags r:id="rId15"/>
              </p:custDataLst>
            </p:nvPr>
          </p:nvCxnSpPr>
          <p:spPr bwMode="gray">
            <a:xfrm flipH="1">
              <a:off x="816259" y="360272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>
              <p:custDataLst>
                <p:tags r:id="rId16"/>
              </p:custDataLst>
            </p:nvPr>
          </p:nvCxnSpPr>
          <p:spPr bwMode="gray">
            <a:xfrm flipH="1">
              <a:off x="816259" y="303551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>
              <p:custDataLst>
                <p:tags r:id="rId17"/>
              </p:custDataLst>
            </p:nvPr>
          </p:nvCxnSpPr>
          <p:spPr bwMode="gray">
            <a:xfrm flipV="1">
              <a:off x="4213408" y="3068620"/>
              <a:ext cx="984219" cy="735946"/>
            </a:xfrm>
            <a:prstGeom prst="line">
              <a:avLst/>
            </a:prstGeom>
            <a:ln cmpd="sng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>
              <p:custDataLst>
                <p:tags r:id="rId18"/>
              </p:custDataLst>
            </p:nvPr>
          </p:nvCxnSpPr>
          <p:spPr bwMode="gray">
            <a:xfrm flipV="1">
              <a:off x="6772379" y="2763300"/>
              <a:ext cx="984220" cy="674100"/>
            </a:xfrm>
            <a:prstGeom prst="line">
              <a:avLst/>
            </a:prstGeom>
            <a:ln cmpd="sng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>
              <p:custDataLst>
                <p:tags r:id="rId19"/>
              </p:custDataLst>
            </p:nvPr>
          </p:nvCxnSpPr>
          <p:spPr bwMode="gray">
            <a:xfrm flipV="1">
              <a:off x="1654435" y="2792040"/>
              <a:ext cx="984220" cy="1094962"/>
            </a:xfrm>
            <a:prstGeom prst="line">
              <a:avLst/>
            </a:prstGeom>
            <a:ln cmpd="sng">
              <a:solidFill>
                <a:schemeClr val="tx1"/>
              </a:solidFill>
              <a:headEnd type="none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469010" y="351038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%</a:t>
              </a:r>
            </a:p>
          </p:txBody>
        </p:sp>
        <p:sp>
          <p:nvSpPr>
            <p:cNvPr id="18" name="TextBox 17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469010" y="407759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0%</a:t>
              </a:r>
            </a:p>
          </p:txBody>
        </p:sp>
        <p:sp>
          <p:nvSpPr>
            <p:cNvPr id="19" name="TextBox 18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53969" y="4644806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0%</a:t>
              </a:r>
            </a:p>
          </p:txBody>
        </p:sp>
        <p:sp>
          <p:nvSpPr>
            <p:cNvPr id="21" name="TextBox 20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69010" y="1808762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50%</a:t>
              </a:r>
            </a:p>
          </p:txBody>
        </p:sp>
        <p:sp>
          <p:nvSpPr>
            <p:cNvPr id="20" name="TextBox 19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469010" y="237597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0%</a:t>
              </a:r>
            </a:p>
          </p:txBody>
        </p:sp>
        <p:sp>
          <p:nvSpPr>
            <p:cNvPr id="23" name="TextBox 22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469010" y="294317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0%</a:t>
              </a:r>
            </a:p>
          </p:txBody>
        </p:sp>
        <p:sp>
          <p:nvSpPr>
            <p:cNvPr id="25" name="TextBox 24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4230631" y="4800640"/>
              <a:ext cx="94977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 smtClean="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-Year Public</a:t>
              </a:r>
              <a:endParaRPr lang="en-US" sz="120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6759145" y="4800640"/>
              <a:ext cx="101068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 smtClean="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4-Year Private</a:t>
              </a:r>
              <a:endParaRPr lang="en-US" sz="120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1901689" y="4800640"/>
              <a:ext cx="48971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pPr algn="ctr"/>
              <a:r>
                <a:rPr lang="en-US" sz="1200" smtClean="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-Year</a:t>
              </a:r>
              <a:endParaRPr lang="en-US" sz="120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27" name="TextBox 26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3979138" y="4145136"/>
              <a:ext cx="468540" cy="24622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7%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1420165" y="4178415"/>
              <a:ext cx="468540" cy="24622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15%</a:t>
              </a:r>
            </a:p>
          </p:txBody>
        </p:sp>
        <p:sp>
          <p:nvSpPr>
            <p:cNvPr id="31" name="TextBox 30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4963358" y="3777162"/>
              <a:ext cx="468540" cy="24622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0%</a:t>
              </a:r>
            </a:p>
          </p:txBody>
        </p:sp>
        <p:sp>
          <p:nvSpPr>
            <p:cNvPr id="30" name="TextBox 29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7522328" y="3618811"/>
              <a:ext cx="468540" cy="24622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5%</a:t>
              </a:r>
            </a:p>
          </p:txBody>
        </p:sp>
        <p:sp>
          <p:nvSpPr>
            <p:cNvPr id="29" name="TextBox 28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6538109" y="3955862"/>
              <a:ext cx="468540" cy="24622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3%</a:t>
              </a:r>
            </a:p>
          </p:txBody>
        </p:sp>
        <p:sp>
          <p:nvSpPr>
            <p:cNvPr id="32" name="TextBox 31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2404385" y="3630935"/>
              <a:ext cx="468540" cy="246221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8804" tIns="0" rIns="28804" bIns="0" rtlCol="0" anchor="ctr">
              <a:spAutoFit/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35%</a:t>
              </a:r>
            </a:p>
          </p:txBody>
        </p:sp>
        <p:sp>
          <p:nvSpPr>
            <p:cNvPr id="33" name="TextBox 32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5671979" y="5099176"/>
              <a:ext cx="38346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17</a:t>
              </a:r>
            </a:p>
          </p:txBody>
        </p:sp>
        <p:sp>
          <p:nvSpPr>
            <p:cNvPr id="34" name="TextBox 33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3666735" y="5099176"/>
              <a:ext cx="38346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t">
              <a:spAutoFit/>
            </a:bodyPr>
            <a:lstStyle/>
            <a:p>
              <a:r>
                <a:rPr lang="en-US" sz="1200">
                  <a:effectLst/>
                  <a:latin typeface="Arial" panose="020B0604020202020204" pitchFamily="34" charset="0"/>
                  <a:ea typeface="ＭＳ Ｐゴシック" panose="020B0600070205080204" pitchFamily="34" charset="-128"/>
                </a:rPr>
                <a:t>2015</a:t>
              </a:r>
              <a:endParaRPr lang="en-US" sz="1200" dirty="0">
                <a:effectLst/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5" name="Rectangle 34"/>
            <p:cNvSpPr/>
            <p:nvPr>
              <p:custDataLst>
                <p:tags r:id="rId37"/>
              </p:custDataLst>
            </p:nvPr>
          </p:nvSpPr>
          <p:spPr bwMode="gray">
            <a:xfrm>
              <a:off x="5488603" y="5099176"/>
              <a:ext cx="166878" cy="166878"/>
            </a:xfrm>
            <a:prstGeom prst="rect">
              <a:avLst/>
            </a:prstGeom>
            <a:solidFill>
              <a:schemeClr val="accent1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  <p:sp>
          <p:nvSpPr>
            <p:cNvPr id="36" name="Rectangle 35"/>
            <p:cNvSpPr/>
            <p:nvPr>
              <p:custDataLst>
                <p:tags r:id="rId38"/>
              </p:custDataLst>
            </p:nvPr>
          </p:nvSpPr>
          <p:spPr bwMode="gray">
            <a:xfrm>
              <a:off x="3483360" y="5099176"/>
              <a:ext cx="166878" cy="166878"/>
            </a:xfrm>
            <a:prstGeom prst="rect">
              <a:avLst/>
            </a:prstGeom>
            <a:solidFill>
              <a:schemeClr val="accent2"/>
            </a:solidFill>
            <a:ln w="9525" cmpd="sng">
              <a:solidFill>
                <a:schemeClr val="bg1"/>
              </a:solidFill>
              <a:prstDash val="soli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1007625" y="1344042"/>
            <a:ext cx="72410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/>
              <a:t>Overall, my institution successfully achieves an ideal advising situation.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98283" y="1447086"/>
            <a:ext cx="764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% Agree</a:t>
            </a:r>
          </a:p>
        </p:txBody>
      </p:sp>
      <p:sp>
        <p:nvSpPr>
          <p:cNvPr id="2" name="Rectangle 1"/>
          <p:cNvSpPr/>
          <p:nvPr/>
        </p:nvSpPr>
        <p:spPr>
          <a:xfrm>
            <a:off x="750138" y="5629629"/>
            <a:ext cx="7756637" cy="51603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What is responsible for recent perceived improvements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8889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Redesign Roadmap Highlights Five Key Elements </a:t>
            </a:r>
            <a:br>
              <a:rPr lang="en-US" dirty="0"/>
            </a:br>
            <a:r>
              <a:rPr lang="en-US" dirty="0"/>
              <a:t>to Improve Academic Advis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27430" y="1484643"/>
            <a:ext cx="5063420" cy="478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160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05094" y="6373510"/>
            <a:ext cx="489186" cy="365125"/>
          </a:xfrm>
          <a:prstGeom prst="rect">
            <a:avLst/>
          </a:prstGeom>
        </p:spPr>
        <p:txBody>
          <a:bodyPr/>
          <a:lstStyle/>
          <a:p>
            <a:fld id="{56061281-BD0D-6F47-BBB8-8F6BE6AA34E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/>
          </a:bodyPr>
          <a:lstStyle/>
          <a:p>
            <a:r>
              <a:rPr lang="en-US" dirty="0"/>
              <a:t>60% of Institutions Report Clear Ownership over Academic Advis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552" y="-10294"/>
            <a:ext cx="169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ought Leadership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4" t="10370" r="5921" b="8369"/>
          <a:stretch/>
        </p:blipFill>
        <p:spPr>
          <a:xfrm>
            <a:off x="2027430" y="1484643"/>
            <a:ext cx="5063420" cy="4788505"/>
          </a:xfrm>
          <a:prstGeom prst="rect">
            <a:avLst/>
          </a:prstGeom>
        </p:spPr>
      </p:pic>
      <p:sp>
        <p:nvSpPr>
          <p:cNvPr id="6" name="Freeform 5"/>
          <p:cNvSpPr/>
          <p:nvPr/>
        </p:nvSpPr>
        <p:spPr>
          <a:xfrm>
            <a:off x="1538868" y="2352907"/>
            <a:ext cx="5631366" cy="4003288"/>
          </a:xfrm>
          <a:custGeom>
            <a:avLst/>
            <a:gdLst>
              <a:gd name="connsiteX0" fmla="*/ 4204010 w 5631366"/>
              <a:gd name="connsiteY0" fmla="*/ 0 h 4003288"/>
              <a:gd name="connsiteX1" fmla="*/ 4204010 w 5631366"/>
              <a:gd name="connsiteY1" fmla="*/ 0 h 4003288"/>
              <a:gd name="connsiteX2" fmla="*/ 4192859 w 5631366"/>
              <a:gd name="connsiteY2" fmla="*/ 122664 h 4003288"/>
              <a:gd name="connsiteX3" fmla="*/ 4181708 w 5631366"/>
              <a:gd name="connsiteY3" fmla="*/ 178420 h 4003288"/>
              <a:gd name="connsiteX4" fmla="*/ 4170556 w 5631366"/>
              <a:gd name="connsiteY4" fmla="*/ 245327 h 4003288"/>
              <a:gd name="connsiteX5" fmla="*/ 4181708 w 5631366"/>
              <a:gd name="connsiteY5" fmla="*/ 323386 h 4003288"/>
              <a:gd name="connsiteX6" fmla="*/ 4192859 w 5631366"/>
              <a:gd name="connsiteY6" fmla="*/ 390293 h 4003288"/>
              <a:gd name="connsiteX7" fmla="*/ 3880625 w 5631366"/>
              <a:gd name="connsiteY7" fmla="*/ 501805 h 4003288"/>
              <a:gd name="connsiteX8" fmla="*/ 3044283 w 5631366"/>
              <a:gd name="connsiteY8" fmla="*/ 992459 h 4003288"/>
              <a:gd name="connsiteX9" fmla="*/ 2129883 w 5631366"/>
              <a:gd name="connsiteY9" fmla="*/ 379142 h 4003288"/>
              <a:gd name="connsiteX10" fmla="*/ 2085278 w 5631366"/>
              <a:gd name="connsiteY10" fmla="*/ 167269 h 4003288"/>
              <a:gd name="connsiteX11" fmla="*/ 1795347 w 5631366"/>
              <a:gd name="connsiteY11" fmla="*/ 44605 h 4003288"/>
              <a:gd name="connsiteX12" fmla="*/ 0 w 5631366"/>
              <a:gd name="connsiteY12" fmla="*/ 691376 h 4003288"/>
              <a:gd name="connsiteX13" fmla="*/ 1405054 w 5631366"/>
              <a:gd name="connsiteY13" fmla="*/ 3958683 h 4003288"/>
              <a:gd name="connsiteX14" fmla="*/ 4493942 w 5631366"/>
              <a:gd name="connsiteY14" fmla="*/ 4003288 h 4003288"/>
              <a:gd name="connsiteX15" fmla="*/ 5631366 w 5631366"/>
              <a:gd name="connsiteY15" fmla="*/ 1427356 h 4003288"/>
              <a:gd name="connsiteX16" fmla="*/ 5397191 w 5631366"/>
              <a:gd name="connsiteY16" fmla="*/ 301083 h 4003288"/>
              <a:gd name="connsiteX17" fmla="*/ 4204010 w 5631366"/>
              <a:gd name="connsiteY17" fmla="*/ 0 h 40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631366" h="4003288">
                <a:moveTo>
                  <a:pt x="4204010" y="0"/>
                </a:moveTo>
                <a:lnTo>
                  <a:pt x="4204010" y="0"/>
                </a:lnTo>
                <a:cubicBezTo>
                  <a:pt x="4200293" y="40888"/>
                  <a:pt x="4197951" y="81924"/>
                  <a:pt x="4192859" y="122664"/>
                </a:cubicBezTo>
                <a:cubicBezTo>
                  <a:pt x="4190508" y="141471"/>
                  <a:pt x="4185099" y="159772"/>
                  <a:pt x="4181708" y="178420"/>
                </a:cubicBezTo>
                <a:cubicBezTo>
                  <a:pt x="4177663" y="200665"/>
                  <a:pt x="4174273" y="223025"/>
                  <a:pt x="4170556" y="245327"/>
                </a:cubicBezTo>
                <a:cubicBezTo>
                  <a:pt x="4174273" y="271347"/>
                  <a:pt x="4176553" y="297613"/>
                  <a:pt x="4181708" y="323386"/>
                </a:cubicBezTo>
                <a:cubicBezTo>
                  <a:pt x="4196385" y="396771"/>
                  <a:pt x="4192859" y="317238"/>
                  <a:pt x="4192859" y="390293"/>
                </a:cubicBezTo>
                <a:lnTo>
                  <a:pt x="3880625" y="501805"/>
                </a:lnTo>
                <a:lnTo>
                  <a:pt x="3044283" y="992459"/>
                </a:lnTo>
                <a:lnTo>
                  <a:pt x="2129883" y="379142"/>
                </a:lnTo>
                <a:lnTo>
                  <a:pt x="2085278" y="167269"/>
                </a:lnTo>
                <a:lnTo>
                  <a:pt x="1795347" y="44605"/>
                </a:lnTo>
                <a:lnTo>
                  <a:pt x="0" y="691376"/>
                </a:lnTo>
                <a:lnTo>
                  <a:pt x="1405054" y="3958683"/>
                </a:lnTo>
                <a:lnTo>
                  <a:pt x="4493942" y="4003288"/>
                </a:lnTo>
                <a:lnTo>
                  <a:pt x="5631366" y="1427356"/>
                </a:lnTo>
                <a:lnTo>
                  <a:pt x="5397191" y="301083"/>
                </a:lnTo>
                <a:lnTo>
                  <a:pt x="4204010" y="0"/>
                </a:lnTo>
                <a:close/>
              </a:path>
            </a:pathLst>
          </a:custGeom>
          <a:solidFill>
            <a:schemeClr val="bg1">
              <a:alpha val="6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27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6760653" y="4391509"/>
            <a:ext cx="2231638" cy="124489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 dirty="0" smtClean="0">
                <a:ea typeface="Calibri"/>
                <a:cs typeface="Times New Roman"/>
              </a:rPr>
              <a:t>Self-contained</a:t>
            </a:r>
            <a:r>
              <a:rPr lang="en-US" sz="1400" dirty="0" smtClean="0">
                <a:ea typeface="Calibri"/>
                <a:cs typeface="Times New Roman"/>
              </a:rPr>
              <a:t>: </a:t>
            </a:r>
            <a:r>
              <a:rPr lang="en-US" sz="1400" dirty="0">
                <a:ea typeface="Calibri"/>
                <a:cs typeface="Times New Roman"/>
              </a:rPr>
              <a:t>All advising occurs in a center that is staffed primarily by primary-role advis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 smtClean="0"/>
              <a:t>The Split Organizational Model is Most Popular</a:t>
            </a:r>
            <a:r>
              <a:rPr lang="mr-IN" dirty="0" smtClean="0"/>
              <a:t>…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279486" y="1927184"/>
            <a:ext cx="2689687" cy="101438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 dirty="0" smtClean="0">
                <a:ea typeface="Calibri"/>
                <a:cs typeface="Times New Roman"/>
              </a:rPr>
              <a:t>Split</a:t>
            </a:r>
            <a:r>
              <a:rPr lang="en-US" sz="1400" dirty="0" smtClean="0">
                <a:ea typeface="Calibri"/>
                <a:cs typeface="Times New Roman"/>
              </a:rPr>
              <a:t>: </a:t>
            </a:r>
            <a:r>
              <a:rPr lang="en-US" sz="1400" dirty="0"/>
              <a:t>Faculty advisors and primary-role advisors in an advising center share advising responsibilities</a:t>
            </a:r>
            <a:endParaRPr lang="en-US" sz="1400" dirty="0">
              <a:ea typeface="Calibri"/>
              <a:cs typeface="Times New Roman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37583" y="5586409"/>
            <a:ext cx="3118822" cy="101438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 dirty="0" smtClean="0">
                <a:ea typeface="Calibri"/>
                <a:cs typeface="Times New Roman"/>
              </a:rPr>
              <a:t>Supplementary</a:t>
            </a:r>
            <a:r>
              <a:rPr lang="en-US" sz="1400" dirty="0" smtClean="0">
                <a:ea typeface="Calibri"/>
                <a:cs typeface="Times New Roman"/>
              </a:rPr>
              <a:t>: </a:t>
            </a:r>
            <a:r>
              <a:rPr lang="en-US" sz="1400" dirty="0"/>
              <a:t>Faculty advisors have primary responsibility for advising, with support from advising center with primary-role advisors</a:t>
            </a:r>
            <a:endParaRPr lang="en-US" sz="1400" dirty="0">
              <a:ea typeface="Calibri"/>
              <a:cs typeface="Times New Roman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98230" y="1214936"/>
            <a:ext cx="80659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In your opinion, which of the following best describes the type of academic advising that occurs at your institution?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279953" y="5969937"/>
            <a:ext cx="3712338" cy="7838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1400" b="1" dirty="0" smtClean="0">
                <a:ea typeface="Calibri"/>
                <a:cs typeface="Times New Roman"/>
              </a:rPr>
              <a:t>Faculty Only</a:t>
            </a:r>
            <a:r>
              <a:rPr lang="en-US" sz="1400" dirty="0" smtClean="0">
                <a:ea typeface="Calibri"/>
                <a:cs typeface="Times New Roman"/>
              </a:rPr>
              <a:t>: </a:t>
            </a:r>
            <a:r>
              <a:rPr lang="en-US" sz="1400" dirty="0">
                <a:ea typeface="Calibri"/>
                <a:cs typeface="Times New Roman"/>
              </a:rPr>
              <a:t>All students are assigned to a department advisor, usually a professor from the student’s academic discipline</a:t>
            </a:r>
          </a:p>
        </p:txBody>
      </p:sp>
      <p:grpSp>
        <p:nvGrpSpPr>
          <p:cNvPr id="2" name="Group 1"/>
          <p:cNvGrpSpPr/>
          <p:nvPr>
            <p:custDataLst>
              <p:tags r:id="rId2"/>
            </p:custDataLst>
          </p:nvPr>
        </p:nvGrpSpPr>
        <p:grpSpPr>
          <a:xfrm>
            <a:off x="2695758" y="2077891"/>
            <a:ext cx="4279070" cy="3951131"/>
            <a:chOff x="2695758" y="2077891"/>
            <a:chExt cx="4279070" cy="3951131"/>
          </a:xfrm>
        </p:grpSpPr>
        <p:sp>
          <p:nvSpPr>
            <p:cNvPr id="42" name="Pie 41"/>
            <p:cNvSpPr/>
            <p:nvPr>
              <p:custDataLst>
                <p:tags r:id="rId3"/>
              </p:custDataLst>
            </p:nvPr>
          </p:nvSpPr>
          <p:spPr bwMode="gray">
            <a:xfrm>
              <a:off x="2695758" y="2077891"/>
              <a:ext cx="3951131" cy="3951131"/>
            </a:xfrm>
            <a:prstGeom prst="pie">
              <a:avLst>
                <a:gd name="adj1" fmla="val 19104695"/>
                <a:gd name="adj2" fmla="val 0"/>
              </a:avLst>
            </a:prstGeom>
            <a:solidFill>
              <a:schemeClr val="accent5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3" name="Pie 42"/>
            <p:cNvSpPr/>
            <p:nvPr>
              <p:custDataLst>
                <p:tags r:id="rId4"/>
              </p:custDataLst>
            </p:nvPr>
          </p:nvSpPr>
          <p:spPr bwMode="gray">
            <a:xfrm>
              <a:off x="2695758" y="2077891"/>
              <a:ext cx="3951131" cy="3951131"/>
            </a:xfrm>
            <a:prstGeom prst="pie">
              <a:avLst>
                <a:gd name="adj1" fmla="val 6238266"/>
                <a:gd name="adj2" fmla="val 9103968"/>
              </a:avLst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4" name="Pie 43"/>
            <p:cNvSpPr/>
            <p:nvPr>
              <p:custDataLst>
                <p:tags r:id="rId5"/>
              </p:custDataLst>
            </p:nvPr>
          </p:nvSpPr>
          <p:spPr bwMode="gray">
            <a:xfrm>
              <a:off x="2695758" y="2077891"/>
              <a:ext cx="3951131" cy="3951131"/>
            </a:xfrm>
            <a:prstGeom prst="pie">
              <a:avLst>
                <a:gd name="adj1" fmla="val 9103968"/>
                <a:gd name="adj2" fmla="val 19104695"/>
              </a:avLst>
            </a:prstGeom>
            <a:solidFill>
              <a:schemeClr val="accent4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5" name="Pie 44"/>
            <p:cNvSpPr/>
            <p:nvPr>
              <p:custDataLst>
                <p:tags r:id="rId6"/>
              </p:custDataLst>
            </p:nvPr>
          </p:nvSpPr>
          <p:spPr bwMode="gray">
            <a:xfrm>
              <a:off x="2695758" y="2077891"/>
              <a:ext cx="3951131" cy="3951131"/>
            </a:xfrm>
            <a:prstGeom prst="pie">
              <a:avLst>
                <a:gd name="adj1" fmla="val 3099639"/>
                <a:gd name="adj2" fmla="val 6238266"/>
              </a:avLst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6" name="Pie 45"/>
            <p:cNvSpPr/>
            <p:nvPr>
              <p:custDataLst>
                <p:tags r:id="rId7"/>
              </p:custDataLst>
            </p:nvPr>
          </p:nvSpPr>
          <p:spPr bwMode="gray">
            <a:xfrm>
              <a:off x="2695758" y="2077891"/>
              <a:ext cx="3951131" cy="3951131"/>
            </a:xfrm>
            <a:prstGeom prst="pie">
              <a:avLst>
                <a:gd name="adj1" fmla="val 0"/>
                <a:gd name="adj2" fmla="val 3099639"/>
              </a:avLst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7" name="TextBox 46"/>
            <p:cNvSpPr txBox="1"/>
            <p:nvPr>
              <p:custDataLst>
                <p:tags r:id="rId8"/>
              </p:custDataLst>
            </p:nvPr>
          </p:nvSpPr>
          <p:spPr bwMode="gray">
            <a:xfrm>
              <a:off x="3930874" y="315126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46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48" name="TextBox 47"/>
            <p:cNvSpPr txBox="1"/>
            <p:nvPr>
              <p:custDataLst>
                <p:tags r:id="rId9"/>
              </p:custDataLst>
            </p:nvPr>
          </p:nvSpPr>
          <p:spPr bwMode="gray">
            <a:xfrm>
              <a:off x="6546479" y="3240833"/>
              <a:ext cx="428349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 smtClean="0">
                  <a:effectLst/>
                  <a:ea typeface="ＭＳ Ｐゴシック" charset="-128"/>
                </a:rPr>
                <a:t>Other</a:t>
              </a:r>
              <a:endParaRPr lang="en-US" sz="1200">
                <a:effectLst/>
                <a:ea typeface="ＭＳ Ｐゴシック" charset="-128"/>
              </a:endParaRPr>
            </a:p>
          </p:txBody>
        </p:sp>
        <p:sp>
          <p:nvSpPr>
            <p:cNvPr id="49" name="TextBox 48"/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5419863" y="361044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dirty="0" smtClean="0">
                  <a:effectLst/>
                  <a:ea typeface="ＭＳ Ｐゴシック" charset="-128"/>
                </a:rPr>
                <a:t>12%</a:t>
              </a:r>
              <a:endParaRPr lang="en-US" sz="1200" dirty="0">
                <a:effectLst/>
                <a:ea typeface="ＭＳ Ｐゴシック" charset="-128"/>
              </a:endParaRPr>
            </a:p>
          </p:txBody>
        </p:sp>
        <p:sp>
          <p:nvSpPr>
            <p:cNvPr id="51" name="TextBox 50"/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4704899" y="492665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5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53" name="TextBox 52"/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5385515" y="439150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4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  <p:sp>
          <p:nvSpPr>
            <p:cNvPr id="55" name="TextBox 54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3890297" y="4741076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 smtClean="0">
                  <a:solidFill>
                    <a:schemeClr val="bg1"/>
                  </a:solidFill>
                  <a:effectLst/>
                  <a:ea typeface="ＭＳ Ｐゴシック" charset="-128"/>
                </a:rPr>
                <a:t>13%</a:t>
              </a:r>
              <a:endParaRPr lang="en-US" sz="1200">
                <a:solidFill>
                  <a:schemeClr val="bg1"/>
                </a:solidFill>
                <a:effectLst/>
                <a:ea typeface="ＭＳ Ｐゴシック" charset="-128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8559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extBox 94"/>
          <p:cNvSpPr txBox="1"/>
          <p:nvPr/>
        </p:nvSpPr>
        <p:spPr>
          <a:xfrm>
            <a:off x="1543959" y="1321818"/>
            <a:ext cx="63035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Clear ownership of academic advising exists at my institution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 smtClean="0"/>
              <a:t>…</a:t>
            </a:r>
            <a:r>
              <a:rPr lang="en-US" dirty="0" smtClean="0"/>
              <a:t>Yet, It Is Not Associated with High Clarity of Ownership</a:t>
            </a:r>
            <a:endParaRPr lang="en-US" dirty="0"/>
          </a:p>
        </p:txBody>
      </p:sp>
      <p:grpSp>
        <p:nvGrpSpPr>
          <p:cNvPr id="65" name="Group 64"/>
          <p:cNvGrpSpPr/>
          <p:nvPr>
            <p:custDataLst>
              <p:tags r:id="rId2"/>
            </p:custDataLst>
          </p:nvPr>
        </p:nvGrpSpPr>
        <p:grpSpPr>
          <a:xfrm>
            <a:off x="374280" y="2112558"/>
            <a:ext cx="8492485" cy="3920401"/>
            <a:chOff x="374280" y="2112558"/>
            <a:chExt cx="8492485" cy="3920401"/>
          </a:xfrm>
        </p:grpSpPr>
        <p:sp>
          <p:nvSpPr>
            <p:cNvPr id="5" name="Rectangle 4"/>
            <p:cNvSpPr/>
            <p:nvPr>
              <p:custDataLst>
                <p:tags r:id="rId3"/>
              </p:custDataLst>
            </p:nvPr>
          </p:nvSpPr>
          <p:spPr bwMode="gray">
            <a:xfrm>
              <a:off x="5055602" y="2849274"/>
              <a:ext cx="1199518" cy="916455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6" name="Rectangle 5"/>
            <p:cNvSpPr/>
            <p:nvPr>
              <p:custDataLst>
                <p:tags r:id="rId4"/>
              </p:custDataLst>
            </p:nvPr>
          </p:nvSpPr>
          <p:spPr bwMode="gray">
            <a:xfrm>
              <a:off x="6974831" y="2931612"/>
              <a:ext cx="1199518" cy="1099030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7" name="Rectangle 6"/>
            <p:cNvSpPr/>
            <p:nvPr>
              <p:custDataLst>
                <p:tags r:id="rId5"/>
              </p:custDataLst>
            </p:nvPr>
          </p:nvSpPr>
          <p:spPr bwMode="gray">
            <a:xfrm>
              <a:off x="1217145" y="2462644"/>
              <a:ext cx="1199518" cy="304292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8" name="Rectangle 7"/>
            <p:cNvSpPr/>
            <p:nvPr>
              <p:custDataLst>
                <p:tags r:id="rId6"/>
              </p:custDataLst>
            </p:nvPr>
          </p:nvSpPr>
          <p:spPr bwMode="gray">
            <a:xfrm>
              <a:off x="3136373" y="2734718"/>
              <a:ext cx="1199518" cy="920034"/>
            </a:xfrm>
            <a:prstGeom prst="rect">
              <a:avLst/>
            </a:prstGeom>
            <a:solidFill>
              <a:schemeClr val="accent2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7"/>
              </p:custDataLst>
            </p:nvPr>
          </p:nvSpPr>
          <p:spPr bwMode="gray">
            <a:xfrm>
              <a:off x="5055602" y="2204891"/>
              <a:ext cx="1199518" cy="644382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8"/>
              </p:custDataLst>
            </p:nvPr>
          </p:nvSpPr>
          <p:spPr bwMode="gray">
            <a:xfrm>
              <a:off x="6974831" y="2204891"/>
              <a:ext cx="1199518" cy="726720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9"/>
              </p:custDataLst>
            </p:nvPr>
          </p:nvSpPr>
          <p:spPr bwMode="gray">
            <a:xfrm>
              <a:off x="1217145" y="2204891"/>
              <a:ext cx="1199518" cy="257753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10"/>
              </p:custDataLst>
            </p:nvPr>
          </p:nvSpPr>
          <p:spPr bwMode="gray">
            <a:xfrm>
              <a:off x="3136373" y="2204891"/>
              <a:ext cx="1199518" cy="529825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6" name="Rectangle 15"/>
            <p:cNvSpPr/>
            <p:nvPr>
              <p:custDataLst>
                <p:tags r:id="rId11"/>
              </p:custDataLst>
            </p:nvPr>
          </p:nvSpPr>
          <p:spPr bwMode="gray">
            <a:xfrm>
              <a:off x="1217145" y="2766936"/>
              <a:ext cx="1199518" cy="3017856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2"/>
              </p:custDataLst>
            </p:nvPr>
          </p:nvSpPr>
          <p:spPr bwMode="gray">
            <a:xfrm>
              <a:off x="3136373" y="3654751"/>
              <a:ext cx="1199518" cy="2130041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13"/>
              </p:custDataLst>
            </p:nvPr>
          </p:nvSpPr>
          <p:spPr bwMode="gray">
            <a:xfrm>
              <a:off x="5055602" y="3765729"/>
              <a:ext cx="1199518" cy="2019064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4"/>
              </p:custDataLst>
            </p:nvPr>
          </p:nvSpPr>
          <p:spPr bwMode="gray">
            <a:xfrm>
              <a:off x="6974831" y="4030642"/>
              <a:ext cx="1199518" cy="1754152"/>
            </a:xfrm>
            <a:prstGeom prst="rect">
              <a:avLst/>
            </a:prstGeom>
            <a:solidFill>
              <a:schemeClr val="accent3"/>
            </a:solidFill>
            <a:ln cmpd="sng">
              <a:solidFill>
                <a:schemeClr val="bg1"/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200">
                <a:effectLst/>
              </a:endParaRPr>
            </a:p>
          </p:txBody>
        </p:sp>
        <p:cxnSp>
          <p:nvCxnSpPr>
            <p:cNvPr id="4" name="Straight Connector 3"/>
            <p:cNvCxnSpPr/>
            <p:nvPr>
              <p:custDataLst>
                <p:tags r:id="rId15"/>
              </p:custDataLst>
            </p:nvPr>
          </p:nvCxnSpPr>
          <p:spPr bwMode="gray">
            <a:xfrm>
              <a:off x="857289" y="5784793"/>
              <a:ext cx="7676916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>
              <p:custDataLst>
                <p:tags r:id="rId16"/>
              </p:custDataLst>
            </p:nvPr>
          </p:nvCxnSpPr>
          <p:spPr bwMode="gray">
            <a:xfrm flipV="1">
              <a:off x="857289" y="2204891"/>
              <a:ext cx="0" cy="3579902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>
              <p:custDataLst>
                <p:tags r:id="rId17"/>
              </p:custDataLst>
            </p:nvPr>
          </p:nvCxnSpPr>
          <p:spPr bwMode="gray">
            <a:xfrm flipH="1">
              <a:off x="806489" y="506881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>
              <p:custDataLst>
                <p:tags r:id="rId18"/>
              </p:custDataLst>
            </p:nvPr>
          </p:nvCxnSpPr>
          <p:spPr bwMode="gray">
            <a:xfrm flipH="1">
              <a:off x="806489" y="435283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>
              <p:custDataLst>
                <p:tags r:id="rId19"/>
              </p:custDataLst>
            </p:nvPr>
          </p:nvCxnSpPr>
          <p:spPr bwMode="gray">
            <a:xfrm flipH="1">
              <a:off x="806489" y="5784793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>
              <p:custDataLst>
                <p:tags r:id="rId20"/>
              </p:custDataLst>
            </p:nvPr>
          </p:nvCxnSpPr>
          <p:spPr bwMode="gray">
            <a:xfrm flipH="1">
              <a:off x="806489" y="363685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>
              <p:custDataLst>
                <p:tags r:id="rId21"/>
              </p:custDataLst>
            </p:nvPr>
          </p:nvCxnSpPr>
          <p:spPr bwMode="gray">
            <a:xfrm flipH="1">
              <a:off x="806489" y="2920872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>
              <p:custDataLst>
                <p:tags r:id="rId22"/>
              </p:custDataLst>
            </p:nvPr>
          </p:nvCxnSpPr>
          <p:spPr bwMode="gray">
            <a:xfrm flipH="1">
              <a:off x="806489" y="2204891"/>
              <a:ext cx="50800" cy="0"/>
            </a:xfrm>
            <a:prstGeom prst="line">
              <a:avLst/>
            </a:prstGeom>
            <a:ln w="9525" cmpd="sng">
              <a:solidFill>
                <a:schemeClr val="tx1"/>
              </a:solidFill>
              <a:headEnd type="none"/>
              <a:tailEnd type="non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59240" y="282853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80%</a:t>
              </a:r>
            </a:p>
          </p:txBody>
        </p:sp>
        <p:sp>
          <p:nvSpPr>
            <p:cNvPr id="25" name="TextBox 24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44199" y="5692460"/>
              <a:ext cx="26484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0%</a:t>
              </a:r>
            </a:p>
          </p:txBody>
        </p:sp>
        <p:sp>
          <p:nvSpPr>
            <p:cNvPr id="26" name="TextBox 25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459240" y="497648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29" name="TextBox 28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459240" y="354451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60%</a:t>
              </a:r>
            </a:p>
          </p:txBody>
        </p:sp>
        <p:sp>
          <p:nvSpPr>
            <p:cNvPr id="30" name="TextBox 29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459240" y="426049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40%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374280" y="2112558"/>
              <a:ext cx="43476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r"/>
              <a:r>
                <a:rPr lang="en-US" sz="1200">
                  <a:effectLst/>
                  <a:ea typeface="ＭＳ Ｐゴシック" charset="-128"/>
                </a:rPr>
                <a:t>100%</a:t>
              </a:r>
            </a:p>
          </p:txBody>
        </p:sp>
        <p:sp>
          <p:nvSpPr>
            <p:cNvPr id="91" name="TextBox 90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8216245" y="2475918"/>
              <a:ext cx="650520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Disagree</a:t>
              </a:r>
            </a:p>
          </p:txBody>
        </p:sp>
        <p:sp>
          <p:nvSpPr>
            <p:cNvPr id="31" name="TextBox 30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7403696" y="5848293"/>
              <a:ext cx="341787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Split</a:t>
              </a:r>
            </a:p>
          </p:txBody>
        </p:sp>
        <p:sp>
          <p:nvSpPr>
            <p:cNvPr id="92" name="TextBox 91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8216245" y="3388794"/>
              <a:ext cx="537353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Neutral</a:t>
              </a:r>
            </a:p>
          </p:txBody>
        </p:sp>
        <p:sp>
          <p:nvSpPr>
            <p:cNvPr id="32" name="TextBox 31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5120908" y="5848293"/>
              <a:ext cx="1068905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 dirty="0">
                  <a:effectLst/>
                  <a:ea typeface="ＭＳ Ｐゴシック" charset="-128"/>
                </a:rPr>
                <a:t>Supplementary</a:t>
              </a:r>
            </a:p>
          </p:txBody>
        </p:sp>
        <p:sp>
          <p:nvSpPr>
            <p:cNvPr id="93" name="TextBox 92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8216245" y="4815384"/>
              <a:ext cx="452394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r>
                <a:rPr lang="en-US" sz="1200">
                  <a:effectLst/>
                  <a:ea typeface="ＭＳ Ｐゴシック" charset="-128"/>
                </a:rPr>
                <a:t>Agree</a:t>
              </a:r>
            </a:p>
          </p:txBody>
        </p:sp>
        <p:sp>
          <p:nvSpPr>
            <p:cNvPr id="34" name="TextBox 33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3307479" y="5848293"/>
              <a:ext cx="85730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Faculty only</a:t>
              </a:r>
            </a:p>
          </p:txBody>
        </p:sp>
        <p:sp>
          <p:nvSpPr>
            <p:cNvPr id="33" name="TextBox 32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1308100" y="5848293"/>
              <a:ext cx="1017608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>
              <a:spAutoFit/>
            </a:bodyPr>
            <a:lstStyle/>
            <a:p>
              <a:pPr algn="ctr"/>
              <a:r>
                <a:rPr lang="en-US" sz="1200">
                  <a:effectLst/>
                  <a:ea typeface="ＭＳ Ｐゴシック" charset="-128"/>
                </a:rPr>
                <a:t>Self-contained</a:t>
              </a:r>
            </a:p>
          </p:txBody>
        </p:sp>
        <p:sp>
          <p:nvSpPr>
            <p:cNvPr id="35" name="TextBox 34"/>
            <p:cNvSpPr txBox="1"/>
            <p:nvPr>
              <p:custDataLst>
                <p:tags r:id="rId36"/>
              </p:custDataLst>
            </p:nvPr>
          </p:nvSpPr>
          <p:spPr bwMode="gray">
            <a:xfrm>
              <a:off x="3561232" y="3102402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26%</a:t>
              </a:r>
            </a:p>
          </p:txBody>
        </p:sp>
        <p:sp>
          <p:nvSpPr>
            <p:cNvPr id="36" name="TextBox 35"/>
            <p:cNvSpPr txBox="1"/>
            <p:nvPr>
              <p:custDataLst>
                <p:tags r:id="rId37"/>
              </p:custDataLst>
            </p:nvPr>
          </p:nvSpPr>
          <p:spPr bwMode="gray">
            <a:xfrm>
              <a:off x="1684483" y="2522457"/>
              <a:ext cx="26484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9%</a:t>
              </a:r>
            </a:p>
          </p:txBody>
        </p:sp>
        <p:sp>
          <p:nvSpPr>
            <p:cNvPr id="37" name="TextBox 36"/>
            <p:cNvSpPr txBox="1"/>
            <p:nvPr>
              <p:custDataLst>
                <p:tags r:id="rId38"/>
              </p:custDataLst>
            </p:nvPr>
          </p:nvSpPr>
          <p:spPr bwMode="gray">
            <a:xfrm>
              <a:off x="7399689" y="338879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31%</a:t>
              </a:r>
            </a:p>
          </p:txBody>
        </p:sp>
        <p:sp>
          <p:nvSpPr>
            <p:cNvPr id="38" name="TextBox 37"/>
            <p:cNvSpPr txBox="1"/>
            <p:nvPr>
              <p:custDataLst>
                <p:tags r:id="rId39"/>
              </p:custDataLst>
            </p:nvPr>
          </p:nvSpPr>
          <p:spPr bwMode="gray">
            <a:xfrm>
              <a:off x="5480460" y="321516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26%</a:t>
              </a:r>
            </a:p>
          </p:txBody>
        </p:sp>
        <p:sp>
          <p:nvSpPr>
            <p:cNvPr id="39" name="TextBox 38"/>
            <p:cNvSpPr txBox="1"/>
            <p:nvPr>
              <p:custDataLst>
                <p:tags r:id="rId40"/>
              </p:custDataLst>
            </p:nvPr>
          </p:nvSpPr>
          <p:spPr bwMode="gray">
            <a:xfrm>
              <a:off x="3561232" y="4627439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60%</a:t>
              </a:r>
            </a:p>
          </p:txBody>
        </p:sp>
        <p:sp>
          <p:nvSpPr>
            <p:cNvPr id="40" name="TextBox 39"/>
            <p:cNvSpPr txBox="1"/>
            <p:nvPr>
              <p:custDataLst>
                <p:tags r:id="rId41"/>
              </p:custDataLst>
            </p:nvPr>
          </p:nvSpPr>
          <p:spPr bwMode="gray">
            <a:xfrm>
              <a:off x="1642003" y="4183532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84%</a:t>
              </a:r>
            </a:p>
          </p:txBody>
        </p:sp>
        <p:sp>
          <p:nvSpPr>
            <p:cNvPr id="41" name="TextBox 40"/>
            <p:cNvSpPr txBox="1"/>
            <p:nvPr>
              <p:custDataLst>
                <p:tags r:id="rId42"/>
              </p:custDataLst>
            </p:nvPr>
          </p:nvSpPr>
          <p:spPr bwMode="gray">
            <a:xfrm>
              <a:off x="7399689" y="4815384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49%</a:t>
              </a:r>
            </a:p>
          </p:txBody>
        </p:sp>
        <p:sp>
          <p:nvSpPr>
            <p:cNvPr id="42" name="TextBox 41"/>
            <p:cNvSpPr txBox="1"/>
            <p:nvPr>
              <p:custDataLst>
                <p:tags r:id="rId43"/>
              </p:custDataLst>
            </p:nvPr>
          </p:nvSpPr>
          <p:spPr bwMode="gray">
            <a:xfrm>
              <a:off x="5480460" y="468292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56%</a:t>
              </a:r>
            </a:p>
          </p:txBody>
        </p:sp>
        <p:sp>
          <p:nvSpPr>
            <p:cNvPr id="43" name="TextBox 42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3561232" y="2377472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5%</a:t>
              </a:r>
            </a:p>
          </p:txBody>
        </p:sp>
        <p:sp>
          <p:nvSpPr>
            <p:cNvPr id="44" name="TextBox 43"/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1684483" y="2241436"/>
              <a:ext cx="26484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7%</a:t>
              </a:r>
            </a:p>
          </p:txBody>
        </p:sp>
        <p:sp>
          <p:nvSpPr>
            <p:cNvPr id="45" name="TextBox 44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7399689" y="2475918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20%</a:t>
              </a:r>
            </a:p>
          </p:txBody>
        </p:sp>
        <p:sp>
          <p:nvSpPr>
            <p:cNvPr id="46" name="TextBox 45"/>
            <p:cNvSpPr txBox="1"/>
            <p:nvPr>
              <p:custDataLst>
                <p:tags r:id="rId47"/>
              </p:custDataLst>
            </p:nvPr>
          </p:nvSpPr>
          <p:spPr bwMode="gray">
            <a:xfrm>
              <a:off x="5480460" y="2434750"/>
              <a:ext cx="349802" cy="184666"/>
            </a:xfrm>
            <a:prstGeom prst="rect">
              <a:avLst/>
            </a:prstGeom>
            <a:noFill/>
            <a:ln cmpd="sng">
              <a:noFill/>
            </a:ln>
            <a:effectLst/>
            <a:extLst>
              <a:ext uri="{91240B29-F687-4F45-9708-019B960494DF}">
                <a14:hiddenLine xmlns:a14="http://schemas.microsoft.com/office/drawing/2010/main" cmpd="sng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7357" dir="2700000" rotWithShape="0">
                      <a:scrgbClr r="0" g="0" b="0">
                        <a:alpha val="0"/>
                      </a:scrgbClr>
                    </a:outerShdw>
                  </a:effectLst>
                </a14:hiddenEffects>
              </a:ext>
            </a:extLst>
          </p:spPr>
          <p:txBody>
            <a:bodyPr vert="horz" wrap="none" lIns="21603" tIns="0" rIns="21603" bIns="0" rtlCol="0" anchor="ctr">
              <a:spAutoFit/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  <a:effectLst/>
                  <a:ea typeface="ＭＳ Ｐゴシック" charset="-128"/>
                </a:rPr>
                <a:t>18%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4669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PRESENTATIONTAG" val="AAEAAAD/////AQAAAAAAAAAMAgAAAFJBcGxvcmlzLkJhc2UsIFZlcnNpb249NC4yLjAuMTkxMSwgQ3VsdHVyZT1uZXV0cmFsLCBQdWJsaWNLZXlUb2tlbj0xNmZjMTNhMjI2YzBlOTUxBQEAAAAoQXBsb3Jpcy5CYXNlLk9iamVjdHMuU2V0dGluZ3NWZXJzaW9uSW5mbwIAAAANUmVxdWlyZWRCdWlsZAlVc2VkQnVpbGQAAAgIAgAAACADAAB3BwAACwABAAAA/////wEAAAAAAAAADAIAAABTQXBsb3Jpcy5DaGFydCwgVmVyc2lvbj00LjIuMC4xOTExLCBDdWx0dXJlPW5ldXRyYWwsIFB1YmxpY0tleVRva2VuPTE2ZmMxM2EyMjZjMGU5NTEMAwAAAFFTeXN0ZW0uRHJhd2luZywgVmVyc2lvbj00LjAuMC4wLCBDdWx0dXJlPW5ldXRyYWwsIFB1YmxpY0tleVRva2VuPWIwM2Y1ZjdmMTFkNTBhM2EFAQAAACJBcGxvcmlzLkNoYXJ0LlByZXNlbnRhdGlvblNldHRpbmdzDAAAAA5tRW1wdHlTZXR0aW5ncw5tRG9udE92ZXJ3cml0ZQ5tUmVxdWlyZWRCdWlsZAdtQ29sb3JzFm1OdW1iZXJGb3JtYXRzQWJzb2x1dGUVbU51bWJlckZvcm1hdHNQZXJjZW50Em1OdW1iZXJGb3JtYXRzRGF0ZRZtTnVtYmVyRm9ybWF0c0RhdGVZZWFyGW1OdW1iZXJGb3JtYXRzRGF0ZVF1YXJ0ZXIXbU51bWJlckZvcm1hdHNEYXRlTW9udGgWbU51bWJlckZvcm1hdHNEYXRlV2VlaxVtTnVtYmVyRm9ybWF0c0RhdGVEYXkAAAAEBgYGBgYGBgYBAQgWU3lzdGVtLkRyYXdpbmcuQ29sb3JbXQMAAAACAAAAAAAgAwAACQQAAAAJBQAAAAkGAAAACQcAAAAJCAAAAAkJAAAACQoAAAAJCwAAAAkMAAAABwQAAAAAAQAAAAgAAAAEFFN5c3RlbS5EcmF3aW5nLkNvbG9yAwAAAAXz////FFN5c3RlbS5EcmF3aW5nLkNvbG9yBAAAAARuYW1lBXZhbHVlCmtub3duQ29sb3IFc3RhdGUBAAAACQcHAwAAAAqrq6urAAAAAAAAAgAB8v////P///8Kq6urqwAAAAAAAAIAAfH////z////Cqurq6sAAAAAAAACAAHw////8////wqrq6urAAAAAAAAAgAB7/////P///8Kq6urqwAAAAAAAAIAAe7////z////Cqurq6sAAAAAAAACAAHt////8////wqrq6urAAAAAAAAAgAB7P////P///8Kq6urqwAAAAAAAAIAEQUAAAAFAAAABhUAAAAACRUAAAAJFQAAAAkVAAAACRUAAAARBgAAAAUAAAAJFQAAAAkVAAAACRUAAAAJFQAAAAkVAAAAEQcAAAAFAAAACRUAAAAJFQAAAAkVAAAACRUAAAAJFQAAABEIAAAABQAAAAkVAAAACRUAAAAJFQAAAAkVAAAACRUAAAARCQAAAAUAAAAJFQAAAAkVAAAACRUAAAAJFQAAAAkVAAAAEQoAAAAFAAAACRUAAAAJFQAAAAkVAAAACRUAAAAJFQAAABELAAAABQAAAAkVAAAACRUAAAAJFQAAAAkVAAAACRUAAAARDAAAAAUAAAAJFQAAAAkVAAAACRUAAAAJFQAAAAkVAAAACw=="/>
  <p:tag name="APLORISREVISION" val="4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6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8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9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6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6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6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6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6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19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1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16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18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1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9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3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3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3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3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6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WQXBsb3Jpcy5DaGFydC5QaWVDaGFydDEAAAAPbVVudXNlZEVsZW1lbnRzE21VbnVzZWRFbGVtZW50c0xpc3QHbUxlZ2VuZBFtUmV2ZXJzZURpcmVjdGlvbg1tSGFzQ3VzdG9tU3VtEW1QaWVDaGFydEVsZW1lbnRzCm1DdXN0b21TdW0SbU1hZ25pdHVkZVByb3ZpZGVyEG1OdW1iZXJGb3JtYXRBYnMUbU51bWJlckZvcm1hdFBlcmNlbnQMbVN0YXJ0RGVncmVlEW1TaG93SW5zaWRlTGFiZWxzEm1TaG93T3V0c2lkZUxhYmVscwxtQ2VudGVyUG9pbnQHbVJhZGl1cxBDaGFydCttQ2hhcnRBcmVhEkNoYXJ0K21IYXNEYXRhTGluaxFDaGFydCttRGF0YUxpbmtJZBVDaGFydCttQXV0b0RhdGFVcGRhdGUaQ2hhcnQrbUF2YWlsYWJsZVVwZGF0ZUZpbGUTQ2hhcnQrbUxhc3RMaW5rRmlsZQxDaGFydCttU2hlZXQUQ2hhcnQrbVRyYW5zcG9zZURhdGEaQ2hhcnQrbVNlcmlhbGl6ZWREYXRhVGFibGUQQ2hhcnQrbUZpeGVkUm93cxNDaGFydCttRml4ZWRDb2x1bW5zG0NoYXJ0K21GaWxsQ29sb3JTY2hlbWVJbmRleBxDaGFydCttTGluZUZvcm1hdFNjaGVtZUluZGV4HkNoYXJ0K21NYXJrZXJGb3JtYXRTY2hlbWVJbmRleA5DaGFydCttVXBkYXRlZBZDaGFydCttUmVxdWlyZWRBcmVhU2V0E0NoYXJ0K21SZXF1aXJlZEFyZWEPQ29udGFpbmVyK21MZWZ0DkNvbnRhaW5lcittVG9wEENvbnRhaW5lcittV2lkdGgRQ29udGFpbmVyK21IZWlnaHQcQ29udGFpbmVyK21Db250YWluZXJTaGFwZVBvcw1Db250YWluZXIrbUlkEUNvbnRhaW5lcittVHlwZUlkFkNvbnRhaW5lcittRGVmYXVsdEZvbnQdQ29udGFpbmVyK21EZWZhdWx0Rm9udEZhckVhc3QcQ29udGFpbmVyK21EZWZhdWx0VGV4dEZvcm1hdBZDb250YWluZXIrbVRoZW1lQ29sb3JzEkNvbnRhaW5lcittQ2xvbmluZxNDb250YWluZXIrbVBlcnNEYXRhGERhdGFPYmplY3QrbUNoaWxkT2JqZWN0cxJEYXRhT2JqZWN0K21QYXJlbnQVRGF0YU9iamVjdCttQ29udGFpbmVyGURhdGFPYmplY3QrbVZpc3VhbE9iamVjdHMDAwQAAAQCBAQEAAAABAAEAAMAAQEHAAQHBwAAAAAABAAAAAAEAQABAQQEAAIDBAQDqAFTeXN0ZW0uQ29sbGVjdGlvbnMuT2JqZWN0TW9kZWwuQ29sbGVjdGlvbmAxW1tBcGxvcmlzLkNoYXJ0LlBpZUNoYXJ0K1VudXNlZEVsZW1lbnQsIEFwbG9yaXMuQ2hhcnQsIFZlcnNpb249NC4yLjAuMTkwOCwgQ3VsdHVyZT1uZXV0cmFsLCBQdWJsaWNLZXlUb2tlbj0xNmZjMTNhMjI2YzBlOTUxXV2eAVN5c3RlbS5Db2xsZWN0aW9ucy5HZW5lcmljLkxpc3RgMVtbQXBsb3Jpcy5DaGFydC5QaWVDaGFydCtVbnVzZWRFbGVtZW50LCBBcGxvcmlzLkNoYXJ0LCBWZXJzaW9uPTQuMi4wLjE5MDgsIEN1bHR1cmU9bmV1dHJhbCwgUHVibGljS2V5VG9rZW49MTZmYzEzYTIyNmMwZTk1MV1dHEFwbG9yaXMuQ2hhcnQuUGllQ2hhcnRMZWdlbmQCAAAAAQGhAUFwbG9yaXMuQmFzZS5PYmplY3RzLkRhdGFPYmplY3RDb2xsZWN0aW9uYDFbW0FwbG9yaXMuQ2hhcnQuUGllQ2hhcnRFbGVtZW50LCBBcGxvcmlzLkNoYXJ0LCBWZXJzaW9uPTQuMi4wLjE5MDgsIEN1bHR1cmU9bmV1dHJhbCwgUHVibGljS2V5VG9rZW49MTZmYzEzYTIyNmMwZTk1MV1dAwAAACdBcGxvcmlzLkNoYXJ0LlN0YW5kYXJkTWFnbml0dWRlUHJvdmlkZXICAAAAGkFwbG9yaXMuQ2hhcnQuTnVtYmVyRm9ybWF0AgAAABpBcGxvcmlzLkNoYXJ0Lk51bWJlckZvcm1hdAIAAAALAQEVU3lzdGVtLkRyYXdpbmcuUG9pbnRGBAAAAAs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KCQUAAAAKAAAJBgAAAAoJBwAAAAkIAAAACQkAAAAAAAAAAQEFCgAAABVTeXN0ZW0uRHJhd2luZy5Qb2ludEYCAAAAAXgBeQAACwsEAAAA+RSdQ25uJkNujhtDBQsAAAAZU3lzdGVtLkRyYXdpbmcuUmVjdGFuZ2xlRgQAAAABeAF5BXdpZHRoBmhlaWdodAAAAAALCwsLBAAAAAEAIEH//y1B+RQYRG6Om0MABAwAAAALU3lzdGVtLkd1aWQLAAAAAl9hAl9iAl9jAl9kAl9lAl9mAl9nAl9oAl9pAl9qAl9rAAAAAAAAAAAAAAAIBwcCAgICAgICAgAAAAAAAAAAAAAAAAAAAAAACgoJDQAAAAAKCgkOAAAAAQAAAAAAAAAAAAAAAAEBDwAAAAsAAACJnQZDJ3ayQf5QyUPFTp1DtqBWQg69GEP5FB1EJ/atQwEQAAAACgAAALJDVEMOnSNDBhEAAAAQTjhTU21yYzFtNCtMcHZHegAAAAAKCgkSAAAACRMAAAAACgkUAAAACgkBAAAACRUAAAAEBQAAAJ4BU3lzdGVtLkNvbGxlY3Rpb25zLkdlbmVyaWMuTGlzdGAxW1tBcGxvcmlzLkNoYXJ0LlBpZUNoYXJ0K1VudXNlZEVsZW1lbnQsIEFwbG9yaXMuQ2hhcnQsIFZlcnNpb249NC4yLjAuMTkwOCwgQ3VsdHVyZT1uZXV0cmFsLCBQdWJsaWNLZXlUb2tlbj0xNmZjMTNhMjI2YzBlOTUxXV0DAAAABl9pdGVtcwVfc2l6ZQhfdmVyc2lvbgQAACZBcGxvcmlzLkNoYXJ0LlBpZUNoYXJ0K1VudXNlZEVsZW1lbnRbXQIAAAAICAkWAAAAAAAAAAAAAAAFBgAAAKEBQXBsb3Jpcy5CYXNlLk9iamVjdHMuRGF0YU9iamVjdENvbGxlY3Rpb25gMVtbQXBsb3Jpcy5DaGFydC5QaWVDaGFydE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lBpZUNoYXJ0RWxlbWVudCwgQXBsb3Jpcy5DaGFydCwgVmVyc2lvbj00LjIuMC4xOTA4LCBDdWx0dXJlPW5ldXRyYWwsIFB1YmxpY0tleVRva2VuPTE2ZmMxM2EyMjZjMGU5NTFdXQMAAACXAVN5c3RlbS5Db2xsZWN0aW9ucy5HZW5lcmljLkxpc3RgMVtbQXBsb3Jpcy5DaGFydC5QaWVDaGFydE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FwAAAAkYAAAACQEAAAAJAQAAAAkZAAAABQcAAAAnQXBsb3Jpcy5DaGFydC5TdGFuZGFyZE1hZ25pdHVkZVByb3ZpZGVyBAAAABJtTWFnbml0dWRlQWJzb2x1dGURbU1hZ25pdHVkZVBlcmNlbnQSbUFic29sdXRlVmFyaWFibGVzEW1QZXJjZW50VmFyaWFibGVzAAAHBwgICAgCAAAAAAAAAAAAAAAJGgAAAAkbAAAABQ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ZBcGxvcmlzLkNoYXJ0LlBpZUNoYXJ0AgAAABZBcGxvcmlzLkNoYXJ0LlBpZUNoYXJ0AgAAAAgBCAgBCAgIAgAAAAkBAAAACQEAAAAAAAAAAQYcAAAAAS4DAAAABh0AAAABLAYeAAAAAS0GHwAAAAErAQAAAAAKBiAAAAABJQYhAAAACE0vZC95eXl5AAAAAAoAAAAAAAAAAAEJAAAACAAAAAkBAAAACQEAAAAAAAAAAAkcAAAAAwAAAAkdAAAACR4AAAAJHwAAAAEAAAAACgYiAAAAASUJIQAAAAEAAAAKAAAAAAAAAAAPDQAAAPglAAACUEsDBBQABgAIAAAAIQAZTw0yZAEAAK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MlN9OwjAUxu9NfIelt2YrYGKMYXDhn0slER+grmesoWubngPC23tW1BhDQAKJ3qzZ2u/7fjttz3C8am22hIjGu1L0i57IwFVeGzcrxcv0Ib8WGZJyWlnvoBRrQDEenZ8Np+sAmLHaYSkaonAjJVYNtAoLH8DxTO1jq4hf40wGVc3VDOSg17uSlXcEjnLqPMRoeAe1WljK7lf8eUPCcpHdbtZ1UaVQIVhTKWJQ2c3KrboIFncIl07/oMs/yApWJnNsTMCLj4QnLk00GrKJivSoWuaQKyvffJy/ej8vdmNuSfN1bSrQvlq0XIECQwSlsQGg1hZpLFpl3C/y02KUaeifGKT7v2R8IMfgn3Bc/hEH8fkHmZ7Hb0my2bMBSGsLeOpjmEz3JTcqgn6myJ3i5ADfvXdx8D2aRB+QO0qEw6vwefU7dR7YCCIZ2Hn5vxK5HR1dduj6nQa9JVum/jp6Bw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qBE78gMBAADU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PPasMwDMbvg72D0X1xkm5llDq9jEGvW/cAJlbi0MQOlvYnbz+TsS6Fkl1CLwZJ6Pt+SPJ299W14gMDNd4pyJIUBLrSm8bVCt4Oz3ePIIi1M7r1DhUMSLArbm+2L9hqjk1km55EVHGkwDL3GymptNhpSnyPLlYqHzrNMQy17HV51DXKPE3XMkw1oDjTFHujIOzNCsRh6KPz/9q+qpoSn3z53qHjCxby04cjWUSOojrUyApOKZJjZZVEYpCXYe6XhOE4JPwDGUM5vtkcw8OSDMRDGzd6msZPPGe/XtTe6oDmlUM8tynFND0Hk135OGYXk18ZJv+djDz7i8U3AAAA//8DAFBLAwQUAAYACAAAACEAE7zJyK8CAAChBQAADwAAAHhsL3dvcmtib29rLnhtbKRUXW+bMBR9n7T/gHgn5jsJClRpPrRI01RtXfs4OcYEq/6gxjR00/77LjDSbNlDt/GAz8VXx+ee68viqhXceqK6ZkqmtjdxbYtKonImD6n9+XbrzGyrNljmmCtJU/uZ1vZV9vbN4qj0w16pBwsIZJ3apTFVglBNSipwPVEVlbBTKC2wgVAfUF1pivO6pNQIjnzXjZHATNoDQ6Jfw6GKghG6VqQRVJqBRFOODcivS1bVI5sgr6ETWD80lUOUqIBizzgzzz2pbQmS7A5SabznUHbrRSMzwAtqwYhWtSrMBKjQIPKiXs9FnjeUnC0KxundYLuFq+oDFt0p3LY4rs0mZ4bmqR1DqI705QOI0E113TAOu/4s7lSh7NSLG91FoHzJDdUSG7pS0oBRPy3+X1N67lWpoAXWR/rYME2h85032QLemCR4X99gU1qN5qmNnrBGheI51Ikej8gv5375leR+4AXay59MKCv5xZ258BwkukVGVAEu8jiY5hPA6MxyfNnPvzAdk94nBNYM8rNFh3+3KVt0N/qO0WP9YmoXWu09k7k6gukuTMjzGHl9eOz37lluyr4rXcrw7R1lh9LAXEVQ5CDh7IR+FOCkfrVkfwU+dePhwcx16w66DFgnDIDe5YChvxfp/lk64FM64D+lB2fpgE/pgCEdjaoI5gQuVLf0OsIo9kEAUZI0WsOlWsFOag9l0da8r022gBV6z1L723S+jcL5NHa89TJywtibOddeOHXC1XoTXs+jYBnMvr80OPy3mXLnaD6OVOuFyfhXAuE5LXDDzU7gA11XICnwp/F0qBFk/qI18oNNtA4cP9oGzjLauI4XB74Th1s/Cle+H0b+SatoXydVYIJoS2j/q5uNIkWbLDUpd2try/EBpmdoEmSCou7d24jGOrIf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lOwSK3oBAACnAgAAGAAAAHhsL3dvcmtzaGVldHMvc2hlZXQyLnhtbIySTU/DMAyG70j8hyh3mm7jY0zrEGJCcEBCiI9zmrpttCSuEo+xf4/baQNpl93i2H7i93Xmdz/eiW+IyWIo5CjLpYBgsLKhKeTH++PFVIpEOlTaYYBCbiHJu8X52XyDcZVaABJMCKmQLVE3UyqZFrxOGXYQOFNj9Jo4jI1KXQRdDU3eqXGeXyuvbZA7wiyewsC6tgaWaNYeAu0gEZwmnj+1tkt7mjen4LyOq3V3YdB3jCits7QdoFJ4M3tuAkZdOtb9M7rUZs8egiO8tyZiwpoyxqndoMeab9WtYtJiXllW0NsuItSFvB9JoRbzwZ1PC5v07yx6s0vEVZ94rgrJW+JadVT8OLj9GkWpEzyg+7IVtbxWrq+g1mtHf5fTbDoZ55PR+OqQfMPNE9imJW7h20HmrNouIRk2m5/Nxn9DLjXpfopON/CiY2NDEg7qoexGirjj5BmfCbu++YaZJRKh30ct/wfgvefZRIoakQ5BL+/wxRa/AAAA//8DAFBLAwQUAAYACAAAACEAlOwSK3oBAACnAgAAGAAAAHhsL3dvcmtzaGVldHMvc2hlZXQzLnhtbIySTU/DMAyG70j8hyh3mm7jY0zrEGJCcEBCiI9zmrpttCSuEo+xf4/baQNpl93i2H7i93Xmdz/eiW+IyWIo5CjLpYBgsLKhKeTH++PFVIpEOlTaYYBCbiHJu8X52XyDcZVaABJMCKmQLVE3UyqZFrxOGXYQOFNj9Jo4jI1KXQRdDU3eqXGeXyuvbZA7wiyewsC6tgaWaNYeAu0gEZwmnj+1tkt7mjen4LyOq3V3YdB3jCits7QdoFJ4M3tuAkZdOtb9M7rUZs8egiO8tyZiwpoyxqndoMeab9WtYtJiXllW0NsuItSFvB9JoRbzwZ1PC5v07yx6s0vEVZ94rgrJW+JadVT8OLj9GkWpEzyg+7IVtbxWrq+g1mtHf5fTbDoZ55PR+OqQfMPNE9imJW7h20HmrNouIRk2m5/Nxn9DLjXpfopON/CiY2NDEg7qoexGirjj5BmfCbu++YaZJRKh30ct/wfgvefZRIoakQ5BL+/wxRa/AAAA//8DAFBLAwQUAAYACAAAACEAcHb/QKgCAABlBgAAGAAAAHhsL3dvcmtzaGVldHMvc2hlZXQxLnhtbIxVy26jMBTdjzT/gLwv2LyJgKppVE0XI406r7UDJlgFzNhu0vz9XOMJadKOxCIRNueec+4ryW9f+87ZM6m4GApEXIwcNlSi5sOuQD9/PNykyFGaDjXtxMAKdGQK3ZafP+UHIZ9Vy5h2gGFQBWq1Hleep6qW9VS5YmQDvGmE7KmGo9x5apSM1lNQ33k+xrHXUz4gy7CSSzhE0/CKbUT10rNBWxLJOqrBv2r5qE5sfbWErqfy+WW8qUQ/AsWWd1wfJ1Lk9NXqcTcISbcd5P1KQlqduKfDO/qeV1Io0WgX6Dxr9H3OmZd5wFTmNYcMTNkdyZoC3ZHVOkaOV+ZTgX5xdlBvnh1Nt99ZxyrNaugTckz9t0I8G+AjXGGgVBPAUNJK8z27Z10HzECr/lgRq+DNEmV+fj7JPUwt+yadLVXsXnS/ea1b0ITRqFlDXzp9vkzdNPBxQPxofvkkDl8Y37UaQuB2qtWqPm6YqqBjYNT1pzQr0YEifDs9N6MHFaevNjUr+JZb6aPpQnCKtDFAZGPiIA2hJP+NA3IorGclp+Q3VNMyl+LgwNjBazVSM8RkBZwfWgarBnpnsAX6l4K5Wdsb0IfkFHRhX+Lc2xs5+IDCLANBi2UMtkDJG1J/Jp2MrC0isoIuCYMIkxRHOApJROLwYwtQwMUWDLZAsP9zXsGVBYuIZwtRgOM0ynwcJUlM0o8tQKEWWzDYSwvnvGwVLGK2EPhxQsIUkzAMcRicDV80AsZysQWDvbQQXVXBIk4WwtjPMpjHLM1InMXJuW0XFsxOLh05g720QK4sWMRcBRJFfhDGUYKDLCHk2oJdebsBI92xr1Tu+KCcjjXTfsLUSbvA2DUTKEaztQnkuRVai/50auHXnMEGYBcGoRFCzwezbPMfRPkXAAD//wMAUEsDBBQABgAIAAAAIQAYFungywAAADYBAAAUAAAAeGwvc2hhcmVkU3RyaW5ncy54bWxkj8FqAjEQhu+FvkOYu2brQUpJ4kHw6kH7AGF3dAPJJM1MSvftmyJS0OP/fXwDY3Y/KapvrBwyWXhbD6CQxjwFulr4PB9W76BYPE0+ZkILCzLs3OuLYRbVW2ILs0j50JrHGZPndS5I3VxyTV76rFfNpaKfeEaUFPVmGLY6+UCgxtxILGxBNQpfDff37QwHZ8Sds/hotDij/8ANHmXG+ghPGC+rfSbph3F6tAc/tiiLOlJcnspWSsSEPa3PssQg/4Xuf7tfAAAA//8DAFBLAwQUAAYACAAAACEAc/AWGa0DAAAODQAADQAAAHhsL3N0eWxlcy54bWzkV9tu2zgQfS+w/yAw2EdHku82JBVrJyoKtEWBpEBfKYmSifIiUHRqt+i/d0hKspIg9aa7xRZYv4iXmcMzw+HMOHp54My7I6qhUsQovAyQR0QuCyqqGH24TUdL5DUaiwIzKUiMjqRBL5M/XkSNPjJysyNEewAhmhjttK7Xvt/kO8JxcylrImCnlIpjDVNV+U2tCC4ao8SZPw6Cuc8xFcghrHn+d0A4Vp/29SiXvMaaZpRRfbRYyOP5+nUlpMIZA6qHcIrzDttOHsFzmivZyFJfApwvy5Lm5DHLlb/yASmJxJ6nXDdeLvdCg7f6Jc/tvC5gcT5FnjN6KwugcXFxEVwGfyLPTyK/RUiiUooT0ARYGrLrT0J+FqnZcuhGKomaL94dZrASWpBcMqk8DV4GdLckMCdOZosZzRS1giXmlB3d+tiu2LtpJTkFTzlW7pjf5TBVZTFK08D+LMGTea8oY94NFs0TBvrOCPtpwMsg3l/XBK7LLCQRBI4mSqQGrB3fHmvwpoAYb11iBc+IVwofw/HsGRqNZLQwPKqtvcXW1jS9XqxSi5O1O1QU5EAgoEw8mdAZkIaZY2Y/YGcmVQFveBiYbimJGCm10Ve02tmBlrWZZ1Jryc2ooLiSAjN7Sqfmt5BJlBPGbsxj/1j2B8zBhEM5iHpIG8bz5gGYITivHTqYdgKHPaUFcfw/1PKHznWuHnh59XNePpTn3f2DS+rVcV2z48ZGVpdnfuLO78OZJ/cMMMha9wLo+WCA8FRcOTAIPGuoybqWmZt1PB86wc7/YrQSnHQ1AFKum3o7qegXADLZOod9Agn2s8L1LTk4cPOQD+WDZ9CWDPd8zhIGAUvi3Z5nRKW2vA6I/yozoEfQNB8a9i/YAoXvN7ZlkNTO3gok6V8TRiZ/I9Ohtd6H9O3qwaMweg5dqFn/AV2b7iDBDYrKvZLSZ0PPVPwYvTPBzaA56jJatqdMU3HKbw81bFcazoJwHE7ms/liYlorq932Tl0xa094IL9cwj06edcwncFfLUHMycNB8CB+LL+YBD0fV9XPyYeLDr/tMnoFcGJxOFVkuHw4XpvO1xbr3q+wUZAS75m+7TdjdBq/JQXdczCjlXpP76S2EDE6jd+Y7iGc20Mgl71poC2Fr7dXNEZfrzeL1dV1Oh4tg81yNJ2Q2Wg121yNZtPt5uoqXQXjYPtt0In/gz7c/l+A/BlO1w2Dbl211rbsb05rMRpMHH/3cIA3ZOHOCv/0Ryb5DgAA//8DAFBLAwQUAAYACAAAACEAFS4xb5MBAAA+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09P4zAQxe8r8R0i36nTFtCqcoxW/BEHEJVa2LPXmTQWrh15hqjl0zNJREl3lwu3mXlPLz+PHXW52/qshYQuhkJMJ7nIINhYurApxNP69vSnyJBMKI2PAQqxBxSX+uSHWqbYQCIHmHFEwELURM1CSrQ1bA1OWA6sVDFtDXGbNjJWlbNwHe3rFgLJWZ5fSNgRhBLK0+YQKIbERUvfDS2j7fjweb1vGFirX03jnTXEp9QPzqaIsaLswVgXKGKd3ewseCXHNsWcK7CvydFe50qOW7WyxsMVf0JXxiMo+TlQd2C69S2NS6hVS4sWLMWUoXvjBc5E9scgdGCFaE1yJhADdrah6WvfICX9O6YXrAEIlWTDMOzLsXdcuzM97w1cHBu7gAGEhWPEtSMP+FgtTaL/EM/HxD3DwDvgrDq+6ZjvQNpLs6+lgXR8qn5RzPcX0b0LL/jUrOO1IfjY+PFQrWqToORLOtzIYaDueNnJdyFXtQkbKD88/wrdS3kefgc9PZ/k85yvfjRT8vPh63cAAAD//wMAUEsDBBQABgAIAAAAIQBjuCMh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UtPwzAQhO9I/AfL98Rxq/CwklQC1BMVSLQCcbPsTWsRP2Qb0v573LSEonJczeynmd1qttUd+gIflDU1pnmBERhhpTLrGq+W8+wGoxC5kbyzBmq8g4BnzeVFJRwT1sOztw58VBBQIpnAhKvxJkbHCAliA5qHPDlMElvrNY9p9GviuPjgayCTorgiGiKXPHKyB2ZuJOIjUooR6T59NwCkINCBBhMDoTklv94IXod/FwblxKlV3LnU6Rj3lC3FQRzd26BGY9/3eT8dYqT8lLwtHl+Gqpky+1sJwE0lBRMeeLS+qcjpkA7X8RAX6catAnm3axZKeBtsG9FT2yoBaBXAV+TcmKBDB6aPyyjFYocSP9Lr9P5hOcfNpKDXGS2yolzSkpW3jJbv+yB/ASnb2SObbwAAAP//AwBQSwECLQAUAAYACAAAACEAGU8NMmQBAACgBQAAEwAAAAAAAAAAAAAAAAAAAAAAW0NvbnRlbnRfVHlwZXNdLnhtbFBLAQItABQABgAIAAAAIQBQfE7B8wAAAEwCAAALAAAAAAAAAAAAAAAAAJ0DAABfcmVscy8ucmVsc1BLAQItABQABgAIAAAAIQCoETvyAwEAANQDAAAaAAAAAAAAAAAAAAAAAMEGAAB4bC9fcmVscy93b3JrYm9vay54bWwucmVsc1BLAQItABQABgAIAAAAIQATvMnIrwIAAKEFAAAPAAAAAAAAAAAAAAAAAAQJAAB4bC93b3JrYm9vay54bWxQSwECLQAUAAYACAAAACEA3AYHvnoGAADZGwAAEwAAAAAAAAAAAAAAAADgCwAAeGwvdGhlbWUvdGhlbWUxLnhtbFBLAQItABQABgAIAAAAIQCU7BIregEAAKcCAAAYAAAAAAAAAAAAAAAAAIsSAAB4bC93b3Jrc2hlZXRzL3NoZWV0Mi54bWxQSwECLQAUAAYACAAAACEAlOwSK3oBAACnAgAAGAAAAAAAAAAAAAAAAAA7FAAAeGwvd29ya3NoZWV0cy9zaGVldDMueG1sUEsBAi0AFAAGAAgAAAAhAHB2/0CoAgAAZQYAABgAAAAAAAAAAAAAAAAA6xUAAHhsL3dvcmtzaGVldHMvc2hlZXQxLnhtbFBLAQItABQABgAIAAAAIQAYFungywAAADYBAAAUAAAAAAAAAAAAAAAAAMkYAAB4bC9zaGFyZWRTdHJpbmdzLnhtbFBLAQItABQABgAIAAAAIQBz8BYZrQMAAA4NAAANAAAAAAAAAAAAAAAAAMYZAAB4bC9zdHlsZXMueG1sUEsBAi0AFAAGAAgAAAAhABUuMW+TAQAAPgMAABAAAAAAAAAAAAAAAAAAnh0AAGRvY1Byb3BzL2FwcC54bWxQSwECLQAUAAYACAAAACEAY7gjITgBAAAVAgAAEQAAAAAAAAAAAAAAAABnIAAAZG9jUHJvcHMvY29yZS54bWxQSwUGAAAAAAwADAAMAwAA1iIAAAAADw4AAAABAAAACAIAAAAFE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KEEGIwAAAAVBcmlhbAYkAAAAFu+8re+8syDvvLDjgrTjgrfjg4Pjgq8JJQAAAAEACSYAAAAHEwAAAAABAAAAEQAAAAQUU3lzdGVtLkRyYXdpbmcuQ29sb3IEAAAABScAAAAUU3lzdGVtLkRyYXdpbmcuQ29sb3IEAAAABXZhbHVlBXN0YXRlCmtub3duQ29sb3IEbmFtZQAAAAEJBwcEAAAAAAAAAAAAAAAAAAAACgEoAAAAJwAAAAAAAP//////AgAAAAoBKQAAACcAAAD//////////wIAAAAKASoAAAAnAAAATkEi//////8CAAAACgErAAAAJwAAAN7c2///////AgAAAAoBLAAAACcAAAB+aT///////wIAAAAKAS0AAAAnAAAAjIRy//////8CAAAACgEuAAAAJwAAACUh7f//////AgAAAAoBLwAAACcAAAA0O0b//////wIAAAAKATAAAAAnAAAAdJjD//////8CAAAACgExAAAAJwAAAB6U9///////AgAAAAoBMgAAACcAAAAelPf//////wIAAAAKATMAAAAnAAAAJSHt//////8CAAAACgE0AAAAJwAAAAAAAP//////AgAAAAoBNQAAACcAAAD//////////wIAAAAKATYAAAAnAAAATkEi//////8CAAAACgE3AAAAJwAAAN7c2///////AgAAAAoEFAAAAJgBU3lzdGVtLkNvbGxlY3Rpb25zLkdlbmVyaWMuTGlzdGAxW1tBcGxvcmlzLkJhc2UuT2JqZWN0cy5EYXRhT2JqZWN0LCBBcGxvcmlzLkJhc2UsIFZlcnNpb249NC4yLjAuMTkwOCwgQ3VsdHVyZT1uZXV0cmFsLCBQdWJsaWNLZXlUb2tlbj0xNmZjMTNhMjI2YzBlOTUxXV0DAAAABl9pdGVtcwVfc2l6ZQhfdmVyc2lvbgQAACFBcGxvcmlzLkJhc2UuT2JqZWN0cy5EYXRhT2JqZWN0W10DAAAACAgJOAAAAAMAAAADAAAABBUAAACVAVN5c3RlbS5Db2xsZWN0aW9ucy5HZW5lcmljLkxpc3RgMVtbQXBsb3Jpcy5CYXNlLlVJLlZpc3VhbE9iamVjdCwgQXBsb3Jpcy5CYXNlLCBWZXJzaW9uPTQuMi4wLjE5MDgsIEN1bHR1cmU9bmV1dHJhbCwgUHVibGljS2V5VG9rZW49MTZmYzEzYTIyNmMwZTk1MV1dAwAAAAZfaXRlbXMFX3NpemUIX3ZlcnNpb24EAAAeQXBsb3Jpcy5CYXNlLlVJLlZpc3VhbE9iamVjdFtdAwAAAAgICTkAAAAAAAAAAAAAAAcWAAAAAAEAAAAAAAAABCRBcGxvcmlzLkNoYXJ0LlBpZUNoYXJ0K1VudXNlZEVsZW1lbnQCAAAABBcAAACXAVN5c3RlbS5Db2xsZWN0aW9ucy5HZW5lcmljLkxpc3RgMVtbQXBsb3Jpcy5DaGFydC5QaWVDaGFydEVsZW1lbnQsIEFwbG9yaXMuQ2hhcnQsIFZlcnNpb249NC4yLjAuMTkwOCwgQ3VsdHVyZT1uZXV0cmFsLCBQdWJsaWNLZXlUb2tlbj0xNmZjMTNhMjI2YzBlOTUxXV0DAAAABl9pdGVtcwVfc2l6ZQhfdmVyc2lvbgQAAB9BcGxvcmlzLkNoYXJ0LlBpZUNoYXJ0RWxlbWVudFtdAgAAAAgICToAAAAFAAAACwAAAAEYAAAAFAAAAAk7AAAABQAAAAUAAAABGQAAABUAAAAJOQAAAAAAAAAAAAAADxoAAAAAAAAACA8bAAAAAAAAAAgFJQAAABpBcGxvcmlzLkJhc2UuT2JqZWN0cy5Db2xvcgcAAAASRGF0YU9iamVjdCttUGFyZW50FURhdGFPYmplY3QrbUNvbnRhaW5lcgVtVHlwZQRtUkdCEG1UaGVtZUNvbG9ySW5kZXgMbUF1dG9VcGRhdGVkCW1Nb2RpZmllZAICAAAAAAAICAgBAQMAAAAKCgAAAAAAAAAADQAAAAABASYAAAAlAAAACgoBAAAAAAAAAP////8AAQc4AAAAAAEAAAAEAAAABB9BcGxvcmlzLkJhc2UuT2JqZWN0cy5EYXRhT2JqZWN0AwAAAAkIAAAACQkAAAAJBgAAAAoHOQAAAAABAAAAAAAAAAQcQXBsb3Jpcy5CYXNlLlVJLlZpc3VhbE9iamVjdAMAAAAHOgAAAAABAAAACAAAAAQdQXBsb3Jpcy5DaGFydC5QaWVDaGFydEVsZW1lbnQCAAAACTwAAAAJPQAAAAk+AAAACT8AAAAJQAAAAA0DBzsAAAAAAQAAAAgAAAAEH0FwbG9yaXMuQmFzZS5PYmplY3RzLkRhdGFPYmplY3QDAAAACTwAAAAJPQAAAAk+AAAACT8AAAAJQAAAAA0DBTwAAAAdQXBsb3Jpcy5DaGFydC5QaWVDaGFydEVsZW1lbnQUAAAABm1DaGFydAZtVmFsdWUMbURlc2NyaXB0aW9uD21DZW50ZXJEaXN0YW5jZQ1tU2hvd0luTGVnZW5kDW1PdXRzaWRlTGFiZWwMbUluc2lkZUxhYmVsCm1WaXN1YWxQaWUIbVZpc2libGUJbUV4Y2VsUm93FW1JbnNpZGVMYWJlbFBvc2l0aW9ucxdtSW5zaWRlTGFiZWxBbmNob3JNb2RlcxRtSW5zaWRlTGFiZWxQb3NpdGlvbhZtT3V0c2lkZUxhYmVsUG9zaXRpb25zGG1PdXRzaWRlTGFiZWxBbmNob3JNb2RlcxVtT3V0c2lkZUxhYmVsUG9zaXRpb24YRGF0YU9iamVjdCttQ2hpbGRPYmplY3RzEkRhdGFPYmplY3QrbVBhcmVudBVEYXRhT2JqZWN0K21Db250YWluZXIZRGF0YU9iamVjdCttVmlzdWFsT2JqZWN0cwQCAgAABAQEAAAEBAAEBAADBAQDFkFwbG9yaXMuQ2hhcnQuUGllQ2hhcnQCAAAACwEVQXBsb3Jpcy5CYXNlLlVJLkxhYmVsAwAAABVBcGxvcmlzLkJhc2UuVUkuTGFiZWwDAAAAGUFwbG9yaXMuQmFzZS5VSS5WaXN1YWxQaWUDAAAAAQgXU3lzdGVtLkRyYXdpbmcuUG9pbnRGW10EAAAAGUFwbG9yaXMuQmFzZS5BbmNob3JNb2RlW10DAAAACBdTeXN0ZW0uRHJhd2luZy5Qb2ludEZbXQQAAAAZQXBsb3Jpcy5CYXNlLkFuY2hvck1vZGVbXQMAAAAI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gGN/HPY0Rewj8GQQAAAA5TZWxmLUNvbnRhaW5lZAAAAAABCUIAAAAJQwAAAAlEAAAAAQIAAAAJRQAAAAlGAAAAAAAAAAlHAAAACUgAAAAAAAAACUkAAAAJAQAAAAkBAAAACUoAAAABPQAAADwAAAAJAQAAAAgGNi4WSGqZwj8GSwAAAAxGYWN1bHR5IE9ubHkAAAAAAQlMAAAACU0AAAAJTgAAAAEDAAAACU8AAAAJUAAAAAAAAAAJUQAAAAlSAAAAAAAAAAlTAAAACQEAAAAJAQAAAAlUAAAAAT4AAAA8AAAACQEAAAAIBjyDKgph+8A/BlUAAAANU3VwcGxlbWVudGFyeQAAAAABCVYAAAAJVwAAAAlYAAAAAQQAAAAJWQAAAAlaAAAAAAAAAAlbAAAACVwAAAAAAAAACV0AAAAJAQAAAAkBAAAACV4AAAABPwAAADwAAAAJAQAAAAgGyQ4wnLuh3T8GXwAAAAVTcGxpdAAAAAABCWAAAAAJYQAAAAliAAAAAQUAAAAJYwAAAAlkAAAAAAAAAAllAAAACWYAAAAAAAAACWcAAAAJAQAAAAkBAAAACWgAAAABQAAAADwAAAAJAQAAAAgGin8eI/KSvT8GaQAAAAVPdGhlcgAAAAABCWoAAAAJawAAAAlsAAAAAQYAAAAJbQAAAAluAAAAAAAAAAlvAAAACXAAAAAAAAAACXEAAAAJAQAAAAkBAAAACXIAAAAFQgA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VzAAAAK0FwbG9yaXMuQ2hhcnQuQ29ubmVjdGVkTGFiZWwrZUNvbm5lY3Rvck1vZGUBAAAAB3ZhbHVlX18ACAIAAAAAAAAABXQAAAA2QXBsb3Jpcy5DaGFydC5Db25uZWN0ZWRMYWJlbCtlQW5nbGVkQ29ubmVjdG9yRGlyZWN0aW9uAQAAAAd2YWx1ZV9fAAgCAAAAAAAAAAF1AAAACwAAAP//f////3//AAAAAAAAAAAFdgAAAC1BcGxvcmlzLkNoYXJ0LkNvbm5lY3RlZExhYmVsK2VUYXJnZXRBcmVhU2hhcGUBAAAAB3ZhbHVlX18ACAIAAAAAAAAAAACgQAABdwAAAAoAAAA//eNDchRrQwV4AAAAF0FwbG9yaXMuQmFzZS5BbmNob3JNb2RlAQAAAAd2YWx1ZV9fAAgDAAAABQAAAAAAAAAAAAAAAAl5AAAAAAAAAAl6AAAAAAAABXsAAAAqQXBsb3Jpcy5CYXNlLlVJLkxhYmVsK0xpbmVBbGlnbm1lbnRPcHRpb25zAQAAAAd2YWx1ZV9fAAgDAAAAAAAAAAV8AAAAFFN5c3RlbS5EcmF3aW5nLlNpemVGAgAAAAV3aWR0aAZoZWlnaHQAAAsLBAAAAAAAzkIAAIhBAX0AAAALAAAAxE7jQ3Via0P6Q6VCEztRQV662T8JQQAAAAoJfgAAAAZ/AAAAADQDAAD/////AQEKCYAAAAABAAoABU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gQAAAAoAAADmFcBD5VFIQwGCAAAAeAAAAAAAAAAAAAAAAAAAAAAJgwAAAAAAAAAJhAAAAAAAAAGFAAAAewAAAAAAAAABhgAAAHwAAAAAAPhBAACIQQGHAAAACwAAAHViuUOd2EFDN/zZQRM7UUFeutk/BogAAAADMTQlCgmJAAAACX8AAAA0AwAA/////wEBCgmKAAAAAQAKAQVEAAAAGUFwbG9yaXMuQmFzZS5VSS5WaXN1YWxQaWURAAAADG1DZW50ZXJQb2ludAdtUmFkaXVzDW1TZWdtZW50U3RhcnQLbVNlZ21lbnRFbmQLbUxpbmVGb3JtYXQLbUZpbGxGb3JtYXQ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AAAQEBAAAAAAHAgAAAwAVU3lzdGVtLkRyYXdpbmcuUG9pbnRGBAAAAAsLCx9BcGxvcmlzLkJhc2UuT2JqZWN0cy5MaW5lRm9ybWF0AwAAAB9BcGxvcmlzLkJhc2UuT2JqZWN0cy5GaWxsRm9ybWF0AwAAABlTeXN0ZW0uRHJhd2luZy5SZWN0YW5nbGVGBAAAAAgIAQEIAQEPU3lzdGVtLkludFB0cltdAQMAAAABiwAAAAoAAAD5FJ1Dbm4mQ26OG0MAAAAAgaROQgmMAAAACY0AAAABjgAAAAsAAAAAAAAAAAAAAAAAAAAAAAAA4AEAAP////8BAQoJjwAAAAEACgAHRQAAAAABAAAAAgAAAAQVU3lzdGVtLkRyYXdpbmcuUG9pbnRGBAAAAAGQAAAACgAAAOYVwEPlUUhDAZEAAAAKAAAAzs7gQ/P/Z0MHRgAAAAABAAAAAgAAAAQXQXBsb3Jpcy5CYXNlLkFuY2hvck1vZGUDAAAAAZIAAAB4AAAAAAAAAAGTAAAAeAAAAAgAAAAHRwAAAAABAAAAAQAAAAQVU3lzdGVtLkRyYXdpbmcuUG9pbnRGBAAAAAGUAAAACgAAAD/940NyFGtDB0gAAAAAAQAAAAEAAAAEF0FwbG9yaXMuQmFzZS5BbmNob3JNb2RlAwAAAAGVAAAAeAAAAAUAAAABSQAAABQAAAAJlgAAAAAAAAAAAAAAAUoAAAAVAAAACZcAAAADAAAAAwAAAAFMAAAAQgAAAApYAgAAAZgAAABzAAAAAAAAAAGZAAAAdAAAAAAAAAABmgAAAAsAAAD//3////9//wAAAAAAAAAAAZsAAAB2AAAAAAAAAAAAoEAAAZwAAAAKAAAANxWuQy/0oUMBnQAAAHgAAAADAAAAAAAAAAAAAAAACZ4AAAAAAAAACZ8AAAAAAAABoAAAAHsAAAAAAAAAAaEAAAB8AAAAAACsQgAAiEEBogAAAAsAAADYiZxDTuyhQ5cci0ITO1FBXrrZPwlLAAAACgmjAAAACX8AAAA0AwAA/////wEBCgmkAAAAAQAKAAFNAAAAQwAAAAGlAAAACgAAACRKpUMidXJDAaYAAAB4AAAAAAAAAAAAAAAAAAAAAAmnAAAAAAAAAAmoAAAAAAAAAakAAAB7AAAAAAAAAAGqAAAAfAAAAAAA+EEAAIhBAasAAAALAAAAJ3aeQ2InbEM3/NlBEztRQV662T8GrAAAAAMxNSUKCa0AAAAJfwAAADQDAAD/////AQEKCa4AAAABAAoBAU4AAABEAAAAAa8AAAAKAAAA+RSdQ25uJkNujhtDgaROQjbxz0IJsAAAAAmxAAAAAbIAAAALAAAAAAAAAAAAAAAAAAAAAAAAAOABAAD/////AQEKCbMAAAABAAoAB08AAAAAAQAAAAIAAAAEFVN5c3RlbS5EcmF3aW5nLlBvaW50RgQAAAABtAAAAAoAAAAkSqVDInVyQwG1AAAACgAAAJ7erEOtVZxDB1AAAAAAAQAAAAIAAAAEF0FwbG9yaXMuQmFzZS5BbmNob3JNb2RlAwAAAAG2AAAAeAAAAAAAAAABtwAAAHgAAAABAAAAB1EAAAAAAQAAAAEAAAAEFVN5c3RlbS5EcmF3aW5nLlBvaW50RgQAAAABuAAAAAoAAAA3Fa5DL/ShQwdSAAAAAAEAAAABAAAABBdBcGxvcmlzLkJhc2UuQW5jaG9yTW9kZQMAAAABuQAAAHgAAAADAAAAAVMAAAAUAAAACZYAAAAAAAAAAAAAAAFUAAAAFQAAAAm6AAAAAwAAAAMAAAABVgAAAEIAAAAKWAIAAAG7AAAAcwAAAAAAAAABvAAAAHQAAAAAAAAAAb0AAAALAAAA//9/////f/8AAAAAAAAAAAG+AAAAdgAAAAAAAAAAAKBAAAG/AAAACgAAAIA3WEPdO5JDAcAAAAB4AAAABgAAAAAAAAAAAAAAAAnBAAAAAAAAAAnCAAAAAAAAAcMAAAB7AAAAAAAAAAHEAAAAfAAAAAAA0EIAAIhBAcUAAAALAAAAiZ0GQ2InkkPSzaZCEztRQV662T8JVQAAAAoJxgAAAAl/AAAANAMAAP////8BAQoJxwAAAAEACgABVwAAAEMAAAAByAAAAAoAAAD6N4VDTNhjQwHJAAAAeAAAAAAAAAAAAAAAAAAAAAAJygAAAAAAAAAJywAAAAAAAAHMAAAAewAAAAAAAAABzQAAAHwAAAAAAPhBAACIQQHOAAAACwAAALATfUPYiV1DN/zZQRM7UUFeutk/Bs8AAAADMTMlCgnQAAAACX8AAAA0AwAA/////wEBCgnRAAAAAQAKAQFYAAAARAAAAAHSAAAACgAAAPkUnUNubiZDbo4bQzbxz0KcuxdDCdMAAAAJ1AAAAAHVAAAACwAAAAAAAAAAAAAAAAAAAAAAAADgAQAA/////wEBCgnWAAAAAQAKAAdZAAAAAAEAAAACAAAABBVTeXN0ZW0uRHJhd2luZy5Qb2ludEYEAAAAAdcAAAAKAAAA+jeFQ0zYY0MB2AAAAAoAAAAj8FtD8taPQwdaAAAAAAEAAAACAAAABBdBcGxvcmlzLkJhc2UuQW5jaG9yTW9kZQMAAAAB2QAAAHgAAAAAAAAAAdoAAAB4AAAABwAAAAdbAAAAAAEAAAABAAAABBVTeXN0ZW0uRHJhd2luZy5Qb2ludEYEAAAAAdsAAAAKAAAAgDdYQ907kkMHXAAAAAABAAAAAQAAAAQXQXBsb3Jpcy5CYXNlLkFuY2hvck1vZGUDAAAAAdwAAAB4AAAABgAAAAFdAAAAFAAAAAmWAAAAAAAAAAAAAAABXgAAABUAAAAJ3QAAAAMAAAADAAAAAWAAAABCAAAAClgCAAAB3gAAAHMAAAAAAAAAAd8AAAB0AAAAAAAAAAHgAAAACwAAAP//f////3//AAAAAAAAAAAB4QAAAHYAAAAAAAAAAACgQAAB4gAAAAoAAADl2l5DyrYOQgHjAAAAeAAAAAgAAAAAAAAAAAAAAAAJ5AAAAAAAAAAJ5QAAAAAAAAHmAAAAewAAAAAAAAAB5wAAAHwAAAAAAPBBAACIQQHoAAAACwAAACd2RkMndrJB1dTTQRM7UUFeutk/CV8AAAAKCekAAAAJfwAAADQDAAD/////AQEKCeoAAAABAAoAAWEAAABDAAAAAesAAAAKAAAA9NCGQ3pTzUIB7AAAAHgAAAAAAAAAAAAAAAAAAAAACe0AAAAAAAAACe4AAAAAAAAB7wAAAHsAAAAAAAAAAfAAAAB8AAAAAAD4QQAAiEEB8QAAAAsAAACxE4BDxE7AQjf82UETO1FBXrrZPwbyAAAAAzQ2JQoJ8wAAAAl/AAAANAMAAP////8BAQoJ9AAAAAEACgEBYgAAAEQAAAAB9QAAAAoAAAD5FJ1Dbm4mQ26OG0OcuxdDrjSfQwn2AAAACfcAAAAB+AAAAAsAAAAAAAAAAAAAAAAAAAAAAAAA4AEAAP////8BAQoJ+QAAAAEACgAHYwAAAAABAAAAAgAAAAQVU3lzdGVtLkRyYXdpbmcuUG9pbnRGBAAAAAH6AAAACgAAAPTQhkN6U81CAfsAAAAKAAAAAj9iQ0ojIkIHZAAAAAABAAAAAgAAAAQXQXBsb3Jpcy5CYXNlLkFuY2hvck1vZGUDAAAAAfwAAAB4AAAAAAAAAAH9AAAAeAAAAAUAAAAHZQAAAAABAAAAAQAAAAQVU3lzdGVtLkRyYXdpbmcuUG9pbnRGBAAAAAH+AAAACgAAAOXaXkPKtg5CB2YAAAAAAQAAAAEAAAAEF0FwbG9yaXMuQmFzZS5BbmNob3JNb2RlAwAAAAH/AAAAeAAAAAgAAAABZwAAABQAAAAJlgAAAAAAAAAAAAAAAWgAAAAVAAAACQABAAADAAAAAwAAAAFqAAAAQgAAAApYAgAAAQEBAABzAAAAAAAAAAECAQAAdAAAAAAAAAABAwEAAAsAAAD//3////9//wAAAAAAAAAAAQQBAAB2AAAAAAAAAAAAoEAAAQUBAAAKAAAA5sHnQ1Vu20IBBgEAAHgAAAAEAAAAAAAAAAAAAAAACQcBAAAAAAAACQgBAAAAAAABCQEAAHsAAAAAAAAAAQoBAAB8AAAAAAAcQgAAiEEBCwEAAAsAAADrxOZDYifOQqWbBUITO1FBXrrZPwlpAAAACgkMAQAACX8AAAA0AwAA/////wEBCgkNAQAAAQAKAAFrAAAAQwAAAAEOAQAACgAAABZwwUOy0QpDAQ8BAAB4AAAAAAAAAAAAAAAAAAAAAAkQAQAAAAAAAAkRAQAAAAAAARIBAAB7AAAAAAAAAAETAQAAfAAAAAAA+EEAAIhBARQBAAALAAAA2Im6Q8ROBEM3/NlBEztRQV662T8GFQEAAAMxMiUKCRYBAAAJfwAAADQDAAD/////AQEKCRcBAAABAAoBAWwAAABEAAAAARgBAAAKAAAA+RSdQ25uJkNujhtDrjSfQwAAAAAJGQEAAAkaAQAAARsBAAALAAAAAAAAAAAAAAAAAAAAAAAAAOABAAD/////AQEKCRwBAAABAAoAB20AAAAAAQAAAAIAAAAEFVN5c3RlbS5EcmF3aW5nLlBvaW50RgQAAAABHQEAAAoAAAAWcMFDstEKQwEeAQAACgAAAH9A4kM2y+NCB24AAAAAAQAAAAIAAAAEF0FwbG9yaXMuQmFzZS5BbmNob3JNb2RlAwAAAAEfAQAAeAAAAAAAAAABIAEAAHgAAAACAAAAB28AAAAAAQAAAAEAAAAEFVN5c3RlbS5EcmF3aW5nLlBvaW50RgQAAAABIQEAAAoAAADmwedDVW7bQgdwAAAAAAEAAAABAAAABBdBcGxvcmlzLkJhc2UuQW5jaG9yTW9kZQMAAAABIgEAAHgAAAAEAAAAAXEAAAAUAAAACZYAAAAAAAAAAAAAAAFyAAAAFQAAAAkjAQAAAwAAAAMAAAABeQAAABIAAAAKCgAAAAAAQEEJIwAAAAkkAAAACSQBAAAAAAklAQAAAXoAAAAlAAAACgoBAAAAAAAAAP////8AAQR+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SYBAAABAAAAAQAAAAWAAAAAH0FwbG9yaXMuQmFzZS5PYmplY3RzLlBlcnNJZERhdGECAAAAA21JZAttQ3VzdG9tRGF0YQcCCAMAAAAJJwEAAAoBgwAAABIAAAAKCgAAAAAAQEEJIwAAAAkkAAAACSgBAAAAAAkpAQAAAYQAAAAlAAAACgoAAAAANmyHAAUAAAAAAQGJAAAAfgAAAAkqAQAAAQAAAAEAAAABigAAAIAAAAAJKwEAAAoFj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BAPwksAQAACS0BAAABAAAA/v///wAAAAABAAAAAAAAAAAAAAABAAAAAAAAAAAAAAWN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S4BAAAJLwEAAAEAAAD+////AAAAAP////8BAAGPAAAAgAAAAAkwAQAACgeWAAAAAAEAAAAAAAAABB9BcGxvcmlzLkJhc2UuT2JqZWN0cy5EYXRhT2JqZWN0AwAAAAeXAAAAAAEAAAAEAAAABBxBcGxvcmlzLkJhc2UuVUkuVmlzdWFsT2JqZWN0AwAAAAlEAAAACUMAAAAJQgAAAAoBngAAABIAAAAKCgAAAAAAQEEJIwAAAAkkAAAACTEBAAAAAAkyAQAAAZ8AAAAlAAAACgoBAAAAAAAAAP////8AAQGjAAAAfgAAAAkzAQAAAQAAAAMAAAABpAAAAIAAAAAJNAEAAAoBpwAAABIAAAAKCgAAAAAAQEEJIwAAAAkkAAAACTUBAAAAAAk2AQAAAagAAAAlAAAACgoAAAAAcoSMAAYAAAAAAQGtAAAAfgAAAAk3AQAAAQAAAAMAAAABrgAAAIAAAAAJOAEAAAoBsAAAAIwAAAAKCgAAAEA/CTkBAAAJOgEAAAEAAAD+////AAAAAAEAAAAAAAAAAAAAAAEAAAAAAAAAAAAAAbEAAACNAAAACgoJOwEAAAk8AQAAAQAAAP7///8AAAAA/////wEAAbMAAACAAAAACT0BAAAKB7oAAAAAAQAAAAQAAAAEHEFwbG9yaXMuQmFzZS5VSS5WaXN1YWxPYmplY3QDAAAACU4AAAAJTQAAAAlMAAAACgHBAAAAEgAAAAoKAAAAAABAQQkjAAAACSQAAAAJPgEAAAAACT8BAAABwgAAACUAAAAKCgEAAAAAAAAA/////wABAcYAAAB+AAAACUABAAABAAAAAwAAAAHHAAAAgAAAAAlBAQAACgHKAAAAEgAAAAoKAAAAAABAQQkjAAAACSQAAAAJQgEAAAAACUMBAAABywAAACUAAAAKCgAAAADtISUABwAAAAABAdAAAAB+AAAACUQBAAABAAAAAwAAAAHRAAAAgAAAAAlFAQAACgHTAAAAjAAAAAoKAAAAQD8JRgEAAAlHAQAAAQAAAP7///8AAAAAAQAAAAAAAAAAAAAAAQAAAAAAAAAAAAAB1AAAAI0AAAAKCglIAQAACUkBAAABAAAA/v///wAAAAD/////AQAB1gAAAIAAAAAJSgEAAAoH3QAAAAABAAAABAAAAAQcQXBsb3Jpcy5CYXNlLlVJLlZpc3VhbE9iamVjdAMAAAAJWAAAAAlXAAAACVYAAAAKAeQAAAASAAAACgoAAAAAAEBBCSMAAAAJJAAAAAlLAQAAAAAJTAEAAAHlAAAAJQAAAAoKAQAAAAAAAAD/////AAEB6QAAAH4AAAAJTQEAAAEAAAADAAAAAeoAAACAAAAACU4BAAAKAe0AAAASAAAACgoAAAAAAEBBCSMAAAAJJAAAAAlPAQAAAAAJUAEAAAHuAAAAJQAAAAoKAAAAAEY7NAAIAAAAAAEB8wAAAH4AAAAJUQEAAAEAAAADAAAAAfQAAACAAAAACVIBAAAKAfYAAACMAAAACgoAAABAPwlTAQAACVQBAAABAAAA/v///wAAAAABAAAAAAAAAAAAAAABAAAAAAAAAAAAAAH3AAAAjQAAAAoKCVUBAAAJVgEAAAEAAAD+////AAAAAP////8BAAH5AAAAgAAAAAlXAQAACgcAAQAAAAEAAAAEAAAABBxBcGxvcmlzLkJhc2UuVUkuVmlzdWFsT2JqZWN0AwAAAAliAAAACWEAAAAJYAAAAAoBBwEAABIAAAAKCgAAAAAAQEEJIwAAAAkkAAAACVgBAAAAAAlZAQAAAQgBAAAlAAAACgoBAAAAAAAAAP////8AAQEMAQAAfgAAAAlaAQAAAQAAAAMAAAABDQEAAIAAAAAJWwEAAAoBEAEAABIAAAAKCgAAAAAAQEEJIwAAAAkkAAAACVwBAAAAAAldAQAAAREBAAAlAAAACgoAAAAAw5h0AAkAAAAAAQEWAQAAfgAAAAleAQAAAQAAAAMAAAABFwEAAIAAAAAJXwEAAAoBGQEAAIwAAAAKCgAAAEA/CWABAAAJYQEAAAEAAAD+////AAAAAAEAAAAAAAAAAAAAAAEAAAAAAAAAAAAAARoBAACNAAAACgoJYgEAAAljAQAAAQAAAP7///8AAAAA/////wEAARwBAACAAAAACWQBAAAKByMBAAAAAQAAAAQAAAAEHEFwbG9yaXMuQmFzZS5VSS5WaXN1YWxPYmplY3QDAAAACWwAAAAJawAAAAlqAAAACgEkAQAAJQAAAAoKAAAAAAAAAAANAAAAAAABJQEAACUAAAAKCgAAAAAAAAAADQAAAAABByYBAAAAAQAAAAQAAAAEHUFwbG9yaXMuQmFzZS5PYmplY3RzLlZhcmlhYmxlAwAAAAVlAQAAHUFwbG9yaXMuQmFzZS5PYmplY3RzLlZhcmlhYmxlAgAAAAZOdW1iZXIIUG9zaXRpb24AAAgIAwAAAAMAAAAAAAAAAWYBAABlAQAAAAAAAAAAAAABZwEAAGUBAAAAAAAAAAAAAAFoAQAAZQEAAAAAAAAAAAAADycBAAABAAAACAsAAAABKAEAACUAAAAKCgAAAAD///8ADgAAAAAAASkBAAAlAAAACgoAAAAA////AA4AAAAAAQcqAQAAAAEAAAAEAAAABB1BcGxvcmlzLkJhc2UuT2JqZWN0cy5WYXJpYWJsZQMAAAABaQEAAGUBAAABAAAAAAAAAAFqAQAAZQEAAAAAAAAAAAAAAWsBAABlAQAAAAAAAAAAAAABbAEAAGUBAAAAAAAAAAAAAA8rAQAAAQAAAAgMAAAABSwBAAAaQXBsb3Jpcy5CYXNlLk9iamVjdHMuQ29sb3IHAAAAEkRhdGFPYmplY3QrbVBhcmVudBVEYXRhT2JqZWN0K21Db250YWluZXIFbVR5cGUEbVJHQhBtVGhlbWVDb2xvckluZGV4DG1BdXRvVXBkYXRlZAltTW9kaWZpZWQEAgAAAAAAH0FwbG9yaXMuQmFzZS5PYmplY3RzLkxpbmVGb3JtYXQDAAAACAgIAQEDAAAACYwAAAAKAAAAAP///wAOAAAAAAAFLQEAABpBcGxvcmlzLkJhc2UuT2JqZWN0cy5Db2xvcgcAAAASRGF0YU9iamVjdCttUGFyZW50FURhdGFPYmplY3QrbUNvbnRhaW5lcgVtVHlwZQRtUkdCEG1UaGVtZUNvbG9ySW5kZXgMbUF1dG9VcGRhdGVkCW1Nb2RpZmllZAQCAAAAAAAfQXBsb3Jpcy5CYXNlLk9iamVjdHMuTGluZUZvcm1hdAMAAAAICAgBAQMAAAAJjAAAAAoBAAAAAAAAAP////8AAQEuAQAAJQAAAAoKAAAAADZshwAFAAAAAAABLwEAACUAAAAKCgEAAAD///8A/////wAADzABAAABAAAACAUAAAABMQEAACUAAAAKCgAAAAAAAAAADQAAAAAAATIBAAAlAAAACgoAAAAAAAAAAA0AAAAAAQczAQAAAAEAAAAEAAAABB1BcGxvcmlzLkJhc2UuT2JqZWN0cy5WYXJpYWJsZQMAAAABbQEAAGUBAAADAAAAAAAAAAFuAQAAZQEAAAAAAAAAAAAAAW8BAABlAQAAAAAAAAAAAAABcAEAAGUBAAAAAAAAAAAAAA80AQAAAQAAAAgPAAAAATUBAAAlAAAACgoAAAAA////AA4AAAAAAAE2AQAAJQAAAAoKAAAAAP///wAOAAAAAAEHNwEAAAABAAAABAAAAAQdQXBsb3Jpcy5CYXNlLk9iamVjdHMuVmFyaWFibGUDAAAAAXEBAABlAQAAAQAAAAAAAAABcgEAAGUBAAAAAAAAAAAAAAFzAQAAZQEAAAAAAAAAAAAAAXQBAABlAQAAAAAAAAAAAAAPOAEAAAEAAAAICgAAAAU5AQAAGkFwbG9yaXMuQmFzZS5PYmplY3RzLkNvbG9yBwAAABJEYXRhT2JqZWN0K21QYXJlbnQVRGF0YU9iamVjdCttQ29udGFpbmVyBW1UeXBlBG1SR0IQbVRoZW1lQ29sb3JJbmRleAxtQXV0b1VwZGF0ZWQJbU1vZGlmaWVkBAIAAAAAAB9BcGxvcmlzLkJhc2UuT2JqZWN0cy5MaW5lRm9ybWF0AwAAAAgICAEBAwAAAAmwAAAACgAAAAD///8ADgAAAAAABToBAAAaQXBsb3Jpcy5CYXNlLk9iamVjdHMuQ29sb3IHAAAAEkRhdGFPYmplY3QrbVBhcmVudBVEYXRhT2JqZWN0K21Db250YWluZXIFbVR5cGUEbVJHQhBtVGhlbWVDb2xvckluZGV4DG1BdXRvVXBkYXRlZAltTW9kaWZpZWQEAgAAAAAAH0FwbG9yaXMuQmFzZS5PYmplY3RzLkxpbmVGb3JtYXQDAAAACAgIAQEDAAAACbAAAAAKAQAAAAAAAAD/////AAEBOwEAACUAAAAKCgAAAAByhIwABgAAAAAAATwBAAAlAAAACgoBAAAA////AP////8AAA89AQAAAQAAAAgEAAAAAT4BAAAlAAAACgoAAAAAAAAAAA0AAAAAAAE/AQAAJQAAAAoKAAAAAAAAAAANAAAAAAEHQAEAAAABAAAABAAAAAQdQXBsb3Jpcy5CYXNlLk9iamVjdHMuVmFyaWFibGUDAAAAAXUBAABlAQAAAwAAAAAAAAABdgEAAGUBAAAAAAAAAAAAAAF3AQAAZQEAAAAAAAAAAAAAAXgBAABlAQAAAAAAAAAAAAAPQQEAAAEAAAAIDQAAAAFCAQAAJQAAAAoKAAAAAP///wAOAAAAAAABQwEAACUAAAAKCgAAAAD///8ADgAAAAABB0QBAAAAAQAAAAQAAAAEHUFwbG9yaXMuQmFzZS5PYmplY3RzLlZhcmlhYmxlAwAAAAF5AQAAZQEAAAEAAAAAAAAAAXoBAABlAQAAAAAAAAAAAAABewEAAGUBAAAAAAAAAAAAAAF8AQAAZQEAAAAAAAAAAAAAD0UBAAABAAAACA4AAAAFRgEAABpBcGxvcmlzLkJhc2UuT2JqZWN0cy5Db2xvcgcAAAASRGF0YU9iamVjdCttUGFyZW50FURhdGFPYmplY3QrbUNvbnRhaW5lcgVtVHlwZQRtUkdCEG1UaGVtZUNvbG9ySW5kZXgMbUF1dG9VcGRhdGVkCW1Nb2RpZmllZAQCAAAAAAAfQXBsb3Jpcy5CYXNlLk9iamVjdHMuTGluZUZvcm1hdAMAAAAICAgBAQMAAAAJ0wAAAAoAAAAA////AA4AAAAAAAVHAQAAGkFwbG9yaXMuQmFzZS5PYmplY3RzLkNvbG9yBwAAABJEYXRhT2JqZWN0K21QYXJlbnQVRGF0YU9iamVjdCttQ29udGFpbmVyBW1UeXBlBG1SR0IQbVRoZW1lQ29sb3JJbmRleAxtQXV0b1VwZGF0ZWQJbU1vZGlmaWVkBAIAAAAAAB9BcGxvcmlzLkJhc2UuT2JqZWN0cy5MaW5lRm9ybWF0AwAAAAgICAEBAwAAAAnTAAAACgEAAAAAAAAA/////wABAUgBAAAlAAAACgoAAAAA7SElAAcAAAAAAAFJAQAAJQAAAAoKAQAAAP///wD/////AAAPSgEAAAEAAAAIAgAAAAFLAQAAJQAAAAoKAAAAAAAAAAANAAAAAAABTAEAACUAAAAKCgAAAAAAAAAADQAAAAABB00BAAAAAQAAAAQAAAAEHUFwbG9yaXMuQmFzZS5PYmplY3RzLlZhcmlhYmxlAwAAAAF9AQAAZQEAAAMAAAAAAAAAAX4BAABlAQAAAAAAAAAAAAABfwEAAGUBAAAAAAAAAAAAAAGAAQAAZQEAAAAAAAAAAAAAD04BAAABAAAACAkAAAABTwEAACUAAAAKCgAAAAD///8ADgAAAAAAAVABAAAlAAAACgoAAAAA////AA4AAAAAAQdRAQAAAAEAAAAEAAAABB1BcGxvcmlzLkJhc2UuT2JqZWN0cy5WYXJpYWJsZQMAAAABgQEAAGUBAAABAAAAAAAAAAGCAQAAZQEAAAAAAAAAAAAAAYMBAABlAQAAAAAAAAAAAAABhAEAAGUBAAAAAAAAAAAAAA9SAQAAAQAAAAgGAAAABVMBAAAaQXBsb3Jpcy5CYXNlLk9iamVjdHMuQ29sb3IHAAAAEkRhdGFPYmplY3QrbVBhcmVudBVEYXRhT2JqZWN0K21Db250YWluZXIFbVR5cGUEbVJHQhBtVGhlbWVDb2xvckluZGV4DG1BdXRvVXBkYXRlZAltTW9kaWZpZWQEAgAAAAAAH0FwbG9yaXMuQmFzZS5PYmplY3RzLkxpbmVGb3JtYXQDAAAACAgIAQEDAAAACfYAAAAKAAAAAP///wAOAAAAAAAFVAEAABpBcGxvcmlzLkJhc2UuT2JqZWN0cy5Db2xvcgcAAAASRGF0YU9iamVjdCttUGFyZW50FURhdGFPYmplY3QrbUNvbnRhaW5lcgVtVHlwZQRtUkdCEG1UaGVtZUNvbG9ySW5kZXgMbUF1dG9VcGRhdGVkCW1Nb2RpZmllZAQCAAAAAAAfQXBsb3Jpcy5CYXNlLk9iamVjdHMuTGluZUZvcm1hdAMAAAAICAgBAQMAAAAJ9gAAAAoBAAAAAAAAAP////8AAQFVAQAAJQAAAAoKAAAAAEY7NAAIAAAAAAABVgEAACUAAAAKCgEAAAD///8A/////wAAD1cBAAABAAAACAMAAAABWAEAACUAAAAKCgAAAAAAAAAADQAAAAAAAVkBAAAlAAAACgoAAAAAAAAAAA0AAAAAAQdaAQAAAAEAAAAEAAAABB1BcGxvcmlzLkJhc2UuT2JqZWN0cy5WYXJpYWJsZQMAAAABhQEAAGUBAAADAAAAAAAAAAGGAQAAZQEAAAAAAAAAAAAAAYcBAABlAQAAAAAAAAAAAAABiAEAAGUBAAAAAAAAAAAAAA9bAQAAAQAAAAgHAAAAAVwBAAAlAAAACgoAAAAAAAAAAA0AAAAAAAFdAQAAJQAAAAoKAAAAAAAAAAANAAAAAAEHXgEAAAABAAAABAAAAAQdQXBsb3Jpcy5CYXNlLk9iamVjdHMuVmFyaWFibGUDAAAAAYkBAABlAQAAAQAAAAAAAAABigEAAGUBAAAAAAAAAAAAAAGLAQAAZQEAAAAAAAAAAAAAAYwBAABlAQAAAAAAAAAAAAAPXwEAAAEAAAAICAAAAAVgAQAAGkFwbG9yaXMuQmFzZS5PYmplY3RzLkNvbG9yBwAAABJEYXRhT2JqZWN0K21QYXJlbnQVRGF0YU9iamVjdCttQ29udGFpbmVyBW1UeXBlBG1SR0IQbVRoZW1lQ29sb3JJbmRleAxtQXV0b1VwZGF0ZWQJbU1vZGlmaWVkBAIAAAAAAB9BcGxvcmlzLkJhc2UuT2JqZWN0cy5MaW5lRm9ybWF0AwAAAAgICAEBAwAAAAkZAQAACgAAAAD///8ADgAAAAAABWEBAAAaQXBsb3Jpcy5CYXNlLk9iamVjdHMuQ29sb3IHAAAAEkRhdGFPYmplY3QrbVBhcmVudBVEYXRhT2JqZWN0K21Db250YWluZXIFbVR5cGUEbVJHQhBtVGhlbWVDb2xvckluZGV4DG1BdXRvVXBkYXRlZAltTW9kaWZpZWQEAgAAAAAAH0FwbG9yaXMuQmFzZS5PYmplY3RzLkxpbmVGb3JtYXQDAAAACAgIAQEDAAAACRkBAAAKAQAAAAAAAAD/////AAEBYgEAACUAAAAKCgAAAADDmHQACQAAAAAAAWMBAAAlAAAACgoBAAAA////AP////8AAA9kAQAAAQAAAAgBAAAACw=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6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7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8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1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1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8SSmrc1m4+LpvGz.1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BbRP0L8gttB0h4XROTwjEMABB0AAAALU3lzdGVtLkd1aWQLAAAAAl9hAl9iAl9jAl9kAl9lAl9mAl9nAl9oAl9pAl9qAl9rAAAAAAAAAAAAAAAIBwcCAgICAgICAgAAAAAAAAAAAAAAAAAAAAAACgoJHgAAAAAKCgoBAAAAAAAAAP////8BAQEfAAAAFAAAAP//H0H//x9B4c8mRLETnkMkZJxBsSwSQ+EPLESyk6hDBSAAAAAVU3lzdGVtLkRyYXdpbmcuUG9pbnRGAgAAAAF4AXkAAAsLBAAAABoKx0MwWmBDBiEAAAAQOHZyS1B5R3hiM1hXTUlDd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AW0T9CFKmaQwEuAAAAIAAAAOMbI0QUqZpDCS8AAAAJMAAAAAkxAAAACTIAAAAAAAAAAAAAAAAAAAAJMwAAAAAAAAAAAAk0AAAACQEAAAAJAQAAAAk1AAAAAQcAAAAGAAAACQEAAAABNgAAACYAAAAAAAAAzcxMPwAAAAgBAAkBAAAACTcAAAAJOAAAAAEAAAAAAAAAAAAAAAAAAADwPwCamZmZmZnJPwAAACBBAAEJOQAAAAoJOgAAAAk7AAAACTwAAAABPQAAACAAAAAW0T9CFKmaQwE+AAAAIAAAABbRP0L8gtt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AW0T9C/ILbQQFpAAAAIAAAAOMbI0QUqZpDCWoAAAAJawAAAAAAAAAKBWwAAAAUU3lzdGVtLkRyYXdpbmcuU2l6ZUYCAAAABXdpZHRoBmhlaWdodAAACwsEAAAAAAAAAAAAAAABbQAAAGwAAAAAAAAAAAAAAAAAAAABbgAAABQAAAAAAAAAAAAAAAAAAAAAAAAAFAAAAP////8BAQoJbwAAAAEACgEPHgAAAE8n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PKkssikAgAASQUAAA8AAAB4bC93b3JrYm9vay54bWykVMtunDAU3VfqPyDvGYN5zEMD0WQe6khVFVVpsqw8xjNY8YMYkyGt+u+9QEnSZpO2LLCvbY7PPedelhetkt4Dt7UwOkPhJEAe18wUQp8y9OV658+QVzuqCyqN5hl65DW6yN+/W56NvTsYc+cBgK4zVDpXLTCuWckVrSem4hp2jsYq6iC0J1xXltOiLjl3SmISBClWVGg0ICzsWzDM8SgY3xjWKK7dAGK5pA7o16Wo6hFNsbfAKWrvmspnRlUAcRBSuMceFHmKLfYnbSw9SEi7DZMRGaavoJVg1tTm6CYAhQeSr/INAxyGQ8r58igkvxlk92hVfaKqu0UiT9LabQvheJGhFEJz5s8LQMI21WUjJOySWRIQ5OH8yYsr20XAfCUdt5o6vjbagVC/JP5fUXrsdWnAAu8zv2+E5eB8p02+hDdlC3qor6grvcbKDOEHavHRyALyxPdnTMo5Kb+xgkRhZMPiwcW60l+DWQDPSeNr7FSV8CSlcZFMYI5fSE5f+/kXolPW64RBmoF+vuzmf8qUL7uKvhH8XD+L2oVeeyt0Yc4ZiqFukfc4hlFAIDz3m7eicCXYEobdkWHtAxen0kFjkSiGRXAHv7ii7wW4qh893dfAqpLGinpDHYXO65plD16HYPxCwMTuC5h3OOPHjEoGxndDfzJOUgJHmNGssRbMX8NOhobbees+1i5fwggeiQx9n853STyfpn64WSV+nIYz/zKMp3683mzjy3kSraLZj2cj4n+r/WCO52Ppt2G8GP8eQLzgR9pIt1f0xDcVUIrINJ0OOQLN37gmJNomm8gnyS7yV8k28MM0In4a70gSrwmJE/LEVbVvo6oow7xlvP8lzUaSql2sLCv3G28n6QmqfOg0OAmMuncvIx7zyH8CAAD//wMAUEsDBBQABgAIAAAAIQDc3bfy0QAAAFABAAAUAAAAeGwvc2hhcmVkU3RyaW5ncy54bWxkkLFOxDAQRHsk/sHa/s6BAhCyfTqBrqQ5+AAr2Uss2WvjXSPy9xghCkI58+Y1Yw6fKaoPrBwyWbjZD6CQxjwFmi28vZ52D6BYPE0+ZkILKzIc3PWVYRbVXWILi0h51JrHBZPnfS5InVxyTV56rLPmUtFPvCBKivp2GO508oFAjbmRWLgH1Si8N3z6zc5wcEbcGeNlN2aSPsfJaHFGf5MfevJji7KqTHHdsnMrJWLCrtb/sMQgW+M4V8Rt+YJNqo/b+jmw/zvX/RH3BQ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NHxzYb4CAABdBwAADQAAAHhsL3N0eWxlcy54bWzEVclu2zAQvRfoPwi8O7IdO7EMSQG8CAiQFgXsAr1SEiUT4SKQVGq16L93SEm20jTI0kN98XA4fO9xZjgKb46ceQ9EaSpFhCYXY+QRkcmcijJCX/fJaIE8bbDIMZOCRKghGt3EHz+E2jSM7A6EGA8ghI7QwZhq6fs6OxCO9YWsiICdQiqODSxV6etKEZxre4gzfzoeX/kcU4FahCXPXgPCsbqvq1EmeYUNTSmjpnFYyOPZ8rYUUuGUgdTjZIazHtstnsBzmimpZWEuAM6XRUEz8lRl4Ac+IMVhIYXRXiZrYSI0BWjLsLwX8rtI7BYksIuKQ/3De8AMPBPk+XGYSSaVZyA1oKx1CcxJG7PGjKaKusACc8qa1g8UcNQltIvkFK7nvL4V00qKw9TFdYzBgJCKnBxJHqHFn5x7fJAcP0PZgbs/DSSUsdO9Z/aK4IhDyL8hSiSw8Dp731RwPwGt0ol0gS+Elwo3k+n8DSe0ZDS3Osq1y6sq0wgl8FtvO5y02zkl4GrW4g9Ex6HfKntB37Ns2+sgcahvYnOkkNVUqhweXt9PtnVaVxwyUhhbUkXLgzOMrOw6lcZIbq2c4lIKzKzt98c6A7AzwtjOvtBvxSOCY+GJmifc3EJPwFu3TdSbUKrObPG6hSUYwrXgA9w5CH8H7rE4E/zH47iqWGNbuH+Wr9AC7/JRik5XeQ/Y5avBXBkg8YPyPiruqUqeHS0R+mxHL4Mx1Wc6rSkzVPytsACaH8+9Aq0BdTd2kLo2OvHARk4KXDOzP21G6Gx/IjmtOSSoi/pCH6RxEBE623e2rydXjoQczZ2GSQb/Xq1ohH5uV9fBZptMR4vxajGaXZL5KJivNqP5bL3abJJgPB2vfw0G+z+Mdff5gfadzJaawfBX3W079buzL0KDRau/HSigG15Ifwv//F2MfwMAAP//AwBQSwMEFAAGAAgAAAAhAAwbgDLfAgAAvwcAABgAAAB4bC93b3Jrc2hlZXRzL3NoZWV0MS54bWyMVcmO4yAQvY80/4C4t7c4q+K0upO0pg8jjWY9E4wT1LbxANn+fgpIHC89rfiQYPx49V5RBfPHU5GjA5OKizLBoRdgxEoqUl5uE/zr58vDBCOlSZmSXJQswWem8OPi86f5Ucg3tWNMI2AoVYJ3Wlcz31d0xwqiPFGxEr5kQhZEw6vc+qqSjKR2UZH7URCM/ILwEjuGmbyHQ2QZp2wl6L5gpXYkkuVEg36145W6sp3Su/hSSY7g9aqnIXHlvtR8YdzTV3AqhRKZ9qgofCet73LqT1s+C3qP0YLIt331AMQVmNvwnOuztYtRQWev21JIsslhR05hTGhDJenT368TmBbzlENuTUEgybIEP4WzdYyRv5jbrfvN2VE1xkiTzQ+WM6pZChWEkamMjRBvBvgKUwFQKgswlIRqfmBLlucJXk6huP7aIGYIEfw6RHN8Dfdii+mbRBui2FLkf3iqdxATijZlGdnn+jY58SaDKBiE0bD++F0cvzC+3WlYArM2cbP0vGKKQi2BUC+yIqjIISL8ooKbpoCMk5Oz5gI2uZU+m11wCfLdUmtiRTRZzKU4IihE4FAVMW0SziA0/A8wonulReFMWci7ikCJYXgyFAm+KDQzz24GiEC7giQfFsHcP0Di6GXNso8I24hVHxG1Ees+YlAjfLBXewRpTY8fmjFYm7Ra+qgd9tkhQmtr7IXT1jNcP3RkLpv4wAvjSXtFx3YHPel4jlw2PSigoPncstdyDltwt3ODbTsfdpw7hHM+8YYtAcGo77yJhxIejv8j2ZbRqosefYReDy6JGATj9zcd6v5u6wbbth53rDuEsx54kzhqbeJNgrWybKOH0/gj9KqDHg3aFdWpgPhiPJ52fLsTyjV3RbbsK5FbXiqUs8weIWOMpDtjAg/GWlTmYBlD02+Ehna/vu3gKmTQxYEHO5IJoesXOAZztiX0fLmBkJxxOEblawqtaM7I+upd/AMAAP//AwBQSwMEFAAGAAgAAAAhADiNMnijAgAAPAcAABsAAAB4bC9kcmF3aW5ncy92bWxEcmF3aW5nMS52bWzsVclu2zAQvRfoPxDMwRcbWrK0ZSQDQYrc2gJNl2NAS7TFhOQI4liW8/UdSnJsF+mC9tBLBVuiZh6H8948w1lnDaOv86LN+bpxwheVstLPrC4a8LDEWQFWtNbwly9GJPwMCculLpQYHvs93W/sUV2hDo6x1FGFWIsosrL4Ys1t39rnRvM59ZKB8JWslZFbWCNrheow56rU2KdDXpdW1kcZVkqUOU941JeIjmrMs3YoidtaMV3m/K6L6brDNE45KwCa0utHlfM0uYjjaX/njGrUdHLAUFuslljl3MbT2IyQAXh0jzs1dklHYgMPit2Ddh63hspbjaoZWmTUU6jIVo0stXLYc4aHnGM4uQDnVIGh4Zw3tNoRO2DyROuQkk/i9JyzYePJEc+hiUkNXqMGJ+TCg1mjugzsrGxW2s2MWqK4eF3j5RhAqMVZTO8bXWIlkvSM1pXSqwpFGuKPM+1K1YmkL9NqrxfaaNyKSpelcpfWw2zTyHrWHy8w7JywpTamAANNzk+WdKkksCahFFooibNcIzwpGdA0JoKne3w/6SAjKVfChoEbtFv4Yt0oGvKo2ZPS36nqwKn9LJBctoCOjSKFrksdhCelZtKgCA1NgrkYy0rd7oBhH+X1yomg3WSeRZTtcVnUirHs8N6JaxNG/Za8yj4s7qn6p37A7wFH27CsE++gVV81VtfKGD+wDOFbcugz4StXVNAMjbFkypLzKUvpEU/ZKX3oezZlcRZ14hBJ9a6I0A0JO7+RxqsesIsMLDvxETbz05AJi13wmkxj3bwvOa5DKsD29IZf4WjWHxr14i+NmqTJsVPTA6MGE++MGuI7o6b/jfrvjRocSkYlk9KKDHr6igJT9ubPfdr78RmfJr0xB8/+0qcR/WXOvwEAAP//AwBQSwMEFAAGAAgAAAAhAO4GlDw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T0vDQBDF74LfIew92SQVLUuSgkpPFgVbKt6W2Um7mP3D7mrab+82rbFSj8N78+O9mWq2U13yhc5Lo2tSZDlJUIMRUm9qslrO0ylJfOBa8M5orMkePZk111cVWAbG4YszFl2Q6JNI0p6Brck2BMso9bBFxX0WHTqKrXGKhzi6DbUcPvgGaZnnt1Rh4IIHTg/A1I5EckIKGJH203UDQADFDhXq4GmRFfTXG9Ap/+/CoJw5lQx7Gzud4p6zBRzF0b3zcjT2fZ/1kyFGzF/Qt8XT61A1lfpwK0DSVAIYOOTBuKai50M8XMd9WMQbtxLF/b5ZSHDGmzYkz20rAZOVR1fRS2OEDh2YOi0nMRY7lviR1pOHx+WcNGVe3KX5NC2LZZmz8oaV0/dDkL+AmO3ikc03AAAA//8DAFBLAwQUAAYACAAAACEAgYrM9xEBAAAtAgAAEAAAAHhsL2NvbW1lbnRzMS54bWzEUE1LAzEUvAv+h/DuNtsiUmWTooeK4EGw/oC4edsN5GPJS8vWX+/rbteDJ29CCJnJvJnh1ZsheHHETC5FBctFBQJjk6yLewUfu+3NGgQVE63xKaKCExJs9PVV3aQQMBYSbBBJQVdK/yAlNR0GQ4vUY+SfNuVgCsO8l9RnNJY6xBK8XFXVnQzGRdC1OZQuZZofQupa/nCXoFdHRc+pImOr4GkJYpK9WAUVGxUcWJT5vPH1eTaiL3E0XsE9nFGTfMrCRYsD8syaHZjN2xTLJNuZLgUzsq0Jzp8mejUycrQt+jmnQy8sUpNdX3hzVEvOlZwppwry0vpX48fbf2r8jtkh/bHyXH5a+YxIfwMAAP//AwBQSwMEFAAGAAgAAAAhAF6k9QCL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b9swDIbvA/YfDN0bOd0HhkBWUbQbelixAEm7MyfTsVBFMkTWSPbrR9to6qw77caPV+SjVzJXh30oeszkU6zUclGqAqNLtY+7Sj1sv118UQUxxBpCilipI5K6su/fmXVOHWb2SIWMiFSplrlbaU2uxT3QQtpROk3Ke2BJ806npvEOb5N73mNkfVmWnzUeGGON9UV3Gqimiaue/3dondzAR4/bYyfA1lx3XfAOWG5p773LiVLDxT04HzlRW3w9OAxGz2VGODfonrPnoy2Nnqdm4yDgjaywDQRCo18L5g5hsG8NPpM1Pa96dJxyQf63GHipil9AOIBVqofsIbIADrIpGePQEWf7M+UnahGZjBbBVBzDuXYe+492OQokOBcOAyYQaZwjbj0HpB/NGjL/g3g5Jx4ZJt4J57oLKXu6BYY3kOO9Zd1fC777+EQP3TbJIXwx8LxoNi1krMXzk8GngrkT73IYhty0EHdYv2jeNoaHf5x+t11+WpQfSnnJWc3o139s/wAAAP//AwBQSwECLQAUAAYACAAAACEAkleNNXIBAABwBQAAEwAAAAAAAAAAAAAAAAAAAAAAW0NvbnRlbnRfVHlwZXNdLnhtbFBLAQItABQABgAIAAAAIQBQfE7B8wAAAEwCAAALAAAAAAAAAAAAAAAAAKsDAABfcmVscy8ucmVsc1BLAQItABQABgAIAAAAIQCMlsVu8wAAALoCAAAaAAAAAAAAAAAAAAAAAM8GAAB4bC9fcmVscy93b3JrYm9vay54bWwucmVsc1BLAQItABQABgAIAAAAIQDypLLIpAIAAEkFAAAPAAAAAAAAAAAAAAAAAAIJAAB4bC93b3JrYm9vay54bWxQSwECLQAUAAYACAAAACEA3N238tEAAABQAQAAFAAAAAAAAAAAAAAAAADTCwAAeGwvc2hhcmVkU3RyaW5ncy54bWxQSwECLQAUAAYACAAAACEA52V1uNYAAAC4AQAAIwAAAAAAAAAAAAAAAADWDAAAeGwvd29ya3NoZWV0cy9fcmVscy9zaGVldDEueG1sLnJlbHNQSwECLQAUAAYACAAAACEA3AYHvnoGAADZGwAAEwAAAAAAAAAAAAAAAADtDQAAeGwvdGhlbWUvdGhlbWUxLnhtbFBLAQItABQABgAIAAAAIQA0fHNhvgIAAF0HAAANAAAAAAAAAAAAAAAAAJgUAAB4bC9zdHlsZXMueG1sUEsBAi0AFAAGAAgAAAAhAAwbgDLfAgAAvwcAABgAAAAAAAAAAAAAAAAAgRcAAHhsL3dvcmtzaGVldHMvc2hlZXQxLnhtbFBLAQItABQABgAIAAAAIQA4jTJ4owIAADwHAAAbAAAAAAAAAAAAAAAAAJYaAAB4bC9kcmF3aW5ncy92bWxEcmF3aW5nMS52bWxQSwECLQAUAAYACAAAACEA7gaUPDgBAAAVAgAAEQAAAAAAAAAAAAAAAAByHQAAZG9jUHJvcHMvY29yZS54bWxQSwECLQAUAAYACAAAACEAgYrM9xEBAAAtAgAAEAAAAAAAAAAAAAAAAADhHwAAeGwvY29tbWVudHMxLnhtbFBLAQItABQABgAIAAAAIQBepPUAiwEAAA0DAAAQAAAAAAAAAAAAAAAAACAhAABkb2NQcm9wcy9hcHAueG1sUEsFBgAAAAANAA0AWAMAAOEj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W77yt77yzIO+8sOOCtOOCt+ODg+OCrwlyAAAAAQAJcwAAAAcjAAAAAAEAAAARAAAABBRTeXN0ZW0uRHJhd2luZy5Db2xvcgQAAAAFdAAAABRTeXN0ZW0uRHJhd2luZy5Db2xvcgQAAAAFdmFsdWUFc3RhdGUKa25vd25Db2xvcgRuYW1lAAAAAQkHBwQAAAAAAAAAAAAAAAAAAAAKAXUAAAB0AAAAAAAA//////8CAAAACgF2AAAAdAAAAP//////////AgAAAAoBdwAAAHQAAABOQSL//////wIAAAAKAXgAAAB0AAAA3tzb//////8CAAAACgF5AAAAdAAAAH5pP///////AgAAAAoBegAAAHQAAACMhHL//////wIAAAAKAXsAAAB0AAAAJSHt//////8CAAAACgF8AAAAdAAAADQ7Rv//////AgAAAAoBfQAAAHQAAAB0mMP//////wIAAAAKAX4AAAB0AAAAHpT3//////8CAAAACgF/AAAAdAAAAB6U9///////AgAAAAoBgAAAAHQAAAAlIe3//////wIAAAAKAYEAAAB0AAAAAAAA//////8CAAAACgGCAAAAdAAAAP//////////AgAAAAoBgwAAAHQAAABOQSL//////wIAAAAKAYQAAAB0AAAA3tzb//////8CAAAACgQk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mFAAAADAAAAA4AAAAEJ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wOCwgQ3VsdHVyZT1uZXV0cmFsLCBQdWJsaWNLZXlUb2tlbj0xNmZjMTNhMjI2YzBlOTUxXV0DAAAAkQFTeXN0ZW0uQ29sbGVjdGlvbnMuR2VuZXJpYy5MaXN0YDFbW0FwbG9yaXMuQ2hhcnQuVmFsdWVMaW5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cAAAAJiAAAAAkGAAAACQEAAAAJiQAAAAUoAAAAmwFBcGxvcmlzLkJhc2UuT2JqZWN0cy5EYXRhT2JqZWN0Q29sbGVjdGlvbmAxW1tBcGxvcmlzLkNoYXJ0LkF4aXNCcmVhay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DgsIEN1bHR1cmU9bmV1dHJhbCwgUHVibGljS2V5VG9rZW49MTZmYzEzYTIyNmMwZTk1MV1dAwAAAJEBU3lzdGVtLkNvbGxlY3Rpb25zLkdlbmVyaWMuTGlzdGAxW1tBcGxvcmlzLkNoYXJ0LkF4aXNCcmVh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wOCwgQ3VsdHVyZT1uZXV0cmFsLCBQdWJsaWNLZXlUb2tlbj0xNmZjMTNhMjI2YzBlOTUxXV0DAAAAkAFTeXN0ZW0uQ29sbGVjdGlvbnMuR2VuZXJpYy5MaXN0YDFbW0FwbG9yaXMuQ2hhcnQuVGlja01hcm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AW0T9CFKmaQwGSAAAAIAAAAOMbI0QUqZpDCZMAAAC4AQAA/////wEBCgmUAAAAAQAKAQcwAAAAAAEAAAAFAAAABBVTeXN0ZW0uRHJhd2luZy5Qb2ludEYEAAAAAZUAAAAgAAAA49sjRBSpmkMBlgAAACAAAAAW0T9C7LKjQwGXAAAAIAAAAPQYr0PssqNDAZgAAAAgAAAA4xsjROyyo0MBmQAAACAAAADj2yNEFCmdQwcxAAAAAAEAAAAFAAAABBdBcGxvcmlzLkJhc2UuQW5jaG9yTW9kZQMAAAAFmgAAABdBcGxvcmlzLkJhc2UuQW5jaG9yTW9kZQEAAAAHdmFsdWVfXwAIAwAAAAQAAAABmwAAAJoAAAAFAAAAAZwAAACaAAAAAwAAAAGdAAAAmgAAAAYAAAABngAAAJoAAAAFAAAADzIAAAAFAAAAAQAAAAABBT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nwAAACAAAADj2yNEFKmaQwGgAAAAmgAAAAQAAAAAAAAAAAAAAAAJoQAAAAAAAAAJogAAAAAAAAWjAAAAKkFwbG9yaXMuQmFzZS5VSS5MYWJlbCtMaW5lQWxpZ25tZW50T3B0aW9ucwEAAAAHdmFsdWVfXwAIAwAAAAAAAAABpAAAAGwAAAAAAAAAAAAAAAGlAAAAFAAAAAAAAAAAAAAAAAAAAAAAAAAAAAAABqYAAAANQ2F0ZWdvcnkgYXhpcwoJpwAAAAmmAAAA5AIAAP////8AAQoJqAAAAAEACgE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GsQAAAAEl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CbEAAAA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E8AAAALAAAAAoJsgAAAAmzAAAACQcAAAAJAQAAAAm0AAAAAT8AAAAvAAAAAbUAAAAgAAAAFtE/QhSpmkMBtgAAACAAAAAW0T9C/ILbQQm3AAAAuAEAAP////8BAQoJuAAAAAEACgEHQAAAAAABAAAABQAAAAQVU3lzdGVtLkRyYXdpbmcuUG9pbnRGBAAAAAG5AAAAIAAAABbRP0I3NKdBAboAAAAgAAAAEA0sQRSpmkMBuwAAACAAAAAQDSxBRGEoQwG8AAAAIAAAABANLEH8gttBAb0AAAAgAAAAEA0sQTc0p0EHQQAAAAABAAAABQAAAAQXQXBsb3Jpcy5CYXNlLkFuY2hvck1vZGUDAAAAAb4AAACaAAAAAQAAAAG/AAAAmgAAAAgAAAABwAAAAJoAAAACAAAAAcEAAACaAAAABgAAAAHCAAAAmgAAAAcAAAAPQgAAAAUAAAABAAAAAAEBQwAAADMAAAABwwAAACAAAAAW0T9CNzSnQQHEAAAAmgAAAAEAAAAAAAAAAAAAAAAJxQAAAAAAAAAJxgAAAAAAAAHHAAAAowAAAAAAAAAByAAAAGwAAAAAAAAAAAAAAAHJAAAAFAAAAAAAAAAAAAAAAAAAAAAAAAAAAAAABsoAAAAKVmFsdWUgYXhpcwoJywAAAAnKAAAA5AIAAP////8AAQoJzAAAAAEACgEBRAAAACQAAAAJzQAAAAYAAAAGAAAAAUUAAAAlAAAACc4AAAACAAAAAgAAAAdGAAAAAAEAAAAAAAAABC5BcGxvcmlzLkNoYXJ0LkNvbHVtbk9yaWVudGVkQ2hhcnQrVW51c2VkU2VyaWVzAgAAAARHAAAAlwFTeXN0ZW0uQ29sbGVjdGlvbnMuR2VuZXJpYy5MaXN0YDFbW0FwbG9yaXMuQ2hhcnQuQ2hhcnREYXRhU2VyaWVzLCBBcGxvcmlzLkNoYXJ0LCBWZXJzaW9uPTQuMi4wLjE5MDgsIEN1bHR1cmU9bmV1dHJhbCwgUHVibGljS2V5VG9rZW49MTZmYzEzYTIyNmMwZTk1MV1dAwAAAAZfaXRlbXMFX3NpemUIX3ZlcnNpb24EAAAfQXBsb3Jpcy5DaGFydC5DaGFydERhdGFTZXJpZXNbXQIAAAAICAnPAAAAAwAAABMAAAABSAAAACQAAAAJ0AAAAAMAAAADAAAAAUkAAAAlAAAACdEAAAAAAAAAAAAAAARKAAAAnAFTeXN0ZW0uQ29sbGVjdGlvbnMuR2VuZXJpYy5MaXN0YDFbW0FwbG9yaXMuQ2hhcnQuQW5ub3RhdGlvbkRhdGFTZXJpZXMsIEFwbG9yaXMuQ2hhcnQsIFZlcnNpb249NC4yLjAuMTkwOCwgQ3VsdHVyZT1uZXV0cmFsLCBQdWJsaWNLZXlUb2tlbj0xNmZjMTNhMjI2YzBlOTUxXV0DAAAABl9pdGVtcwVfc2l6ZQhfdmVyc2lvbgQAACRBcGxvcmlzLkNoYXJ0LkFubm90YXRpb25EYXRhU2VyaWVzW10CAAAACAgJ0gAAAAAAAAAAAAAAAUsAAAAkAAAACdMAAAAAAAAAAAAAAAFMAAAAJQAAAAnRAAAAAAAAAAAAAAAETQAAAJcBU3lzdGVtLkNvbGxlY3Rpb25zLkdlbmVyaWMuTGlzdGAxW1tBcGxvcmlzLkNoYXJ0LkFubm90YXRpb25Hcm91cCwgQXBsb3Jpcy5DaGFydCwgVmVyc2lvbj00LjIuMC4xOTA4LCBDdWx0dXJlPW5ldXRyYWwsIFB1YmxpY0tleVRva2VuPTE2ZmMxM2EyMjZjMGU5NTFdXQMAAAAGX2l0ZW1zBV9zaXplCF92ZXJzaW9uBAAAH0FwbG9yaXMuQ2hhcnQuQW5ub3RhdGlvbkdyb3VwW10CAAAACAgJ1AAAAAAAAAAAAAAAAU4AAAAkAAAACdMAAAAAAAAAAAAAAAFPAAAAJQAAAAnRAAAAAAAAAAAAAAAEUAAAAJYBU3lzdGVtLkNvbGxlY3Rpb25zLkdlbmVyaWMuTGlzdGAxW1tBcGxvcmlzLkNoYXJ0LkNoYXJ0RGF0YUdyb3VwLCBBcGxvcmlzLkNoYXJ0LCBWZXJzaW9uPTQuMi4wLjE5MDgsIEN1bHR1cmU9bmV1dHJhbCwgUHVibGljS2V5VG9rZW49MTZmYzEzYTIyNmMwZTk1MV1dAwAAAAZfaXRlbXMFX3NpemUIX3ZlcnNpb24EAAAeQXBsb3Jpcy5DaGFydC5DaGFydERhdGFHcm91cFtdAgAAAAgICdUAAAAEAAAABAAAAAFRAAAAJAAAAAnWAAAABAAAAAQAAAABUgAAACUAAAAJ0QAAAAAAAAAAAAAABFMAAACQAVN5c3RlbS5Db2xsZWN0aW9ucy5HZW5lcmljLkxpc3RgMVtbQXBsb3Jpcy5DaGFydC5EZWx0YUJhciwgQXBsb3Jpcy5DaGFydCwgVmVyc2lvbj00LjIuMC4xOTA4LCBDdWx0dXJlPW5ldXRyYWwsIFB1YmxpY0tleVRva2VuPTE2ZmMxM2EyMjZjMGU5NTFdXQMAAAAGX2l0ZW1zBV9zaXplCF92ZXJzaW9uBAAAGEFwbG9yaXMuQ2hhcnQuRGVsdGFCYXJbXQIAAAAICAnXAAAAAAAAAAAAAAABVAAAACQAAAAJ0wAAAAAAAAAAAAAAAVUAAAAlAAAACdEAAAAAAAAAAAAAAARWAAAAkwFTeXN0ZW0uQ29sbGVjdGlvbnMuR2VuZXJpYy5MaXN0YDFbW0FwbG9yaXMuQ2hhcnQuRGVsdGFCcmlkZ2UsIEFwbG9yaXMuQ2hhcnQsIFZlcnNpb249NC4yLjAuMTkwOCwgQ3VsdHVyZT1uZXV0cmFsLCBQdWJsaWNLZXlUb2tlbj0xNmZjMTNhMjI2YzBlOTUxXV0DAAAABl9pdGVtcwVfc2l6ZQhfdmVyc2lvbgQAABtBcGxvcmlzLkNoYXJ0LkRlbHRhQnJpZGdlW10CAAAACAgJ2AAAAAAAAAAAAAAAAVcAAAAkAAAACdMAAAAAAAAAAAAAAAFYAAAAJQAAAAnRAAAAAAAAAAAAAAAEWQAAAJMBU3lzdGVtLkNvbGxlY3Rpb25zLkdlbmVyaWMuTGlzdGAxW1tBcGxvcmlzLkNoYXJ0Lkdyb3d0aEFycm93LCBBcGxvcmlzLkNoYXJ0LCBWZXJzaW9uPTQuMi4wLjE5MDgsIEN1bHR1cmU9bmV1dHJhbCwgUHVibGljS2V5VG9rZW49MTZmYzEzYTIyNmMwZTk1MV1dAwAAAAZfaXRlbXMFX3NpemUIX3ZlcnNpb24EAAAbQXBsb3Jpcy5DaGFydC5Hcm93dGhBcnJvd1tdAgAAAAgICdkAAAAAAAAAAAAAAAFaAAAAJAAAAAnTAAAAAAAAAAAAAAABWwAAACUAAAAJ0QAAAAAAAAAAAAAABFwAAACaAVN5c3RlbS5Db2xsZWN0aW9ucy5HZW5lcmljLkxpc3RgMVtbQXBsb3Jpcy5DaGFydC5XYXRlcmZhbGxDb25uZWN0b3IsIEFwbG9yaXMuQ2hhcnQsIFZlcnNpb249NC4yLjAuMTkwOCwgQ3VsdHVyZT1uZXV0cmFsLCBQdWJsaWNLZXlUb2tlbj0xNmZjMTNhMjI2YzBlOTUxXV0DAAAABl9pdGVtcwVfc2l6ZQhfdmVyc2lvbgQAACJBcGxvcmlzLkNoYXJ0LldhdGVyZmFsbENvbm5lY3RvcltdAgAAAAgICdoAAAAAAAAAAAAAAAFdAAAAJAAAAAnTAAAAAAAAAAAAAAABXgAAACUAAAAJ0QAAAAAAAAAAAAAABF8AAACYAVN5c3RlbS5Db2xsZWN0aW9ucy5HZW5lcmljLkxpc3RgMVtbQXBsb3Jpcy5DaGFydC5FbGVtZW50Q29ubmVjdG9yLCBBcGxvcmlzLkNoYXJ0LCBWZXJzaW9uPTQuMi4wLjE5MDgsIEN1bHR1cmU9bmV1dHJhbCwgUHVibGljS2V5VG9rZW49MTZmYzEzYTIyNmMwZTk1MV1dAwAAAAZfaXRlbXMFX3NpemUIX3ZlcnNpb24EAAAgQXBsb3Jpcy5DaGFydC5FbGVtZW50Q29ubmVjdG9yW10CAAAACAgJ2wAAAAAAAAAAAAAAAWAAAAAkAAAACdMAAAAAAAAAAAAAAAFhAAAAJQAAAAnR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cAAAACd0AAAABAAAA/v///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4AAAAJ3wAAAAEAAAAAAAAAAAAAAAAAAAAAAQVvAAAAH0FwbG9yaXMuQmFzZS5PYmplY3RzLlBlcnNJZERhdGECAAAAA21JZAttQ3VzdG9tRGF0YQcCCAMAAAAJ4AAAAAoFcgAAABpBcGxvcmlzLkJhc2UuT2JqZWN0cy5Db2xvcgcAAAASRGF0YU9iamVjdCttUGFyZW50FURhdGFPYmplY3QrbUNvbnRhaW5lcgVtVHlwZQRtUkdCEG1UaGVtZUNvbG9ySW5kZXgMbUF1dG9VcGRhdGVkCW1Nb2RpZmllZAICAAAAAAAICAgBAQMAAAAKCgAAAAAAAAAADQAAAAABAXMAAAByAAAACgoBAAAAAAAAAP////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i4wLjE5MDgsIEN1bHR1cmU9bmV1dHJhbCwgUHVibGljS2V5VG9rZW49MTZmYzEzYTIyNmMwZTk1MV1dAwAAAAZfaXRlbXMFX3NpemUIX3ZlcnNpb24EAAAZQXBsb3Jpcy5DaGFydC5WYWx1ZUxpbmVbXQIAAAAICAnhAAAAAAAAAAAAAAABiAAAACQAAAAJ0wAAAAAAAAAAAAAAAYkAAAAlAAAACdEAAAAAAAAAAAAAAASKAAAAkQFTeXN0ZW0uQ29sbGVjdGlvbnMuR2VuZXJpYy5MaXN0YDFbW0FwbG9yaXMuQ2hhcnQuQXhpc0JyZWFrLCBBcGxvcmlzLkNoYXJ0LCBWZXJzaW9uPTQuMi4wLjE5MDgsIEN1bHR1cmU9bmV1dHJhbCwgUHVibGljS2V5VG9rZW49MTZmYzEzYTIyNmMwZTk1MV1dAwAAAAZfaXRlbXMFX3NpemUIX3ZlcnNpb24EAAAZQXBsb3Jpcy5DaGFydC5BeGlzQnJlYWtbXQIAAAAICAniAAAAAAAAAAAAAAABiwAAACQAAAAJ0wAAAAAAAAAAAAAAAYwAAAAlAAAACdEAAAAAAAAAAAAAAASOAAAAkAFTeXN0ZW0uQ29sbGVjdGlvbnMuR2VuZXJpYy5MaXN0YDFbW0FwbG9yaXMuQ2hhcnQuVGlja01hcmssIEFwbG9yaXMuQ2hhcnQsIFZlcnNpb249NC4yLjAuMTkwOCwgQ3VsdHVyZT1uZXV0cmFsLCBQdWJsaWNLZXlUb2tlbj0xNmZjMTNhMjI2YzBlOTUxXV0DAAAABl9pdGVtcwVfc2l6ZQhfdmVyc2lvbgQAABhBcGxvcmlzLkNoYXJ0LlRpY2tNYXJrW10CAAAACAgJ4wAAAAAAAAAAAAAAAY8AAAAkAAAACdMAAAAAAAAAAAAAAAGQAAAAJQAAAAnRAAAAAAAAAAAAAAABkwAAAGoAAAAKCgAAAEA/CeQAAAAJ5QAAAAEAAAD+////AAAAAAEAAAAAAAAAAAAAAAEAAAAAAAAAAAAAAZQAAABvAAAACeY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wAAAAEACegAAAABogAAAHIAAAAKCgEAAAAAAAAA/////wABBKc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6QAAAAAAAAAAAAAAAagAAABvAAAACeoAAAAKB6kAAAAAAQAAAAgAAAAEH0FwbG9yaXMuQmFzZS5PYmplY3RzLkRhdGFPYmplY3QDAAAACSkAAAAJKgAAAAkrAAAACSwAAAAJJwAAAAkoAAAACgoHqgAAAAABAAAABAAAAAQcQXBsb3Jpcy5CYXNlLlVJLlZpc3VhbE9iamVjdAMAAAAJLwAAAAkzAAAACgoBqwAAAIcAAAAJ4QAAAAAAAAAAAAAAAawAAAAkAAAACdMAAAAAAAAAAAAAAAGtAAAAJQAAAAnRAAAAAAAAAAAAAAABrgAAAIoAAAAJ4gAAAAAAAAAAAAAAAa8AAAAkAAAACdMAAAAAAAAAAAAAAAGwAAAAJQAAAAnRAAAAAAAAAAAAAAABsgAAAI4AAAAJ6wAAAAYAAAAoAAAAAbMAAAAkAAAACewAAAAGAAAAKAAAAAG0AAAAJQAAAAnRAAAAAAAAAAAAAAABtwAAAGoAAAAKCgAAAEA/Ce0AAAAJ7gAAAAEAAAD+////AAAAAAEAAAAAAAAAAAAAAAEAAAAAAAAAAAAAAbgAAABvAAAACe8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8AAAAAEACfEAAAABxgAAAHIAAAAKCgEAAAAAAAAA/////wABAcsAAACnAAAACekAAAAAAAAAAAAAAAHMAAAAbwAAAAnyAAAACgfNAAAAAAEAAAAIAAAABB9BcGxvcmlzLkJhc2UuT2JqZWN0cy5EYXRhT2JqZWN0AwAAAAk5AAAACToAAAAJOwAAAAk8AAAACTcAAAAJOAAAAAoKB84AAAAAAQAAAAQAAAAEHEFwbG9yaXMuQmFzZS5VSS5WaXN1YWxPYmplY3QDAAAACT8AAAAJQwAAAAoKB88AAAAAAQAAAAQAAAAEHUFwbG9yaXMuQ2hhcnQuQ2hhcnREYXRhU2VyaWVzAgAAAAnzAAAACfQAAAAJ9QAAAAoH0AAAAAABAAAABAAAAAQfQXBsb3Jpcy5CYXNlLk9iamVjdHMuRGF0YU9iamVjdAMAAAAJ9QAAAAn0AAAACfMAAAAKB9EAAAAAAQAAAAAAAAAEHEFwbG9yaXMuQmFzZS5VSS5WaXN1YWxPYmplY3QDAAAAB9IAAAAAAQAAAAAAAAAEIkFwbG9yaXMuQ2hhcnQuQW5ub3RhdGlvbkRhdGFTZXJpZXMCAAAAB9MAAAAAAQAAAAAAAAAEH0FwbG9yaXMuQmFzZS5PYmplY3RzLkRhdGFPYmplY3QDAAAAB9QAAAAAAQAAAAAAAAAEHUFwbG9yaXMuQ2hhcnQuQW5ub3RhdGlvbkdyb3VwAgAAAAfVAAAAAAEAAAAEAAAABBxBcGxvcmlzLkNoYXJ0LkNoYXJ0RGF0YUdyb3VwAgAAAAn2AAAACfcAAAAJ+AAAAAn5AAAAB9YAAAAAAQAAAAQAAAAEH0FwbG9yaXMuQmFzZS5PYmplY3RzLkRhdGFPYmplY3QDAAAACfYAAAAJ9wAAAAn4AAAACfkAAAAH1wAAAAABAAAAAAAAAAQWQXBsb3Jpcy5DaGFydC5EZWx0YUJhcgIAAAAH2AAAAAABAAAAAAAAAAQZQXBsb3Jpcy5DaGFydC5EZWx0YUJyaWRnZQIAAAAH2QAAAAABAAAAAAAAAAQZQXBsb3Jpcy5DaGFydC5Hcm93dGhBcnJvdwIAAAAH2gAAAAABAAAAAAAAAAQgQXBsb3Jpcy5DaGFydC5XYXRlcmZhbGxDb25uZWN0b3ICAAAAB9sAAAAAAQAAAAAAAAAEHkFwbG9yaXMuQ2hhcnQuRWxlbWVudENvbm5lY3RvcgIAAAAB3AAAAHIAAAAKCgAAAAAAAAAADQAAAAABAd0AAAByAAAACgoBAAAAAAAAAP////8AAQHeAAAAcgAAAAoKAQAAAP///wD/////AAEB3wAAAHIAAAAKCgEAAAAAAAAA/////wABD+AAAAABAAAACAAAAAAH4QAAAAABAAAAAAAAAAQXQXBsb3Jpcy5DaGFydC5WYWx1ZUxpbmUCAAAAB+IAAAAAAQAAAAAAAAAEF0FwbG9yaXMuQ2hhcnQuQXhpc0JyZWFrAgAAAAfjAAAAAAEAAAAAAAAABBZBcGxvcmlzLkNoYXJ0LlRpY2tNYXJrAgAAAAXkAAAAGkFwbG9yaXMuQmFzZS5PYmplY3RzLkNvbG9yBwAAABJEYXRhT2JqZWN0K21QYXJlbnQVRGF0YU9iamVjdCttQ29udGFpbmVyBW1UeXBlBG1SR0IQbVRoZW1lQ29sb3JJbmRleAxtQXV0b1VwZGF0ZWQJbU1vZGlmaWVkBAIAAAAAAB9BcGxvcmlzLkJhc2UuT2JqZWN0cy5MaW5lRm9ybWF0AwAAAAgICAEBAwAAAAmTAAAACgAAAAAAAAAADQAAAAAABeUAAAAaQXBsb3Jpcy5CYXNlLk9iamVjdHMuQ29sb3IHAAAAEkRhdGFPYmplY3QrbVBhcmVudBVEYXRhT2JqZWN0K21Db250YWluZXIFbVR5cGUEbVJHQhBtVGhlbWVDb2xvckluZGV4DG1BdXRvVXBkYXRlZAltTW9kaWZpZWQEAgAAAAAAH0FwbG9yaXMuQmFzZS5PYmplY3RzLkxpbmVGb3JtYXQDAAAACAgIAQEDAAAACZMAAAAKAQAAAAAAAAD/////AAEP5gAAAAEAAAAIaAAAAAHnAAAAcgAAAAoKAAAAAAAAAAANAAAAAAEB6AAAAHIAAAAKCgEAAAAAAAAA/////wABB+kAAAAAAQAAAAAAAAAEHUFwbG9yaXMuQmFzZS5PYmplY3RzLlZhcmlhYmxlAwAAAA/qAAAAAQAAAAgAAAAAB+sAAAAAAQAAABAAAAAEFkFwbG9yaXMuQ2hhcnQuVGlja01hcmsCAAAACfoAAAAJ+wAAAAn8AAAACf0AAAAJ/gAAAAn/AAAADQoH7AAAAAABAAAAEAAAAAQfQXBsb3Jpcy5CYXNlLk9iamVjdHMuRGF0YU9iamVjdAMAAAAJ+gAAAAn7AAAACfwAAAAJ/QAAAAn+AAAACf8AAAANCg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/////AAEP7wAAAAEAAAAIaQAAAAHwAAAAcgAAAAoKAAAAAAAAAAANAAAAAAEB8QAAAHIAAAAKCgEAAAAAAAAA/////wABD/IAAAABAAAAC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QABAAATAAAAAAAAAAIAAAD/////CQcAAAAJAQEAAAYCAQAACERpc2FncmVlCgoAAAAAAAAAAAAAAAAKCgAJAwEAAAkEAQAACQUBAAAAAAAAAAAAAAAAAAAAAAAAAAAJBgEAAAkBAAAACQEAAAAJBwEAAAH0AAAA8wAAAAkBAAAAAQgBAAATAAAAAAAAAAMAAAD/////CQcAAAAJCQEAAAYKAQAAB05ldXRyYWwKCgAAAAAAAAAAAAAAAAoKAAkLAQAACQwBAAAJDQEAAAAAAAAAAQAAAAAAAAAAAAAAAAkOAQAACQEAAAAJAQAAAAkPAQAAAfUAAADzAAAACQEAAAABEAEAABMAAAAAAAAABAAAAP////8JBwAAAAkRAQAABhIBAAAFQWdyZWUKCgAAAAAAAAAAAAAAAAoKAAkTAQAACRQBAAAJFQEAAAAAAAAAAgAAAAAAAAAAAAAAAAkWAQAACQEAAAAJAQAAAAkXAQAABfY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GAEAAA5TZWxmLWNvbnRhaW5lZAAFGQEAAB5BcGxvcmlzLkNoYXJ0LkNoYXJ0R3JvdXBBbmNob3IBAAAAB3ZhbHVlX18ACAIAAAAAAAAACgAAAAABAAAAAQAAAAkaAQAACRsBAAAJHAEAAAoJBwAAAAkdAQAACQEAAAAJAQAAAAkeAQAAAfcAAAD2AAAACQEAAAAGHwEAAAxGYWN1bHR5IG9ubHkAASABAAAZAQAAAAAAAAoAAAAAAQAAAAEAAAAJIQEAAAkiAQAACSMBAAAKCQcAAAAJJAEAAAkBAAAACQEAAAAJJQEAAAH4AAAA9gAAAAkBAAAABiYBAAANU3VwcGxlbWVudGFyeQABJwEAABkBAAAAAAAACgAAAAABAAAAAQAAAAkoAQAACSkBAAAJKgEAAAoJBwAAAAkrAQAACQEAAAAJAQAAAAksAQAAAfkAAAD2AAAACQEAAAAGLQEAAAVTcGxpdAABLgEAABkBAAAAAAAACgAAAAABAAAAAQAAAAkvAQAACTABAAAJMQEAAAoJBwAAAAkyAQAACQEAAAAJAQAAAAkzAQAABfoA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0AQAACgk1AQAACQcAAAABAAAAAAAAAAABNgEAACAAAAAW0T9CFKmaQwE3AQAAIAAAABbRL0IUqZpDAAk4AQAACQcAAAAJAQAAAAk5AQAAAfsAAAD6AAAACToBAAAKCTsBAAAJBwAAAAGamZmZmZnJPwE8AQAAIAAAABbRP0LN8XxDAT0BAAAgAAAAFtEvQs3xfEMACT4BAAAJBwAAAAkBAAAACT8BAAAB/AAAAPoAAAAJQAEAAAoJQQEAAAkHAAAAAZqZmZmZmdk/AUIBAAAgAAAAFtE/QnGRREMBQwEAACAAAAAW0S9CcZFEQwAJRAEAAAkHAAAACQEAAAAJRQEAAAH9AAAA+gAAAAlGAQAACglHAQAACQcAAAABMzMzMzMz4z8BSAEAACAAAAAW0T9CFjEMQwFJAQAAIAAAABbRL0IWMQxDAAlKAQAACQcAAAAJAQAAAAlLAQAAAf4AAAD6AAAACUwBAAAKCU0BAAAJBwAAAAGamZmZmZnpPwFOAQAAIAAAABbRP0J2oadCAU8BAAAgAAAAFtEvQnahp0IACVABAAAJBwAAAAkBAAAACVEBAAAB/wAAAPoAAAAJUgEAAAoJUwEAAAkHAAAAAQAAAAAAAPA/AVQBAAAgAAAAFtE/QvyC20EBVQEAACAAAAAW0S9C/ILbQQAJVgEAAAkHAAAACQEAAAAJVwEAAAUBAQ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YAQAACVkBAAAJ8wAAAAkBAAAACVoBAAAFAwE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VbAQAAK0FwbG9yaXMuQ2hhcnQuQ29ubmVjdGVkTGFiZWwrZUNvbm5lY3Rvck1vZGUBAAAAB3ZhbHVlX18ACAIAAAABAAAABVwBAAA2QXBsb3Jpcy5DaGFydC5Db25uZWN0ZWRMYWJlbCtlQW5nbGVkQ29ubmVjdG9yRGlyZWN0aW9uAQAAAAd2YWx1ZV9fAAgCAAAAAAAAAAFdAQAAFAAAAKEpBUT8gvNBgOawQl7jTEIFXgEAAC1BcGxvcmlzLkNoYXJ0LkNvbm5lY3RlZExhYmVsK2VUYXJnZXRBcmVhU2hhcGUBAAAAB3ZhbHVlX18ACAIAAAAAAAAAAAAQQQEBXwEAACAAAABxRh1ELTNgQgFgAQAAmgAAAAQAAAAAAAAAAAAAAAAJYQEAAAAAAAAJYgEAAAAAAAFjAQAAowAAAAAAAAABZAEAAGwAAAAAAHhCAACIQQFlAQAAFAAAANiJHESd2EFCkWBMQhM7UUFeutk/CQIBAAAKCWYBAAAGZwEAAAAgAwAA/////wEBCgloAQAAAQAKAQcEAQAAAAEAAAACAAAABBVTeXN0ZW0uRHJhd2luZy5Qb2ludEYEAAAAAWkBAAAgAAAAcUYdRC0zYEIBagEAACAAAAAQDSxBylgWQgcFAQAAAAEAAAACAAAABBdBcGxvcmlzLkJhc2UuQW5jaG9yTW9kZQMAAAABawEAAJoAAAAEAAAAAWwBAACaAAAAAgAAAAEGAQAAJAAAAAltAQAAAQAAAAEAAAABBwEAACUAAAAJbgEAAAEAAAABAAAAAQkBAAABAQAACglvAQAACXABAAAJ9AAAAAkBAAAACXEBAAABCwEAAAMBAAAKWAIAAAFyAQAAWwEAAAEAAAABcwEAAFwBAAAAAAAAAXQBAAAUAAAAoSkFRG5Sr0KA5rBCVhOhQgF1AQAAXgEAAAAAAAAAABBBAQF2AQAAIAAAAHFGHUQZ3P9CAXcBAACaAAAABAAAAAAAAAAAAAAAAAl4AQAAAAAAAAl5AQAAAAAAAXoBAACjAAAAAAAAAAF7AQAAbAAAAAAASEIAAIhBAXwBAAAUAAAA2IkcRNiJ8UJDdCdCEztRQV662T8JCgEAAAoJfQEAAAlnAQAAIAMAAP////8BAQoJfgEAAAEACgEHDAEAAAABAAAAAgAAAAQVU3lzdGVtLkRyYXdpbmcuUG9pbnRGBAAAAAF/AQAAIAAAAHFGHUQZ3P9CAYABAAAgAAAAFtErQpfbbkIHDQEAAAABAAAAAgAAAAQXQXBsb3Jpcy5CYXNlLkFuY2hvck1vZGUDAAAAAYEBAACaAAAABAAAAAGCAQAAmgAAAAIAAAABDgEAACQAAAAJgwEAAAEAAAABAAAAAQ8BAAAlAAAACYQBAAABAAAAAQAAAAERAQAAAQEAAAoJhQEAAAmGAQAACfUAAAAJAQAAAAmHAQAAARMBAAADAQAAClgCAAABiAEAAFsBAAABAAAAAYkBAABcAQAAAAAAAAGKAQAAFAAAAKEpBUTiMi5DgOawQkYfBEMBiwEAAF4BAAAAAAAAAAAQQQEBjAEAACAAAABxRh1EhUJwQwGNAQAAmgAAAAQAAAAAAAAAAAAAAAAJjgEAAAAAAAAJjwEAAAAAAAGQAQAAowAAAAAAAAABkQEAAGwAAAAAACRCAACIQQGSAQAAFAAAANiJHESwE2lDCMMLQhM7UUFeutk/CRIBAAAKCZMBAAAJZwEAACADAAD/////AQEKCZQBAAABAAoBBxQBAAAAAQAAAAIAAAAEFVN5c3RlbS5EcmF3aW5nLlBvaW50RgQAAAABlQEAACAAAABxRh1EhUJwQwGWAQAAIAAAAJtBh0H3gT5DBxUBAAAAAQAAAAIAAAAEF0FwbG9yaXMuQmFzZS5BbmNob3JNb2RlAwAAAAGXAQAAmgAAAAQAAAABmAEAAJoAAAACAAAAARYBAAAkAAAACZkBAAABAAAAAQAAAAEXAQAAJQAAAAmaAQAAAQAAAAEAAAAPGgEAAAEAAAAIAAAAAAcbAQAAAAEAAAABAAAABBVBcGxvcmlzLkJhc2UuVUkuTGFiZWwDAAAACZsBAAABHAEAADMAAAABnAEAACAAAABdB/dCFCmdQwGdAQAAmgAAAAMAAAAAAAAAAAAAAAAJngEAAAAAAAAJnwEAAAAAAAGgAQAAowAAAAAAAAABoQEAAGwAAAAAAMZCAACIQQGiAQAAFAAAAGInpkLYiZxDlxyfQhM7UUFeutk/CRgBAAAKCaMBAAAJZwEAACADAAD/////AQEKCaQBAAABAAoBAR0BAAAkAAAACdMAAAAAAAAAAAAAAAEeAQAAJQAAAAmlAQAAAgAAAAIAAAAPIQEAAAEAAAAIAAAAAAciAQAAAAEAAAABAAAABBVBcGxvcmlzLkJhc2UuVUkuTGFiZWwDAAAACaYBAAABIwEAADMAAAABpwEAACAAAABAUYlDFCmdQwGoAQAAmgAAAAMAAAAAAAAAAAAAAAAJqQEAAAAAAAAJqgEAAAAAAAGrAQAAowAAAAAAAAABrAEAAGwAAAAAAKZCAACIQQGtAQAAFAAAAP//b0PYiZxDDn+GQhM7UUFeutk/CR8BAAAKCa4BAAAJZwEAACADAAD/////AQEKCa8BAAABAAoBASQBAAAkAAAACdMAAAAAAAAAAAAAAAElAQAAJQAAAAmwAQAAAgAAAAIAAAAPKAEAAAEAAAAIAAAAAAcpAQAAAAEAAAABAAAABBVBcGxvcmlzLkJhc2UuVUkuTGFiZWwDAAAACbEBAAABKgEAADMAAAABsgEAACAAAACp4NRDFCmdQwGzAQAAmgAAAAMAAAAAAAAAAAAAAAAJtAEAAAAAAAAJtQEAAAAAAAG2AQAAowAAAAAAAAABtwEAAGwAAAAAANBCAACIQQG4AQAAFAAAANiJv0PYiZxD0s2mQhM7UUFeutk/CSYBAAAKCbkBAAAJZwEAACADAAD/////AQEKCboBAAABAAoBASsBAAAkAAAACdMAAAAAAAAAAAAAAAEsAQAAJQAAAAm7AQAAAgAAAAIAAAAPLwEAAAEAAAAIAAAAAAcwAQAAAAEAAAABAAAABBVBcGxvcmlzLkJhc2UuVUkuTGFiZWwDAAAACbwBAAABMQEAADMAAAABvQEAACAAAAAJOBBEFCmdQwG+AQAAmgAAAAMAAAAAAAAAAAAAAAAJvwEAAAAAAAAJwAEAAAAAAAHBAQAAowAAAAAAAAABwgEAAGwAAAAAAPBBAACIQQHDAQAAFAAAALGTDETYiZxD1dTTQRM7UUFeutk/CS0BAAAKCcQBAAAJZwEAACADAAD/////AQEKCcUBAAABAAoBATIBAAAkAAAACdMAAAAAAAAAAAAAAAEzAQAAJQAAAAnGAQAAAgAAAAIAAAABNAEAAC8AAAABxwEAACAAAAAW0T9CFKmaQwHIAQAAIAAAABbRL0IUqZpDCckBAADMAQAA/////wEBCgnKAQAAAQAKAQE1AQAAMwAAAAHLAQAAIAAAABbRKUIUqZpDAcwBAACaAAAAAgAAAAAAAAAAAAAAAAnNAQAAAAAAAAnOAQAAAAAAAc8BAACjAAAAAAAAAAHQAQAAbAAAAAAAsEEAAIhBAdEBAAAUAAAAiZ24QezElkPBmaJBEztRQV662T8G0gEAAAIwJQoJ0wEAAAlnAQAA0AIAAP////8BAQoJ1AEAAAEACgEBOAEAACQAAAAJ0wAAAAAAAAAAAAAAATkBAAAlAAAACdUBAAACAAAAAgAAAAE6AQAALwAAAAHWAQAAIAAAABbRP0LN8XxDAdcBAAAgAAAAFtEvQs3xfEMJ2AEAAMwBAAD/////AQEKCdkBAAABAAoBATsBAAAzAAAAAdoBAAAgAAAAFtEpQs3xfEMB2wEAAJoAAAACAAAAAAAAAAAAAAAACdwBAAAAAAAACd0BAAAAAAAB3gEAAKMAAAAAAAAAAd8BAABsAAAAAAD4QQAAiEEB4AEAABQAAAATO4FBdWJ1Qzf82UETO1FBXrrZPwbhAQAAAzIwJQoJ4gEAAAlnAQAA0AIAAP////8BAQoJ4wEAAAEACgEBPgEAACQAAAAJ0wAAAAAAAAAAAAAAAT8BAAAlAAAACeQBAAACAAAAAgAAAAFAAQAALwAAAAHlAQAAIAAAABbRP0JxkURDAeYBAAAgAAAAFtEvQnGRREMJ5wEAAMwBAAD/////AQEKCegBAAABAAoBAUEBAAAzAAAAAekBAAAgAAAAFtEpQnGRREMB6gEAAJoAAAACAAAAAAAAAAAAAAAACesBAAAAAAAACewBAAAAAAAB7QEAAKMAAAAAAAAAAe4BAABsAAAAAAD4QQAAiEEB7wEAABQAAAATO4FBEzs9Qzf82UETO1FBXrrZPwbwAQAAAzQwJQoJ8QEAAAlnAQAA0AIAAP////8BAQoJ8gEAAAEACgEBRAEAACQAAAAJ0wAAAAAAAAAAAAAAAUUBAAAlAAAACfMBAAACAAAAAgAAAAFGAQAALwAAAAH0AQAAIAAAABbRP0IWMQxDAfUBAAAgAAAAFtEvQhYxDEMJ9gEAAMwBAAD/////AQEKCfcBAAABAAoBAUcBAAAzAAAAAfgBAAAgAAAAFtEpQhYxDEMB+QEAAJoAAAACAAAAAAAAAAAAAAAACfoBAAAAAAAACfsBAAAAAAAB/AEAAKMAAAAAAAAAAf0BAABsAAAAAAD4QQAAiEEB/gEAABQAAAATO4FBxE4EQzf82UETO1FBXrrZPwb/AQAAAzYwJQoJAAIAAAlnAQAA0AIAAP////8BAQoJAQIAAAEACgEBSgEAACQAAAAJ0wAAAAAAAAAAAAAAAUsBAAAlAAAACQICAAACAAAAAgAAAAFMAQAALwAAAAEDAgAAIAAAABbRP0J2oadCAQQCAAAgAAAAFtEvQnahp0IJBQIAAMwBAAD/////AQEKCQYCAAABAAoBAU0BAAAzAAAAAQcCAAAgAAAAFtEpQnahp0IBCAIAAJoAAAACAAAAAAAAAAAAAAAACQkCAAAAAAAACQoCAAAAAAABCwIAAKMAAAAAAAAAAQwCAABsAAAAAAD4QQAAiEEBDQIAABQAAAATO4FBxE6YQjf82UETO1FBXrrZPwYOAgAAAzgwJQoJDwIAAAlnAQAA0AIAAP////8BAQoJEAIAAAEACgEBUAEAACQAAAAJ0wAAAAAAAAAAAAAAAVEBAAAlAAAACRECAAACAAAAAgAAAAFSAQAALwAAAAESAgAAIAAAABbRP0L8gttBARMCAAAgAAAAFtEvQvyC20EJFAIAAMwBAAD/////AQEKCRUCAAABAAoBAVMBAAAzAAAAARYCAAAgAAAAFtEpQvyC20EBFwIAAJoAAAACAAAAAAAAAAAAAAAACRgCAAAAAAAACRkCAAAAAAABGgIAAKMAAAAAAAAAARsCAABsAAAAAAAcQgAAiEEBHAIAABQAAAD//x9B//+fQaWbBUITO1FBXrrZPwYdAgAABDEwMCUKCR4CAAAJZwEAANACAAD/////AQEKCR8CAAABAAoBAVYBAAAkAAAACdMAAAAAAAAAAAAAAAFXAQAAJQAAAAkgAgAAAgAAAAIAAAAEWAEAAJgBU3lzdGVtLkNvbGxlY3Rpb25zLkdlbmVyaWMuTGlzdGAxW1tBcGxvcmlzLkNoYXJ0LkNoYXJ0RGF0YUVsZW1lbnQsIEFwbG9yaXMuQ2hhcnQsIFZlcnNpb249NC4yLjAuMTkwOCwgQ3VsdHVyZT1uZXV0cmFsLCBQdWJsaWNLZXlUb2tlbj0xNmZjMTNhMjI2YzBlOTUxXV0DAAAABl9pdGVtcwVfc2l6ZQhfdmVyc2lvbgQAACBBcGxvcmlzLkNoYXJ0LkNoYXJ0RGF0YUVsZW1lbnRbXQIAAAAICAkhAgAABAAAAAQAAAABWQEAACQAAAAJIgIAAAQAAAAEAAAAAVoBAAAlAAAACdEAAAAAAAAAAAAAAAVh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8wAAAAoAAAAAAEBBCXAAAAAJcQAAAAkjAgAAAAAJJAIAAAFiAQAAcgAAAAoKAAAAAP///wAOAAAAAAEBZgEAAKcAAAAJJQIAAAEAAAABAAAAAWgBAABvAAAACSYCAAAKB20BAAAAAQAAAAQAAAAEH0FwbG9yaXMuQmFzZS5PYmplY3RzLkRhdGFPYmplY3QDAAAACQEBAAANAwduAQAAAAEAAAAEAAAABBxBcGxvcmlzLkJhc2UuVUkuVmlzdWFsT2JqZWN0AwAAAAkDAQAADQMBbwEAAFgBAAAJJwIAAAQAAAAEAAAAAXABAAAkAAAACSgCAAAEAAAABAAAAAFxAQAAJQAAAAnRAAAAAAAAAAAAAAAFe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QAAAAKAAAAAABAQQlwAAAACXEAAAAJKQIAAAAACSoCAAABeQEAAHIAAAAKCgAAAAD///8ADgAAAAABAX0BAACnAAAACSsCAAABAAAAAQAAAAF+AQAAbwAAAAksAgAACgeDAQAAAAEAAAAEAAAABB9BcGxvcmlzLkJhc2UuT2JqZWN0cy5EYXRhT2JqZWN0AwAAAAkJAQAADQMHhAEAAAABAAAABAAAAAQcQXBsb3Jpcy5CYXNlLlVJLlZpc3VhbE9iamVjdAMAAAAJCwEAAA0DAYUBAABYAQAACS0CAAAEAAAABAAAAAGGAQAAJAAAAAkuAgAABAAAAAQAAAABhwEAACUAAAAJ0QAAAAAAAAAAAAAABY4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1AAAACgAAAAAAQEEJcAAAAAlxAAAACS8CAAAAAAkwAgAAAY8BAAByAAAACgoAAAAA////AA4AAAAAAQGTAQAApwAAAAkxAgAAAQAAAAEAAAABlAEAAG8AAAAJMgIAAAoHmQEAAAABAAAABAAAAAQfQXBsb3Jpcy5CYXNlLk9iamVjdHMuRGF0YU9iamVjdAMAAAAJEQEAAA0DB5oBAAAAAQAAAAQAAAAEHEFwbG9yaXMuQmFzZS5VSS5WaXN1YWxPYmplY3QDAAAACRMBAAANAwGbAQAAMwAAAAEzAgAAIAAAAF0H90L8gsNBATQCAACaAAAAAQAAAAAAAAAAAAAAAAk1AgAAAAAAAAk2AgAAAAAAATcCAACjAAAAAAAAAAE4AgAAbAAAAAAALEIAAIhBATkCAAAUAAAAEzvRQv//H0Fq6hFCEztRQV662T8GOgIAAAVuPTE1MwoJOwIAAAk6AgAANAMAAP////8BAQoJPAIAAAEACgEBngEAACIAAAAKCgAAAAAAQEEJcAAAAAlxAAAACT0CAAAAAAk+AgAAAZ8BAAByAAAACgoAAAAA////AA4AAAAAAQGjAQAApwAAAAk/AgAAAQAAAAEAAAABpAEAAG8AAAAJQAIAAAoHpQEAAAABAAAABAAAAAQcQXBsb3Jpcy5CYXNlLlVJLlZpc3VhbE9iamVjdAMAAAAJHAEAAAmbAQAACgoBpgEAADMAAAABQQIAACAAAABAUYlD/ILDQQFCAgAAmgAAAAEAAAAAAAAAAAAAAAAJQwIAAAAAAAAJRAIAAAAAAAFFAgAAowAAAAAAAAABRgIAAGwAAAAAANBBAACIQQFHAgAAFAAAAGIng0P//x9BSze7QRM7UUFeutk/BkgCAAADMTQ4CglJAgAACUgCAAA0AwAA/////wEBCglKAgAAAQAKAQGpAQAAIgAAAAoKAAAAAABAQQlwAAAACXEAAAAJSwIAAAAACUwCAAABqgEAAHIAAAAKCgAAAAD///8ADgAAAAABAa4BAACnAAAACU0CAAABAAAAAQAAAAGvAQAAbwAAAAlOAgAACgewAQAAAAEAAAAEAAAABBxBcGxvcmlzLkJhc2UuVUkuVmlzdWFsT2JqZWN0AwAAAAkjAQAACaYBAAAKCgGxAQAAMwAAAAFPAgAAIAAAAKng1EP8gsNBAVACAACaAAAAAQAAAAAAAAAAAAAAAAlRAgAAAAAAAAlSAgAAAAAAAVMCAACjAAAAAAAAAAFUAgAAbAAAAAAA0EEAAIhBAVUCAAAUAAAA2InOQ///H0FLN7tBEztRQV662T8GVgIAAAMxMzMKCVcCAAAJVgIAADQDAAD/////AQEKCVgCAAABAAoBAbQBAAAiAAAACgoAAAAAAEBBCXAAAAAJcQAAAAlZAgAAAAAJWgIAAAG1AQAAcgAAAAoKAAAAAP///wAOAAAAAAEBuQEAAKcAAAAJWwIAAAEAAAABAAAAAboBAABvAAAACVwCAAAKB7sBAAAAAQAAAAQAAAAEHEFwbG9yaXMuQmFzZS5VSS5WaXN1YWxPYmplY3QDAAAACSoBAAAJsQEAAAoKAbwBAAAzAAAAAV0CAAAgAAAACTgQRPyCw0EBXgIAAJoAAAABAAAAAAAAAAAAAAAACV8CAAAAAAAACWACAAAAAAABYQIAAKMAAAAAAAAAAWICAABsAAAAAADQQQAAiEEBYwIAABQAAAAn9gxE//8fQUs3u0ETO1FBXrrZPwZkAgAAAzQ2MwoJZQIAAAlkAgAANAMAAP////8BAQoJZgIAAAEACgEBvwEAACIAAAAKCgAAAAAAQEEJcAAAAAlxAAAACWcCAAAAAAloAgAAAcABAAByAAAACgoAAAAA////AA4AAAAAAQHEAQAApwAAAAlpAgAAAQAAAAEAAAABxQEAAG8AAAAJagIAAAoHxgEAAAABAAAABAAAAAQcQXBsb3Jpcy5CYXNlLlVJLlZpc3VhbE9iamVjdAMAAAAJMQEAAAm8AQAACgoByQEAAGoAAAAKCgAAAEA/CWsCAAAJbAIAAAEAAAD+////AAAAAAEAAAAAAAAAAAAAAAEAAAAAAAAAAAAAAcoBAABvAAAACW0CAAAKAc0BAAAiAAAACgoAAAAAAEBBCXAAAAAJcQAAAAluAgAAAAAJbwIAAAHOAQAAcgAAAAoKAAAAAP///wAOAAAAAAEB0wEAAKcAAAAJcAIAAAEAAAABAAAAAdQBAABvAAAACXECAAAKB9UBAAAAAQAAAAQAAAAEHEFwbG9yaXMuQmFzZS5VSS5WaXN1YWxPYmplY3QDAAAACTQBAAAJNQEAAAoKAdgBAABqAAAACgoAAABAPwlyAgAACXMCAAABAAAA/v///wAAAAABAAAAAAAAAAAAAAABAAAAAAAAAAAAAAHZAQAAbwAAAAl0AgAACgHcAQAAIgAAAAoKAAAAAABAQQlwAAAACXEAAAAJdQIAAAAACXYCAAAB3QEAAHIAAAAKCgAAAAD///8ADgAAAAABAeIBAACnAAAACXcCAAABAAAAAwAAAAHjAQAAbwAAAAl4AgAACgfkAQAAAAEAAAAEAAAABBxBcGxvcmlzLkJhc2UuVUkuVmlzdWFsT2JqZWN0AwAAAAk6AQAACTsBAAAKCgHnAQAAagAAAAoKAAAAQD8JeQIAAAl6AgAAAQAAAP7///8AAAAAAQAAAAAAAAAAAAAAAQAAAAAAAAAAAAAB6AEAAG8AAAAJewIAAAoB6wEAACIAAAAKCgAAAAAAQEEJcAAAAAlxAAAACXwCAAAAAAl9AgAAAewBAAByAAAACgoAAAAA////AA4AAAAAAQHxAQAApwAAAAl+AgAAAQAAAAMAAAAB8gEAAG8AAAAJfwIAAAoH8wEAAAABAAAABAAAAAQcQXBsb3Jpcy5CYXNlLlVJLlZpc3VhbE9iamVjdAMAAAAJQAEAAAlBAQAACgoB9gEAAGoAAAAKCgAAAEA/CYACAAAJgQIAAAEAAAD+////AAAAAAEAAAAAAAAAAAAAAAEAAAAAAAAAAAAAAfcBAABvAAAACYICAAAKAfoBAAAiAAAACgoAAAAAAEBBCXAAAAAJcQAAAAmDAgAAAAAJhAIAAAH7AQAAcgAAAAoKAAAAAP///wAOAAAAAAEBAAIAAKcAAAAJhQIAAAEAAAADAAAAAQECAABvAAAACYYCAAAKBwICAAAAAQAAAAQAAAAEHEFwbG9yaXMuQmFzZS5VSS5WaXN1YWxPYmplY3QDAAAACUYBAAAJRwEAAAoKAQUCAABqAAAACgoAAABAPwmHAgAACYgCAAABAAAA/v///wAAAAABAAAAAAAAAAAAAAABAAAAAAAAAAAAAAEGAgAAbwAAAAmJAgAACgEJAgAAIgAAAAoKAAAAAABAQQlwAAAACXEAAAAJigIAAAAACYsCAAABCgIAAHIAAAAKCgAAAAD///8ADgAAAAABAQ8CAACnAAAACYwCAAABAAAAAwAAAAEQAgAAbwAAAAmNAgAACgcRAgAAAAEAAAAEAAAABBxBcGxvcmlzLkJhc2UuVUkuVmlzdWFsT2JqZWN0AwAAAAlMAQAACU0BAAAKCgEUAgAAagAAAAoKAAAAQD8JjgIAAAmPAgAAAQAAAP7///8AAAAAAQAAAAAAAAAAAAAAAQAAAAAAAAAAAAABFQIAAG8AAAAJkAIAAAoBGAIAACIAAAAKCgAAAAAAQEEJcAAAAAlxAAAACZECAAAAAAmSAgAAARkCAAByAAAACgoAAAAA////AA4AAAAAAQEeAgAApwAAAAmTAgAAAQAAAAMAAAABHwIAAG8AAAAJlAIAAAoHIAIAAAABAAAABAAAAAQcQXBsb3Jpcy5CYXNlLlVJLlZpc3VhbE9iamVjdAMAAAAJUgEAAAlTAQAACgoHIQIAAAABAAAABAAAAAQeQXBsb3Jpcy5DaGFydC5DaGFydERhdGFFbGVtZW50AgAAAAmVAgAACZYCAAAJlwIAAAmYAgAAByICAAAAAQAAAAQAAAAEH0FwbG9yaXMuQmFzZS5PYmplY3RzLkRhdGFPYmplY3QDAAAACZUCAAAJlgIAAAmXAgAACZgCAAABIwIAAHIAAAAKCgAAAAAAAAAADQAAAAAAASQCAAByAAAACgoAAAAAAAAAAA0AAAAAAQclAgAAAAEAAAAEAAAABB1BcGxvcmlzLkJhc2UuT2JqZWN0cy5WYXJpYWJsZQMAAAAFmQIAAB1BcGxvcmlzLkJhc2UuT2JqZWN0cy5WYXJpYWJsZQIAAAAGTnVtYmVyCFBvc2l0aW9uAAAICAMAAAABAAAAAAAAAAGaAgAAmQIAAAAAAAAAAAAAAZsCAACZAgAAAAAAAAAAAAABnAIAAJkCAAAAAAAAAAAAAA8mAgAAAQAAAAhRAAAABycCAAAAAQAAAAQAAAAEHkFwbG9yaXMuQ2hhcnQuQ2hhcnREYXRhRWxlbWVudAIAAAAJnQIAAAmeAgAACZ8CAAAJoAIAAAcoAgAAAAEAAAAEAAAABB9BcGxvcmlzLkJhc2UuT2JqZWN0cy5EYXRhT2JqZWN0AwAAAAmdAgAACZ4CAAAJnwIAAAmgAgAAASkCAAByAAAACgoAAAAAAAAAAA0AAAAAAAEqAgAAcgAAAAoKAAAAAAAAAAANAAAAAAEHKwIAAAABAAAABAAAAAQdQXBsb3Jpcy5CYXNlLk9iamVjdHMuVmFyaWFibGUDAAAAAaECAACZAgAAAQAAAAAAAAABogIAAJkCAAAAAAAAAAAAAAGjAgAAmQIAAAAAAAAAAAAAAaQCAACZAgAAAAAAAAAAAAAPLAIAAAEAAAAIUgAAAActAgAAAAEAAAAEAAAABB5BcGxvcmlzLkNoYXJ0LkNoYXJ0RGF0YUVsZW1lbnQCAAAACaUCAAAJpgIAAAmnAgAACagCAAAHLgIAAAABAAAABAAAAAQfQXBsb3Jpcy5CYXNlLk9iamVjdHMuRGF0YU9iamVjdAMAAAAJpQIAAAmmAgAACacCAAAJqAIAAAEvAgAAcgAAAAoKAAAAAAAAAAANAAAAAAABMAIAAHIAAAAKCgAAAAAAAAAADQAAAAABBzECAAAAAQAAAAQAAAAEHUFwbG9yaXMuQmFzZS5PYmplY3RzLlZhcmlhYmxlAwAAAAGpAgAAmQIAAAEAAAAAAAAAAaoCAACZAgAAAAAAAAAAAAABqwIAAJkCAAAAAAAAAAAAAAGsAgAAmQIAAAAAAAAAAAAADzICAAABAAAACFMAAAAFN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gAAAAoAAAAAAEBBCXAAAAAJcQAAAAmtAgAAAAAJrgIAAAE2AgAAcgAAAAoKAAAAAP///wAOAAAAAAEBOwIAAKcAAAAJrwIAAAAAAAACAAAAATwCAABvAAAACbACAAAKAT0CAAByAAAACgoAAAAAAAAAAA0AAAAAAAE+AgAAcgAAAAoKAAAAAAAAAAANAAAAAAEHPwIAAAABAAAABAAAAAQdQXBsb3Jpcy5CYXNlLk9iamVjdHMuVmFyaWFibGUDAAAAAbECAACZAgAAAQAAAAAAAAABsgIAAJkCAAAAAAAAAAAAAAGzAgAAmQIAAAAAAAAAAAAAAbQCAACZAgAAAAAAAAAAAAAPQAIAAAEAAAAIHQAAAAVD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3AAAACgAAAAAAQEEJcAAAAAlxAAAACbUCAAAAAAm2AgAAAUQCAAByAAAACgoAAAAA////AA4AAAAAAQFJAgAApwAAAAm3AgAAAAAAAAQAAAABSgIAAG8AAAAJuAIAAAoBSwIAAHIAAAAKCgAAAAAAAAAADQAAAAAAAUwCAAByAAAACgoAAAAAAAAAAA0AAAAAAQdNAgAAAAEAAAAEAAAABB1BcGxvcmlzLkJhc2UuT2JqZWN0cy5WYXJpYWJsZQMAAAABuQIAAJkCAAABAAAAAAAAAAG6AgAAmQIAAAAAAAAAAAAAAbsCAACZAgAAAAAAAAAAAAABvAIAAJkCAAAAAAAAAAAAAA9OAgAAAQAAAAgeAAAABVE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gAAAAKAAAAAABAQQlwAAAACXEAAAAJvQIAAAAACb4CAAABUgIAAHIAAAAKCgAAAAD///8ADgAAAAABAVcCAACnAAAACb8CAAAAAAAABAAAAAFYAgAAbwAAAAnAAgAACgFZAgAAcgAAAAoKAAAAAAAAAAANAAAAAAABWgIAAHIAAAAKCgAAAAAAAAAADQAAAAABB1sCAAAAAQAAAAQAAAAEHUFwbG9yaXMuQmFzZS5PYmplY3RzLlZhcmlhYmxlAwAAAAHBAgAAmQIAAAEAAAAAAAAAAcICAACZAgAAAAAAAAAAAAABwwIAAJkCAAAAAAAAAAAAAAHEAgAAmQIAAAAAAAAAAAAAD1wCAAABAAAACBwAAAAFX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+QAAAAoAAAAAAEBBCXAAAAAJcQAAAAnFAgAAAAAJxgIAAAFgAgAAcgAAAAoKAAAAAP///wAOAAAAAAEBZQIAAKcAAAAJxwIAAAAAAAAGAAAAAWYCAABvAAAACcgCAAAKAWcCAAByAAAACgoAAAAAAAAAAA0AAAAAAAFoAgAAcgAAAAoKAAAAAAAAAAANAAAAAAEHaQIAAAABAAAABAAAAAQdQXBsb3Jpcy5CYXNlLk9iamVjdHMuVmFyaWFibGUDAAAAAckCAACZAgAAAQAAAAAAAAABygIAAJkCAAAAAAAAAAAAAAHLAgAAmQIAAAAAAAAAAAAAAcwCAACZAgAAAAAAAAAAAAAPagIAAAEAAAAIGwAAAAFrAgAAcgAAAAoKAAAAAAAAAAANAAAAAAAFbAIAABpBcGxvcmlzLkJhc2UuT2JqZWN0cy5Db2xvcgcAAAASRGF0YU9iamVjdCttUGFyZW50FURhdGFPYmplY3QrbUNvbnRhaW5lcgVtVHlwZQRtUkdCEG1UaGVtZUNvbG9ySW5kZXgMbUF1dG9VcGRhdGVkCW1Nb2RpZmllZAQCAAAAAAAfQXBsb3Jpcy5CYXNlLk9iamVjdHMuTGluZUZvcm1hdAMAAAAICAgBAQMAAAAJyQEAAAoBAAAAAAAAAP////8AAQ9tAgAAAQAAAAhsAAAAAW4CAAByAAAACgoAAAAAAAAAAA0AAAAAAAFvAgAAcgAAAAoKAAAAAAAAAAANAAAAAAEHcAIAAAABAAAABAAAAAQdQXBsb3Jpcy5CYXNlLk9iamVjdHMuVmFyaWFibGUDAAAAAc0CAACZAgAAAQAAAAAAAAABzgIAAJkCAAAAAAAAAAAAAAHPAgAAmQIAAAAAAAAAAAAAAdACAACZAgAAAAAAAAAAAAAPcQIAAAEAAAAIFQAAAAFyAgAAcgAAAAoKAAAAAAAAAAANAAAAAAAFcwIAABpBcGxvcmlzLkJhc2UuT2JqZWN0cy5Db2xvcgcAAAASRGF0YU9iamVjdCttUGFyZW50FURhdGFPYmplY3QrbUNvbnRhaW5lcgVtVHlwZQRtUkdCEG1UaGVtZUNvbG9ySW5kZXgMbUF1dG9VcGRhdGVkCW1Nb2RpZmllZAQCAAAAAAAfQXBsb3Jpcy5CYXNlLk9iamVjdHMuTGluZUZvcm1hdAMAAAAICAgBAQMAAAAJ2AEAAAoBAAAAAAAAAP////8AAQ90AgAAAQAAAAhqAAAAAXUCAAByAAAACgoAAAAAAAAAAA0AAAAAAAF2AgAAcgAAAAoKAAAAAAAAAAANAAAAAAEHdwIAAAABAAAABAAAAAQdQXBsb3Jpcy5CYXNlLk9iamVjdHMuVmFyaWFibGUDAAAAAdECAACZAgAAAQAAAAAAAAAB0gIAAJkCAAAAAAAAAAAAAAHTAgAAmQIAAAAAAAAAAAAAAdQCAACZAgAAAAAAAAAAAAAPeAIAAAEAAAAIFgAAAAF5AgAAcgAAAAoKAAAAAAAAAAANAAAAAAAFegIAABpBcGxvcmlzLkJhc2UuT2JqZWN0cy5Db2xvcgcAAAASRGF0YU9iamVjdCttUGFyZW50FURhdGFPYmplY3QrbUNvbnRhaW5lcgVtVHlwZQRtUkdCEG1UaGVtZUNvbG9ySW5kZXgMbUF1dG9VcGRhdGVkCW1Nb2RpZmllZAQCAAAAAAAfQXBsb3Jpcy5CYXNlLk9iamVjdHMuTGluZUZvcm1hdAMAAAAICAgBAQMAAAAJ5wEAAAoBAAAAAAAAAP////8AAQ97AgAAAQAAAAhrAAAAAXwCAAByAAAACgoAAAAAAAAAAA0AAAAAAAF9AgAAcgAAAAoKAAAAAAAAAAANAAAAAAEHfgIAAAABAAAABAAAAAQdQXBsb3Jpcy5CYXNlLk9iamVjdHMuVmFyaWFibGUDAAAAAdUCAACZAgAAAQAAAAAAAAAB1gIAAJkCAAAAAAAAAAAAAAHXAgAAmQIAAAAAAAAAAAAAAdgCAACZAgAAAAAAAAAAAAAPfwIAAAEAAAAIGgAAAAGAAgAAcgAAAAoKAAAAAAAAAAANAAAAAAAFgQIAABpBcGxvcmlzLkJhc2UuT2JqZWN0cy5Db2xvcgcAAAASRGF0YU9iamVjdCttUGFyZW50FURhdGFPYmplY3QrbUNvbnRhaW5lcgVtVHlwZQRtUkdCEG1UaGVtZUNvbG9ySW5kZXgMbUF1dG9VcGRhdGVkCW1Nb2RpZmllZAQCAAAAAAAfQXBsb3Jpcy5CYXNlLk9iamVjdHMuTGluZUZvcm1hdAMAAAAICAgBAQMAAAAJ9gEAAAoBAAAAAAAAAP////8AAQ+CAgAAAQAAAAhtAAAAAYMCAAByAAAACgoAAAAAAAAAAA0AAAAAAAGEAgAAcgAAAAoKAAAAAAAAAAANAAAAAAEHhQIAAAABAAAABAAAAAQdQXBsb3Jpcy5CYXNlLk9iamVjdHMuVmFyaWFibGUDAAAAAdkCAACZAgAAAQAAAAAAAAAB2gIAAJkCAAAAAAAAAAAAAAHbAgAAmQIAAAAAAAAAAAAAAdwCAACZAgAAAAAAAAAAAAAPhgIAAAEAAAAIGQAAAAGHAgAAcgAAAAoKAAAAAAAAAAANAAAAAAAFiAIAABpBcGxvcmlzLkJhc2UuT2JqZWN0cy5Db2xvcgcAAAASRGF0YU9iamVjdCttUGFyZW50FURhdGFPYmplY3QrbUNvbnRhaW5lcgVtVHlwZQRtUkdCEG1UaGVtZUNvbG9ySW5kZXgMbUF1dG9VcGRhdGVkCW1Nb2RpZmllZAQCAAAAAAAfQXBsb3Jpcy5CYXNlLk9iamVjdHMuTGluZUZvcm1hdAMAAAAICAgBAQMAAAAJBQIAAAoBAAAAAAAAAP////8AAQ+JAgAAAQAAAAhuAAAAAYoCAAByAAAACgoAAAAAAAAAAA0AAAAAAAGLAgAAcgAAAAoKAAAAAAAAAAANAAAAAAEHjAIAAAABAAAABAAAAAQdQXBsb3Jpcy5CYXNlLk9iamVjdHMuVmFyaWFibGUDAAAAAd0CAACZAgAAAQAAAAAAAAAB3gIAAJkCAAAAAAAAAAAAAAHfAgAAmQIAAAAAAAAAAAAAAeACAACZAgAAAAAAAAAAAAAPjQIAAAEAAAAIFwAAAAGOAgAAcgAAAAoKAAAAAAAAAAANAAAAAAAFjwIAABpBcGxvcmlzLkJhc2UuT2JqZWN0cy5Db2xvcgcAAAASRGF0YU9iamVjdCttUGFyZW50FURhdGFPYmplY3QrbUNvbnRhaW5lcgVtVHlwZQRtUkdCEG1UaGVtZUNvbG9ySW5kZXgMbUF1dG9VcGRhdGVkCW1Nb2RpZmllZAQCAAAAAAAfQXBsb3Jpcy5CYXNlLk9iamVjdHMuTGluZUZvcm1hdAMAAAAICAgBAQMAAAAJFAIAAAoBAAAAAAAAAP////8AAQ+QAgAAAQAAAAhvAAAAAZECAAByAAAACgoAAAAAAAAAAA0AAAAAAAGSAgAAcgAAAAoKAAAAAAAAAAANAAAAAAEHkwIAAAABAAAABAAAAAQdQXBsb3Jpcy5CYXNlLk9iamVjdHMuVmFyaWFibGUDAAAAAeECAACZAgAAAQAAAAAAAAAB4gIAAJkCAAAAAAAAAAAAAAHjAgAAmQIAAAAAAAAAAAAAAeQCAACZAgAAAAAAAAAAAAAPlAIAAAEAAAAIGAAAAAWV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eUCAAAJ5gIAAAoJ5wIAAAoJ8wAAAAgGO99PjZdusj8KAAAAAAnoAgAACekCAAAAAAAAAAnqAgAACfMAAAAJAQAAAAnrAgAAAZYCAACVAgAACewCAAAJ7QIAAAoJ7gIAAAoJ8wAAAAgG30+Nl24Swz8KAQAAAAnvAgAACfACAAAAAAAAAAnxAgAACfMAAAAJAQAAAAnyAgAAAZcCAACVAgAACfMCAAAJ9AIAAAoJ9QIAAAoJ8wAAAAgGCtejcD0Kxz8KAgAAAAn2AgAACfcCAAAAAAAAAAn4AgAACfMAAAAJAQAAAAn5AgAAAZgCAACVAgAACfoCAAAJ+wIAAAoJ/AIAAAoJ8wAAAAgGlkOLbOf7yT8KAwAAAAn9AgAACf4CAAAAAAAAAAn/AgAACfMAAAAJAQAAAAkAAwAAAZ0CAACVAgAACQEDAAAJAgMAAAoJAwMAAAoJ9AAAAAgGw/UoXI/CtT8KAAAAAAkEAwAACQUDAAAAAAAAAAkGAwAACfQAAAAJAQAAAAkHAwAAAZ4CAACVAgAACQgDAAAJCQMAAAoJCgMAAAoJ9AAAAAgGppvEILBy0D8KAQAAAAkLAwAACQwDAAAAAAAAAAkNAwAACfQAAAAJAQAAAAkOAwAAAZ8CAACVAgAACQ8DAAAJEAMAAAoJEQMAAAoJ9AAAAAgG/Knx0k1i0D8KAgAAAAkSAwAACRMDAAAAAAAAAAkUAwAACfQAAAAJAQAAAAkVAwAAAaACAACVAgAACRYDAAAJFwMAAAoJGAMAAAoJ9AAAAAgG2c73U+Ol0z8KAwAAAAkZAwAACRoDAAAAAAAAAAkbAwAACfQAAAAJAQAAAAkcAwAAAaUCAACVAgAACR0DAAAJHgMAAAoJHwMAAAoJ9QAAAAgGYOXQItv56j8KAAAAAAkgAwAACSEDAAAAAAAAAAkiAwAACfUAAAAJAQAAAAkjAwAAAaYCAACVAgAACSQDAAAJJQMAAAoJJgMAAAoJ9QAAAAgGCtejcD0K4z8KAQAAAAknAwAACSgDAAAAAAAAAAkpAwAACfUAAAAJAQAAAAkqAwAAAacCAACVAgAACSsDAAAJLAMAAAoJLQMAAAoJ9QAAAAgGPzVeukkM4j8KAgAAAAkuAwAACS8DAAAAAAAAAAkwAwAACfUAAAAJAQAAAAkxAwAAAagCAACVAgAACTIDAAAJMwMAAAoJNAMAAAoJ9QAAAAgGXI/C9Shc3z8KAwAAAAk1AwAACTYDAAAAAAAAAAk3AwAACfUAAAAJAQAAAAk4AwAAAa0CAAByAAAACgoAAAAAAAAAAA0AAAAAAAGuAgAAcgAAAAoKAAAAAAAAAAANAAAAAAEHrwIAAAABAAAABAAAAAQdQXBsb3Jpcy5CYXNlLk9iamVjdHMuVmFyaWFibGUDAAAAATkDAACZAgAAAAAAAAAAAAABOgMAAJkCAAAAAAAAAAAAAAE7AwAAmQIAAAAAAAAAAAAAATwDAACZAgAAAAAAAAAAAAAPsAIAAAEAAAAIcQAAAAG1AgAAcgAAAAoKAAAAAAAAAAANAAAAAAABtgIAAHIAAAAKCgAAAAAAAAAADQAAAAABB7cCAAAAAQAAAAQAAAAEHUFwbG9yaXMuQmFzZS5PYmplY3RzLlZhcmlhYmxlAwAAAAE9AwAAmQIAAAAAAAAAAAAAAT4DAACZAgAAAAAAAAAAAAABPwMAAJkCAAAAAAAAAAAAAAFAAwAAmQIAAAAAAAAAAAAAD7gCAAABAAAACHAAAAABvQIAAHIAAAAKCgAAAAAAAAAADQAAAAAAAb4CAAByAAAACgoAAAAAAAAAAA0AAAAAAQe/AgAAAAEAAAAEAAAABB1BcGxvcmlzLkJhc2UuT2JqZWN0cy5WYXJpYWJsZQMAAAABQQMAAJkCAAAAAAAAAAAAAAFCAwAAmQIAAAAAAAAAAAAAAUMDAACZAgAAAAAAAAAAAAABRAMAAJkCAAAAAAAAAAAAAA/AAgAAAQAAAAhzAAAAAcUCAAByAAAACgoAAAAAAAAAAA0AAAAAAAHGAgAAcgAAAAoKAAAAAAAAAAANAAAAAAEHxwIAAAABAAAABAAAAAQdQXBsb3Jpcy5CYXNlLk9iamVjdHMuVmFyaWFibGUDAAAAAUUDAACZAgAAAAAAAAAAAAABRgMAAJkCAAAAAAAAAAAAAAFHAwAAmQIAAAAAAAAAAAAAAUgDAACZAgAAAAAAAAAAAAAPyAIAAAEAAAAIcgAAAAHlAgAAAwEAAApYAgAAAUkDAABbAQAAAgAAAAFKAwAAXAEAAAEAAAABSwMAABQAAAAalJ5C/ILzQYbmsEJgumRBAUwDAABeAQAAAAAAAAAAoEAAAU0DAAAgAAAAXQf3QspYFkIBTgMAAJoAAAAAAAAAAAAAAAAAAAAACU8DAAAAAAAACVADAAAAAAABUQMAAKMAAAAAAAAAAVIDAABsAAAAAACwQQAAiEEBUwMAABQAAACJneBC///vQcGZokETO1FBXrrZPwZUAwAAAjclCglVAwAACWcBAAA0AwAA/////wEBCglWAwAAAQAKAQHmAgAAGwAAAAFXAwAAIAAAABqUmEIW8D5CAVgDAAAgAAAAUL0qQ/yC20EJWQMAAAlaAwAAAAAAAAoBWwMAAGwAAAAAAAAAAAAAAAFcAwAAbAAAAAAAAAAAAAAAAAAAAAFdAwAAFAAAAAAAAAAAAAAAAAAAAAAAAACkAQAA/////wEBCgleAwAAAQAKAQfnAgAAAAEAAAACAAAABBpBcGxvcmlzLkJhc2UuVUkuVmlzdWFsTGluZQMAAAAKCgfoAgAAAAEAAAADAAAABBVTeXN0ZW0uRHJhd2luZy5Qb2ludEYEAAAAAV8DAAAgAAAAXQf3QspYFkIBYAMAACAAAAAalJJCylgWQgFhAwAAIAAAAFC9LUPKWBZCB+kCAAAAAQAAAAMAAAAEF0FwbG9yaXMuQmFzZS5BbmNob3JNb2RlAwAAAAFiAwAAmgAAAAAAAAABYwMAAJoAAAACAAAAAWQDAACaAAAABAAAAAHqAgAAJAAAAAnTAAAAAAAAAAAAAAAB6wIAACUAAAAJZQMAAAIAAAAGAAAAAewCAAADAQAAClgCAAABZgMAAFsBAAACAAAAAWcDAABcAQAAAQAAAAFoAwAAFAAAAN5oZkP8gvNBiOawQsbfDkIBaQMAAF4BAAAAAAAAAACgQAABagMAACAAAABAUYlDYTFBQgFrAwAAmgAAAAAAAAAAAAAAAAAAAAAJbAMAAAAAAAAJbQMAAAAAAAFuAwAAowAAAAAAAAABbwMAAGwAAAAAAPhBAACIQQFwAwAAFAAAAAAAgkOxEyNCN/zZQRM7UUFeutk/BnEDAAADMTUlCglyAwAACWcBAAA0AwAA/////wEBCglzAwAAAQAKAQHtAgAAGwAAAAF0AwAAIAAAAN5oY0OiUIpCAXUDAAAgAAAAEe6gQ/yC20EJdgMAAAl3AwAAAAAAAAoBeAMAAGwAAAAAAAAAAAAAAAF5AwAAbAAAAAAAAAAAAAAAAAAAAAF6AwAAFAAAAAAAAAAAAAAAAAAAAAAAAACkAQAA/////wEBCgl7AwAAAQAKAQfuAgAAAAEAAAACAAAABBpBcGxvcmlzLkJhc2UuVUkuVmlzdWFsTGluZQMAAAAKCgfvAgAAAAEAAAADAAAABBVTeXN0ZW0uRHJhd2luZy5Qb2ludEYEAAAAAXwDAAAgAAAAQFGJQ2ExQUIBfQMAACAAAADeaGBDYTFBQgF+AwAAIAAAABFuokNhMUFCB/ACAAAAAQAAAAMAAAAEF0FwbG9yaXMuQmFzZS5BbmNob3JNb2RlAwAAAAF/AwAAmgAAAAAAAAABgAMAAJoAAAACAAAAAYEDAACaAAAABAAAAAHxAgAAJAAAAAnTAAAAAAAAAAAAAAAB8gIAACUAAAAJggMAAAIAAAAGAAAAAfMCAAADAQAAClgCAAABgwMAAFsBAAACAAAAAYQDAABcAQAAAQAAAAGFAwAAFAAAANjDvkP8gvNBiOawQnz0MkIBhgMAAF4BAAAAAAAAAACgQAABhwMAACAAAACp4NRDvDtTQgGIAwAAmgAAAAAAAAAAAAAAAAAAAAAJiQMAAAAAAAAJigMAAAAAAAGLAwAAowAAAAAAAAABjAMAAGwAAAAAAPhBAACIQQGNAwAAFAAAAHVizUPYiTVCN/zZQRM7UUFeutk/Bo4DAAADMTglCgmPAwAACWcBAAA0AwAA/////wEBCgmQAwAAAQAKAQH0AgAAGwAAAAGRAwAAIAAAANhDvUP9WpxCAZIDAAAgAAAAen3sQ/yC20EJkwMAAAmUAwAAAAAAAAoBlQMAAGwAAAAAAAAAAAAAAAGWAwAAbAAAAAAAAAAAAAAAAAAAAAGXAwAAFAAAAAAAAAAAAAAAAAAAAAAAAACkAQAA/////wEBCgmYAwAAAQAKAQf1AgAAAAEAAAACAAAABBpBcGxvcmlzLkJhc2UuVUkuVmlzdWFsTGluZQMAAAAKCgf2AgAAAAEAAAADAAAABBVTeXN0ZW0uRHJhd2luZy5Qb2ludEYEAAAAAZkDAAAgAAAAqeDUQ7w7U0IBmgMAACAAAADYw7tDvDtTQgGbAwAAIAAAAHr97UO8O1NCB/cCAAAAAQAAAAMAAAAEF0FwbG9yaXMuQmFzZS5BbmNob3JNb2RlAwAAAAGcAwAAmgAAAAAAAAABnQMAAJoAAAACAAAAAZ4DAACaAAAABAAAAAH4AgAAJAAAAAnTAAAAAAAAAAAAAAAB+QIAACUAAAAJnwMAAAIAAAAGAAAAAfoCAAADAQAAClgCAAABoAMAAFsBAAACAAAAAaEDAABcAQAAAQAAAAGiAwAAFAAAAKEpBUT8gvNBgOawQl7jTEIBowMAAF4BAAAAAAAAAACgQAABpAMAACAAAAAJOBBELTNgQgGlAwAAmgAAAAAAAAAAAAAAAAAAAAAJpgMAAAAAAAAJpwMAAAAAAAGoAwAAowAAAAAAAAABqQMAAGwAAAAAAPhBAACIQQGqAwAAFAAAALGTDESd2EFCN/zZQRM7UUFeutk/BqsDAAADMjAlCgmsAwAACWcBAAA0AwAA/////wEBCgmtAwAAAQAKAQH7AgAAGwAAAAGuAwAAIAAAAKFpBERuUqlCAa8DAAAgAAAAcQYcRPyC20EJsAMAAAmxAwAAAAAAAAoBsgMAAGwAAAAAAAAAAAAAAAGzAwAAbAAAAAAAAAAAAAAAAAAAAAG0AwAAFAAAAAAAAAAAAAAAAAAAAAAAAACkAQAA/////wEBCgm1AwAAAQAKAQf8AgAAAAEAAAACAAAABBpBcGxvcmlzLkJhc2UuVUkuVmlzdWFsTGluZQMAAAAKCgf9AgAAAAEAAAADAAAABBVTeXN0ZW0uRHJhd2luZy5Qb2ludEYEAAAAAbYDAAAgAAAACTgQRC0zYEIBtwMAACAAAAChqQNELTNgQgG4AwAAIAAAAHHGHEQtM2BCB/4CAAAAAQAAAAMAAAAEF0FwbG9yaXMuQmFzZS5BbmNob3JNb2RlAwAAAAG5AwAAmgAAAAAAAAABugMAAJoAAAACAAAAAbsDAACaAAAABAAAAAH/AgAAJAAAAAnTAAAAAAAAAAAAAAABAAMAACUAAAAJvAMAAAIAAAACAAAAAQEDAAADAQAAClgCAAABvQMAAFsBAAACAAAAAb4DAABcAQAAAQAAAAG/AwAAFAAAABqUnkIW8EpChuawQgSuj0EBwAMAAF4BAAAAAAAAAACgQAABwQMAACAAAABdB/dCl9tuQgHCAwAAmgAAAAAAAAAAAAAAAAAAAAAJwwMAAAAAAAAJxAMAAAAAAAHFAwAAowAAAAAAAAABxgMAAGwAAAAAALBBAACIQQHHAwAAFAAAAImd4EITO1FCwZmiQRM7UUFeutk/BsgDAAACOSUKCckDAAAJZwEAADQDAAD/////AQEKCcoDAAABAAoBAQIDAAAbAAAAAcsDAAAgAAAAGpSYQoxjj0IBzAMAACAAAABQvSpDFvA+QgnNAwAACc4DAAAAAAAACgHPAwAAbAAAAAAAAAAAAAAAAdADAABsAAAAAAAAAAAAAAAAAAAAAdEDAAAUAAAAAAAAAAAAAAAAAAAAAAAAAKQBAAD/////AQEKCdIDAAABAAoBBwMDAAAAAQAAAAIAAAAEGkFwbG9yaXMuQmFzZS5VSS5WaXN1YWxMaW5lAwAAAAoKBwQDAAAAAQAAAAMAAAAEFVN5c3RlbS5EcmF3aW5nLlBvaW50RgQAAAAB0wMAACAAAABdB/dCl9tuQgHUAwAAIAAAABqUkkKX225CAdUDAAAgAAAAUL0tQ5fbbkIHBQMAAAABAAAAAwAAAAQXQXBsb3Jpcy5CYXNlLkFuY2hvck1vZGUDAAAAAdYDAACaAAAAAAAAAAHXAwAAmgAAAAIAAAAB2AMAAJoAAAAEAAAAAQYDAAAkAAAACdMAAAAAAAAAAAAAAAEHAwAAJQAAAAnZAwAAAgAAAAYAAAABCAMAAAMBAAAKWAIAAAHaAwAAWwEAAAIAAAAB2wMAAFwBAAABAAAAAdwDAAAUAAAA3mhmQ6JQkEKI5rBCKOOEQgHdAwAAXgEAAAAAAAAAAKBAAAHeAwAAIAAAAEBRiUM2wtJCAd8DAACaAAAAAAAAAAAAAAAAAAAAAAngAwAAAAAAAAnhAwAAAAAAAeIDAACjAAAAAAAAAAHjAwAAbAAAAAAA+EEAAIhBAeQDAAAUAAAAAACCQ3Viw0I3/NlBEztRQV662T8G5QMAAAMyNiUKCeYDAAAJZwEAADQDAAD/////AQEKCecDAAABAAoBAQkDAAAbAAAAAegDAAAgAAAA3mhjQ+WZDUMB6QMAACAAAAAR7qBDolCKQgnqAwAACesDAAAAAAAACgHsAwAAbAAAAAAAAAAAAAAAAe0DAABsAAAAAAAAAAAAAAAAAAAAAe4DAAAUAAAAAAAAAAAAAAAAAAAAAAAAAKQBAAD/////AQEKCe8DAAABAAoBBwoDAAAAAQAAAAIAAAAEGkFwbG9yaXMuQmFzZS5VSS5WaXN1YWxMaW5lAwAAAAoKBwsDAAAAAQAAAAMAAAAEFVN5c3RlbS5EcmF3aW5nLlBvaW50RgQAAAAB8AMAACAAAABAUYlDNsLSQgHxAwAAIAAAAN5oYEM2wtJCAfIDAAAgAAAAEW6iQzbC0kIHDAMAAAABAAAAAwAAAAQXQXBsb3Jpcy5CYXNlLkFuY2hvck1vZGUDAAAAAfMDAACaAAAAAAAAAAH0AwAAmgAAAAIAAAAB9QMAAJoAAAAEAAAAAQ0DAAAkAAAACdMAAAAAAAAAAAAAAAEOAwAAJQAAAAn2AwAAAgAAAAYAAAABDwMAAAMBAAAKWAIAAAH3AwAAWwEAAAIAAAAB+AMAAFwBAAABAAAAAfkDAAAUAAAA2MO+Q/1aokKI5rBC1VKEQgH6AwAAXgEAAAAAAAAAAKBAAAH7AwAAIAAAAKng1ENohORCAfwDAACaAAAAAAAAAAAAAAAAAAAAAAn9AwAAAAAAAAn+AwAAAAAAAf8DAACjAAAAAAAAAAEABAAAbAAAAAAA+EEAAIhBAQEEAAAUAAAAdWLNQ53Y1UI3/NlBEztRQV662T8GAgQAAAMyNiUKCQMEAAAJZwEAADQDAAD/////AQEKCQQEAAABAAoBARADAAAbAAAAAQUEAAAgAAAA2EO9Q+lWFkMBBgQAACAAAAB6fexD/VqcQgkHBAAACQgEAAAAAAAACgEJBAAAbAAAAAAAAAAAAAAAAQoEAABsAAAAAAAAAAAAAAAAAAAAAQsEAAAUAAAAAAAAAAAAAAAAAAAAAAAAAKQBAAD/////AQEKCQwEAAABAAoBBxEDAAAAAQAAAAIAAAAEGkFwbG9yaXMuQmFzZS5VSS5WaXN1YWxMaW5lAwAAAAoKBxIDAAAAAQAAAAMAAAAEFVN5c3RlbS5EcmF3aW5nLlBvaW50RgQAAAABDQQAACAAAACp4NRDaITkQgEOBAAAIAAAANjDu0NohORCAQ8EAAAgAAAAev3tQ2iE5EIHEwMAAAABAAAAAwAAAAQXQXBsb3Jpcy5CYXNlLkFuY2hvck1vZGUDAAAAARAEAACaAAAAAAAAAAERBAAAmgAAAAIAAAABEgQAAJoAAAAEAAAAARQDAAAkAAAACdMAAAAAAAAAAAAAAAEVAwAAJQAAAAkTBAAAAgAAAAYAAAABFgMAAAMBAAAKWAIAAAEUBAAAWwEAAAIAAAABFQQAAFwBAAABAAAAARYEAAAUAAAAoSkFRG5Sr0KA5rBCVhOhQgEXBAAAXgEAAAAAAAAAAKBAAAEYBAAAIAAAAAk4EEQZ3P9CARkEAACaAAAAAAAAAAAAAAAAAAAAAAkaBAAAAAAAAAkbBAAAAAAAARwEAACjAAAAAAAAAAEdBAAAbAAAAAAA+EEAAIhBAR4EAAAUAAAAsZMMRNiJ8UI3/NlBEztRQV662T8GHwQAAAMzMSUKCSAEAAAJZwEAADQDAAD/////AQEKCSEEAAABAAoBARcDAAAbAAAAASIEAAAgAAAAoWkEROIyK0MBIwQAACAAAABxBhxEblKpQgkkBAAACSUEAAAAAAAACgEmBAAAbAAAAAAAAAAAAAAAAScEAABsAAAAAAAAAAAAAAAAAAAAASgEAAAUAAAAAAAAAAAAAAAAAAAAAAAAAKQBAAD/////AQEKCSkEAAABAAoBBxgDAAAAAQAAAAIAAAAEGkFwbG9yaXMuQmFzZS5VSS5WaXN1YWxMaW5lAwAAAAoKBxkDAAAAAQAAAAMAAAAEFVN5c3RlbS5EcmF3aW5nLlBvaW50RgQAAAABKgQAACAAAAAJOBBEGdz/QgErBAAAIAAAAKGpA0QZ3P9CASwEAAAgAAAAccYcRBnc/0IHGgMAAAABAAAAAwAAAAQXQXBsb3Jpcy5CYXNlLkFuY2hvck1vZGUDAAAAAS0EAACaAAAAAAAAAAEuBAAAmgAAAAIAAAABLwQAAJoAAAAEAAAAARsDAAAkAAAACdMAAAAAAAAAAAAAAAEcAwAAJQAAAAkwBAAAAgAAAAIAAAABHQMAAAMBAAAKWAIAAAExBAAAWwEAAAIAAAABMgQAAFwBAAABAAAAATMEAAAUAAAAGpSeQoxjlUKG5rBCYqBnQwE0BAAAXgEAAAAAAAAAAKBAAAE1BAAAIAAAAF0H90L3gT5DATYEAACaAAAAAAAAAAAAAAAAAAAAAAk3BAAAAAAAAAk4BAAAAAAAATkEAACjAAAAAAAAAAE6BAAAbAAAAAAA+EEAAIhBATsEAAAUAAAAJ3baQrETN0M3/NlBEztRQV662T8GPAQAAAM4NCUKCT0EAAAJZwEAADQDAAD/////AQEKCT4EAAABAAoBAR4DAAAbAAAAAT8EAAAgAAAAGpSYQhSpmkMBQAQAACAAAABQvSpDjGOPQglBBAAACUIEAAAAAAAACgFDBAAAbAAAAAAAAAAAAAAAAUQEAABsAAAAAAAAAAAAAAAAAAAAAUUEAAAUAAAAAAAAAAAAAAAAAAAAAAAAAKQBAAD/////AQEKCUYEAAABAAoBBx8DAAAAAQAAAAIAAAAEGkFwbG9yaXMuQmFzZS5VSS5WaXN1YWxMaW5lAwAAAAoKByADAAAAAQAAAAMAAAAEFVN5c3RlbS5EcmF3aW5nLlBvaW50RgQAAAABRwQAACAAAABdB/dC94E+QwFIBAAAIAAAABqUkkL3gT5DAUkEAAAgAAAAUL0tQ/eBPkMHIQMAAAABAAAAAwAAAAQXQXBsb3Jpcy5CYXNlLkFuY2hvck1vZGUDAAAAAUoEAACaAAAAAAAAAAFLBAAAmgAAAAIAAAABTAQAAJoAAAAEAAAAASIDAAAkAAAACdMAAAAAAAAAAAAAAAEjAwAAJQAAAAlNBAAAAgAAAAYAAAABJAMAAAMBAAAKWAIAAAFOBAAAWwEAAAIAAAABTwQAAFwBAAABAAAAAVAEAAAUAAAA3mhmQ+WZEEOI5rBCQ7ghQwFRBAAAXgEAAAAAAAAAAKBAAAFSBAAAIAAAAEBRiUMGdmFDAVMEAACaAAAAAAAAAAAAAAAAAAAAAAlUBAAAAAAAAAlVBAAAAAAAAVYEAACjAAAAAAAAAAFXBAAAbAAAAAAA+EEAAIhBAVgEAAAUAAAAAACCQzqxWUM3/NlBEztRQV662T8GWQQAAAM2MCUKCVoEAAAJZwEAADQDAAD/////AQEKCVsEAAABAAoBASUDAAAbAAAAAVwEAAAgAAAA3mhjQxSpmkMBXQQAACAAAAAR7qBD5ZkNQwleBAAACV8EAAAAAAAACgFgBAAAbAAAAAAAAAAAAAAAAWEEAABsAAAAAAAAAAAAAAAAAAAAAWIEAAAUAAAAAAAAAAAAAAAAAAAAAAAAAKQBAAD/////AQEKCWMEAAABAAoBByYDAAAAAQAAAAIAAAAEGkFwbG9yaXMuQmFzZS5VSS5WaXN1YWxMaW5lAwAAAAoKBycDAAAAAQAAAAMAAAAEFVN5c3RlbS5EcmF3aW5nLlBvaW50RgQAAAABZAQAACAAAABAUYlDBnZhQwFlBAAAIAAAAN5oYEMGdmFDAWYEAAAgAAAAEW6iQwZ2YUMHKAMAAAABAAAAAwAAAAQXQXBsb3Jpcy5CYXNlLkFuY2hvck1vZGUDAAAAAWcEAACaAAAAAAAAAAFoBAAAmgAAAAIAAAABaQQAAJoAAAAEAAAAASkDAAAkAAAACdMAAAAAAAAAAAAAAAEqAwAAJQAAAAlqBAAAAgAAAAYAAAABKwMAAAMBAAAKWAIAAAFrBAAAWwEAAAIAAAABbAQAAFwBAAABAAAAAW0EAAAUAAAA2MO+Q+lWGUOI5rBCP/sYQwFuBAAAXgEAAAAAAAAAAKBAAAFvBAAAIAAAAKng1EOI1GVDAXAEAACaAAAAAAAAAAAAAAAAAAAAAAlxBAAAAAAAAAlyBAAAAAAAAXMEAACjAAAAAAAAAAF0BAAAbAAAAAAA+EEAAIhBAXUEAAAUAAAAdWLNQ8ROXkM3/NlBEztRQV662T8GdgQAAAM1NiUKCXcEAAAJZwEAADQDAAD/////AQEKCXgEAAABAAoBASwDAAAbAAAAAXkEAAAgAAAA2EO9QxSpmkMBegQAACAAAAB6fexD6VYWQwl7BAAACXwEAAAAAAAACgF9BAAAbAAAAAAAAAAAAAAAAX4EAABsAAAAAAAAAAAAAAAAAAAAAX8EAAAUAAAAAAAAAAAAAAAAAAAAAAAAAKQBAAD/////AQEKCYAEAAABAAoBBy0DAAAAAQAAAAIAAAAEGkFwbG9yaXMuQmFzZS5VSS5WaXN1YWxMaW5lAwAAAAoKBy4DAAAAAQAAAAMAAAAEFVN5c3RlbS5EcmF3aW5nLlBvaW50RgQAAAABgQQAACAAAACp4NRDiNRlQwGCBAAAIAAAANjDu0OI1GVDAYMEAAAgAAAAev3tQ4jUZUMHLwMAAAABAAAAAwAAAAQXQXBsb3Jpcy5CYXNlLkFuY2hvck1vZGUDAAAAAYQEAACaAAAAAAAAAAGFBAAAmgAAAAIAAAABhgQAAJoAAAAEAAAAATADAAAkAAAACdMAAAAAAAAAAAAAAAExAwAAJQAAAAmHBAAAAgAAAAYAAAABMgMAAAMBAAAKWAIAAAGIBAAAWwEAAAIAAAABiQQAAFwBAAABAAAAAYoEAAAUAAAAoSkFROIyLkOA5rBCRh8EQwGLBAAAXgEAAAAAAAAAAKBAAAGMBAAAIAAAAAk4EESFQnBDAY0EAACaAAAAAAAAAAAAAAAAAAAAAAmOBAAAAAAAAAmPBAAAAAAAAZAEAACjAAAAAAAAAAGRBAAAbAAAAAAA+EEAAIhBAZIEAAAUAAAAsZMMRLATaUM3/NlBEztRQV662T8GkwQAAAM0OSUKCZQEAAAJZwEAADQDAAD/////AQEKCZUEAAABAAoBATMDAAAbAAAAAZYEAAAgAAAAoWkERBSpmkMBlwQAACAAAABxBhxE4jIrQwmYBAAACZkEAAAAAAAACgGaBAAAbAAAAAAAAAAAAAAAAZsEAABsAAAAAAAAAAAAAAAAAAAAAZwEAAAUAAAAAAAAAAAAAAAAAAAAAAAAAKQBAAD/////AQEKCZ0EAAABAAoBBzQDAAAAAQAAAAIAAAAEGkFwbG9yaXMuQmFzZS5VSS5WaXN1YWxMaW5lAwAAAAoKBzUDAAAAAQAAAAMAAAAEFVN5c3RlbS5EcmF3aW5nLlBvaW50RgQAAAABngQAACAAAAAJOBBEhUJwQwGfBAAAIAAAAKGpA0SFQnBDAaAEAAAgAAAAccYcRIVCcEMHNgMAAAABAAAAAwAAAAQXQXBsb3Jpcy5CYXNlLkFuY2hvck1vZGUDAAAAAaEEAACaAAAAAAAAAAGiBAAAmgAAAAIAAAABowQAAJoAAAAEAAAAATcDAAAkAAAACdMAAAAAAAAAAAAAAAE4AwAAJQAAAAmkBAAAAgAAAAIAAAABTwMAACIAAAAKCgAAAAAAQEEJcAAAAAlxAAAACaUEAAAAAAmmBAAAAVADAAByAAAACgoAAAAANmyHAAUAAAAAAQFVAwAApwAAAAmnBAAAAQAAAAMAAAABVgMAAG8AAAAJqAQAAAoBWQMAAGoAAAAKCgAAAEA/CakEAAAJqgQAAAEAAAD+////AAAAAAEAAAAAAAAAAAAAAAEAAAAAAAAAAAAAAVoDAABrAAAACgoJqwQAAAmsBAAAAQAAAP7///8AAAAA/////wEAAV4DAABvAAAACa0EAAAKB2UDAAAAAQAAAAQAAAAEHEFwbG9yaXMuQmFzZS5VSS5WaXN1YWxPYmplY3QDAAAACeYCAAAJ5QIAAAoKAWwDAAAiAAAACgoAAAAAAEBBCXAAAAAJcQAAAAmuBAAAAAAJrwQAAAFtAwAAcgAAAAoKAAAAADZshwAFAAAAAAEBcgMAAKcAAAAJsAQAAAEAAAADAAAAAXMDAABvAAAACbEEAAAKAXYDAABqAAAACgoAAABAPwmyBAAACbMEAAABAAAA/v///wAAAAABAAAAAAAAAAAAAAABAAAAAAAAAAAAAAF3AwAAawAAAAoKCbQEAAAJtQQAAAEAAAD+////AAAAAP////8BAAF7AwAAbwAAAAm2BAAACgeCAwAAAAEAAAAEAAAABBxBcGxvcmlzLkJhc2UuVUkuVmlzdWFsT2JqZWN0AwAAAAntAgAACewCAAAKCgGJAwAAIgAAAAoKAAAAAABAQQlwAAAACXEAAAAJtwQAAAAACbgEAAABigMAAHIAAAAKCgAAAAA2bIcABQAAAAABAY8DAACnAAAACbkEAAABAAAAAwAAAAGQAwAAbwAAAAm6BAAACgGTAwAAagAAAAoKAAAAQD8JuwQAAAm8BAAAAQAAAP7///8AAAAAAQAAAAAAAAAAAAAAAQAAAAAAAAAAAAABlAMAAGsAAAAKCgm9BAAACb4EAAABAAAA/v///wAAAAD/////AQABmAMAAG8AAAAJvwQAAAoHnwMAAAABAAAABAAAAAQcQXBsb3Jpcy5CYXNlLlVJLlZpc3VhbE9iamVjdAMAAAAJ9AIAAAnzAgAACgoBpgMAACIAAAAKCgAAAAAAQEEJcAAAAAlxAAAACcAEAAAAAAnBBAAAAacDAAByAAAACgoAAAAANmyHAAUAAAAAAQGsAwAApwAAAAnCBAAAAQAAAAMAAAABrQMAAG8AAAAJwwQAAAoBsAMAAGoAAAAKCgAAAEA/CcQEAAAJxQQAAAEAAAD+////AAAAAAEAAAAAAAAAAAAAAAEAAAAAAAAAAAAAAbEDAABrAAAACgoJxgQAAAnHBAAAAQAAAP7///8AAAAA/////wEAAbUDAABvAAAACcgEAAAKB7wDAAAAAQAAAAQAAAAEHEFwbG9yaXMuQmFzZS5VSS5WaXN1YWxPYmplY3QDAAAACfsCAAAJ+gIAAAoKAcMDAAAiAAAACgoAAAAAAEBBCXAAAAAJcQAAAAnJBAAAAAAJygQAAAHEAwAAcgAAAAoKAAAAAHKEjAAGAAAAAAEByQMAAKcAAAAJywQAAAEAAAADAAAAAcoDAABvAAAACcwEAAAKAc0DAABqAAAACgoAAABAPwnNBAAACc4EAAABAAAA/v///wAAAAABAAAAAAAAAAAAAAABAAAAAAAAAAAAAAHOAwAAawAAAAoKCc8EAAAJ0AQAAAEAAAD+////AAAAAP////8BAAHSAwAAbwAAAAnRBAAACgfZAwAAAAEAAAAEAAAABBxBcGxvcmlzLkJhc2UuVUkuVmlzdWFsT2JqZWN0AwAAAAkCAwAACQEDAAAKCgHgAwAAIgAAAAoKAAAAAABAQQlwAAAACXEAAAAJ0gQAAAAACdMEAAAB4QMAAHIAAAAKCgAAAAByhIwABgAAAAABAeYDAACnAAAACdQEAAABAAAAAwAAAAHnAwAAbwAAAAnVBAAACgHqAwAAagAAAAoKAAAAQD8J1gQAAAnXBAAAAQAAAP7///8AAAAAAQAAAAAAAAAAAAAAAQAAAAAAAAAAAAAB6wMAAGsAAAAKCgnYBAAACdkEAAABAAAA/v///wAAAAD/////AQAB7wMAAG8AAAAJ2gQAAAoH9gMAAAABAAAABAAAAAQcQXBsb3Jpcy5CYXNlLlVJLlZpc3VhbE9iamVjdAMAAAAJCQMAAAkIAwAACgoB/QMAACIAAAAKCgAAAAAAQEEJcAAAAAlxAAAACdsEAAAAAAncBAAAAf4DAAByAAAACgoAAAAAcoSMAAYAAAAAAQEDBAAApwAAAAndBAAAAQAAAAMAAAABBAQAAG8AAAAJ3gQAAAoBBwQAAGoAAAAKCgAAAEA/Cd8EAAAJ4AQAAAEAAAD+////AAAAAAEAAAAAAAAAAAAAAAEAAAAAAAAAAAAAAQgEAABrAAAACgoJ4QQAAAniBAAAAQAAAP7///8AAAAA/////wEAAQwEAABvAAAACeMEAAAKBxMEAAAAAQAAAAQAAAAEHEFwbG9yaXMuQmFzZS5VSS5WaXN1YWxPYmplY3QDAAAACRADAAAJDwMAAAoKARoEAAAiAAAACgoAAAAAAEBBCXAAAAAJcQAAAAnkBAAAAAAJ5QQAAAEbBAAAcgAAAAoKAAAAAHKEjAAGAAAAAAEBIAQAAKcAAAAJ5gQAAAEAAAADAAAAASEEAABvAAAACecEAAAKASQEAABqAAAACgoAAABAPwnoBAAACekEAAABAAAA/v///wAAAAABAAAAAAAAAAAAAAABAAAAAAAAAAAAAAElBAAAawAAAAoKCeoEAAAJ6wQAAAEAAAD+////AAAAAP////8BAAEpBAAAbwAAAAnsBAAACgcwBAAAAAEAAAAEAAAABBxBcGxvcmlzLkJhc2UuVUkuVmlzdWFsT2JqZWN0AwAAAAkXAwAACRYDAAAKCgE3BAAAIgAAAAoKAAAAAABAQQlwAAAACXEAAAAJ7QQAAAAACe4EAAABOAQAAHIAAAAKCgAAAADtISUABwAAAAABAT0EAACnAAAACe8EAAABAAAAAQAAAAE+BAAAbwAAAAnwBAAACgFBBAAAagAAAAoKAAAAQD8J8QQAAAnyBAAAAQAAAP7///8AAAAAAQAAAAAAAAAAAAAAAQAAAAAAAAAAAAABQgQAAGsAAAAKCgnzBAAACfQEAAABAAAA/v///wAAAAD/////AQABRgQAAG8AAAAJ9QQAAAoHTQQAAAABAAAABAAAAAQcQXBsb3Jpcy5CYXNlLlVJLlZpc3VhbE9iamVjdAMAAAAJHgMAAAkdAwAACgoBVAQAACIAAAAKCgAAAAAAQEEJcAAAAAlxAAAACfYEAAAAAAn3BAAAAVUEAAByAAAACgoAAAAA7SElAAcAAAAAAQFaBAAApwAAAAn4BAAAAQAAAAMAAAABWwQAAG8AAAAJ+QQAAAoBXgQAAGoAAAAKCgAAAEA/CfoEAAAJ+wQAAAEAAAD+////AAAAAAEAAAAAAAAAAAAAAAEAAAAAAAAAAAAAAV8EAABrAAAACgoJ/AQAAAn9BAAAAQAAAP7///8AAAAA/////wEAAWMEAABvAAAACf4EAAAKB2oEAAAAAQAAAAQAAAAEHEFwbG9yaXMuQmFzZS5VSS5WaXN1YWxPYmplY3QDAAAACSUDAAAJJAMAAAoKAXEEAAAiAAAACgoAAAAAAEBBCXAAAAAJcQAAAAn/BAAAAAAJAAUAAAFyBAAAcgAAAAoKAAAAAO0hJQAHAAAAAAEBdwQAAKcAAAAJAQUAAAEAAAADAAAAAXgEAABvAAAACQIFAAAKAXsEAABqAAAACgoAAABAPwkDBQAACQQFAAABAAAA/v///wAAAAABAAAAAAAAAAAAAAABAAAAAAAAAAAAAAF8BAAAawAAAAoKCQUFAAAJBgUAAAEAAAD+////AAAAAP////8BAAGABAAAbwAAAAkHBQAACgeHBAAAAAEAAAAEAAAABBxBcGxvcmlzLkJhc2UuVUkuVmlzdWFsT2JqZWN0AwAAAAksAwAACSsDAAAKCgGOBAAAIgAAAAoKAAAAAABAQQlwAAAACXEAAAAJCAUAAAAACQkFAAABjwQAAHIAAAAKCgAAAADtISUABwAAAAABAZQEAACnAAAACQoFAAABAAAAAwAAAAGVBAAAbwAAAAkLBQAACgGYBAAAagAAAAoKAAAAQD8JDAUAAAkNBQAAAQAAAP7///8AAAAAAQAAAAAAAAAAAAAAAQAAAAAAAAAAAAABmQQAAGsAAAAKCgkOBQAACQ8FAAABAAAA/v///wAAAAD/////AQABnQQAAG8AAAAJEAUAAAoHpAQAAAABAAAABAAAAAQcQXBsb3Jpcy5CYXNlLlVJLlZpc3VhbE9iamVjdAMAAAAJMwMAAAkyAwAACgoBpQQAAHIAAAAKCgAAAAD///8ADgAAAAAAAaYEAAByAAAACgoAAAAA////AA4AAAAAAQenBAAAAAEAAAAEAAAABB1BcGxvcmlzLkJhc2UuT2JqZWN0cy5WYXJpYWJsZQMAAAABEQUAAJkCAAABAAAAAAAAAAESBQAAmQIAAAAAAAAAAAAAARMFAACZAgAAAAAAAAAAAAABFAUAAJkCAAAAAAAAAAAAAA+oBAAAAQAAAAgoAAAABakEAAAaQXBsb3Jpcy5CYXNlLk9iamVjdHMuQ29sb3IHAAAAEkRhdGFPYmplY3QrbVBhcmVudBVEYXRhT2JqZWN0K21Db250YWluZXIFbVR5cGUEbVJHQhBtVGhlbWVDb2xvckluZGV4DG1BdXRvVXBkYXRlZAltTW9kaWZpZWQEAgAAAAAAH0FwbG9yaXMuQmFzZS5PYmplY3RzLkxpbmVGb3JtYXQDAAAACAgIAQEDAAAACVkDAAAKAAAAAP///wAOAAAAAAAFqgQAABpBcGxvcmlzLkJhc2UuT2JqZWN0cy5Db2xvcgcAAAASRGF0YU9iamVjdCttUGFyZW50FURhdGFPYmplY3QrbUNvbnRhaW5lcgVtVHlwZQRtUkdCEG1UaGVtZUNvbG9ySW5kZXgMbUF1dG9VcGRhdGVkCW1Nb2RpZmllZAQCAAAAAAAfQXBsb3Jpcy5CYXNlLk9iamVjdHMuTGluZUZvcm1hdAMAAAAICAgBAQMAAAAJWQMAAAoBAAAAAAAAAP////8AAQGrBAAAcgAAAAoKAAAAADZshwAFAAAAAAABrAQAAHIAAAAKCgEAAAD///8A/////wAAD60EAAABAAAACAgAAAABrgQAAHIAAAAKCgAAAAD///8ADgAAAAAAAa8EAAByAAAACgoAAAAA////AA4AAAAAAQewBAAAAAEAAAAEAAAABB1BcGxvcmlzLkJhc2UuT2JqZWN0cy5WYXJpYWJsZQMAAAABFQUAAJkCAAABAAAAAAAAAAEWBQAAmQIAAAAAAAAAAAAAARcFAACZAgAAAAAAAAAAAAABGAUAAJkCAAAAAAAAAAAAAA+xBAAAAQAAAAgnAAAABbIEAAAaQXBsb3Jpcy5CYXNlLk9iamVjdHMuQ29sb3IHAAAAEkRhdGFPYmplY3QrbVBhcmVudBVEYXRhT2JqZWN0K21Db250YWluZXIFbVR5cGUEbVJHQhBtVGhlbWVDb2xvckluZGV4DG1BdXRvVXBkYXRlZAltTW9kaWZpZWQEAgAAAAAAH0FwbG9yaXMuQmFzZS5PYmplY3RzLkxpbmVGb3JtYXQDAAAACAgIAQEDAAAACXYDAAAKAAAAAP///wAOAAAAAAAFswQAABpBcGxvcmlzLkJhc2UuT2JqZWN0cy5Db2xvcgcAAAASRGF0YU9iamVjdCttUGFyZW50FURhdGFPYmplY3QrbUNvbnRhaW5lcgVtVHlwZQRtUkdCEG1UaGVtZUNvbG9ySW5kZXgMbUF1dG9VcGRhdGVkCW1Nb2RpZmllZAQCAAAAAAAfQXBsb3Jpcy5CYXNlLk9iamVjdHMuTGluZUZvcm1hdAMAAAAICAgBAQMAAAAJdgMAAAoBAAAAAAAAAP////8AAQG0BAAAcgAAAAoKAAAAADZshwAFAAAAAAABtQQAAHIAAAAKCgEAAAD///8A/////wAAD7YEAAABAAAACAUAAAABtwQAAHIAAAAKCgAAAAD///8ADgAAAAAAAbgEAAByAAAACgoAAAAA////AA4AAAAAAQe5BAAAAAEAAAAEAAAABB1BcGxvcmlzLkJhc2UuT2JqZWN0cy5WYXJpYWJsZQMAAAABGQUAAJkCAAABAAAAAAAAAAEaBQAAmQIAAAAAAAAAAAAAARsFAACZAgAAAAAAAAAAAAABHAUAAJkCAAAAAAAAAAAAAA+6BAAAAQAAAAgqAAAABbsEAAAaQXBsb3Jpcy5CYXNlLk9iamVjdHMuQ29sb3IHAAAAEkRhdGFPYmplY3QrbVBhcmVudBVEYXRhT2JqZWN0K21Db250YWluZXIFbVR5cGUEbVJHQhBtVGhlbWVDb2xvckluZGV4DG1BdXRvVXBkYXRlZAltTW9kaWZpZWQEAgAAAAAAH0FwbG9yaXMuQmFzZS5PYmplY3RzLkxpbmVGb3JtYXQDAAAACAgIAQEDAAAACZMDAAAKAAAAAP///wAOAAAAAAAFvAQAABpBcGxvcmlzLkJhc2UuT2JqZWN0cy5Db2xvcgcAAAASRGF0YU9iamVjdCttUGFyZW50FURhdGFPYmplY3QrbUNvbnRhaW5lcgVtVHlwZQRtUkdCEG1UaGVtZUNvbG9ySW5kZXgMbUF1dG9VcGRhdGVkCW1Nb2RpZmllZAQCAAAAAAAfQXBsb3Jpcy5CYXNlLk9iamVjdHMuTGluZUZvcm1hdAMAAAAICAgBAQMAAAAJkwMAAAoBAAAAAAAAAP////8AAQG9BAAAcgAAAAoKAAAAADZshwAFAAAAAAABvgQAAHIAAAAKCgEAAAD///8A/////wAAD78EAAABAAAACAYAAAABwAQAAHIAAAAKCgAAAAD///8ADgAAAAAAAcEEAAByAAAACgoAAAAA////AA4AAAAAAQfCBAAAAAEAAAAEAAAABB1BcGxvcmlzLkJhc2UuT2JqZWN0cy5WYXJpYWJsZQMAAAABHQUAAJkCAAABAAAAAAAAAAEeBQAAmQIAAAAAAAAAAAAAAR8FAACZAgAAAAAAAAAAAAABIAUAAJkCAAAAAAAAAAAAAA/DBAAAAQAAAAgpAAAABcQEAAAaQXBsb3Jpcy5CYXNlLk9iamVjdHMuQ29sb3IHAAAAEkRhdGFPYmplY3QrbVBhcmVudBVEYXRhT2JqZWN0K21Db250YWluZXIFbVR5cGUEbVJHQhBtVGhlbWVDb2xvckluZGV4DG1BdXRvVXBkYXRlZAltTW9kaWZpZWQEAgAAAAAAH0FwbG9yaXMuQmFzZS5PYmplY3RzLkxpbmVGb3JtYXQDAAAACAgIAQEDAAAACbADAAAKAAAAAP///wAOAAAAAAAFxQQAABpBcGxvcmlzLkJhc2UuT2JqZWN0cy5Db2xvcgcAAAASRGF0YU9iamVjdCttUGFyZW50FURhdGFPYmplY3QrbUNvbnRhaW5lcgVtVHlwZQRtUkdCEG1UaGVtZUNvbG9ySW5kZXgMbUF1dG9VcGRhdGVkCW1Nb2RpZmllZAQCAAAAAAAfQXBsb3Jpcy5CYXNlLk9iamVjdHMuTGluZUZvcm1hdAMAAAAICAgBAQMAAAAJsAMAAAoBAAAAAAAAAP////8AAQHGBAAAcgAAAAoKAAAAADZshwAFAAAAAAABxwQAAHIAAAAKCgEAAAD///8A/////wAAD8gEAAABAAAACAcAAAAByQQAAHIAAAAKCgAAAAD///8ADgAAAAAAAcoEAAByAAAACgoAAAAA////AA4AAAAAAQfLBAAAAAEAAAAEAAAABB1BcGxvcmlzLkJhc2UuT2JqZWN0cy5WYXJpYWJsZQMAAAABIQUAAJkCAAABAAAAAAAAAAEiBQAAmQIAAAAAAAAAAAAAASMFAACZAgAAAAAAAAAAAAABJAUAAJkCAAAAAAAAAAAAAA/MBAAAAQAAAAggAAAABc0EAAAaQXBsb3Jpcy5CYXNlLk9iamVjdHMuQ29sb3IHAAAAEkRhdGFPYmplY3QrbVBhcmVudBVEYXRhT2JqZWN0K21Db250YWluZXIFbVR5cGUEbVJHQhBtVGhlbWVDb2xvckluZGV4DG1BdXRvVXBkYXRlZAltTW9kaWZpZWQEAgAAAAAAH0FwbG9yaXMuQmFzZS5PYmplY3RzLkxpbmVGb3JtYXQDAAAACAgIAQEDAAAACc0DAAAKAAAAAP///wAOAAAAAAAFzgQAABpBcGxvcmlzLkJhc2UuT2JqZWN0cy5Db2xvcgcAAAASRGF0YU9iamVjdCttUGFyZW50FURhdGFPYmplY3QrbUNvbnRhaW5lcgVtVHlwZQRtUkdCEG1UaGVtZUNvbG9ySW5kZXgMbUF1dG9VcGRhdGVkCW1Nb2RpZmllZAQCAAAAAAAfQXBsb3Jpcy5CYXNlLk9iamVjdHMuTGluZUZvcm1hdAMAAAAICAgBAQMAAAAJzQMAAAoBAAAAAAAAAP////8AAQHPBAAAcgAAAAoKAAAAAHKEjAAGAAAAAAAB0AQAAHIAAAAKCgEAAAD///8A/////wAAD9EEAAABAAAACAMAAAAB0gQAAHIAAAAKCgAAAAD///8ADgAAAAAAAdMEAAByAAAACgoAAAAA////AA4AAAAAAQfUBAAAAAEAAAAEAAAABB1BcGxvcmlzLkJhc2UuT2JqZWN0cy5WYXJpYWJsZQMAAAABJQUAAJkCAAABAAAAAAAAAAEmBQAAmQIAAAAAAAAAAAAAAScFAACZAgAAAAAAAAAAAAABKAUAAJkCAAAAAAAAAAAAAA/VBAAAAQAAAAgfAAAABdYEAAAaQXBsb3Jpcy5CYXNlLk9iamVjdHMuQ29sb3IHAAAAEkRhdGFPYmplY3QrbVBhcmVudBVEYXRhT2JqZWN0K21Db250YWluZXIFbVR5cGUEbVJHQhBtVGhlbWVDb2xvckluZGV4DG1BdXRvVXBkYXRlZAltTW9kaWZpZWQEAgAAAAAAH0FwbG9yaXMuQmFzZS5PYmplY3RzLkxpbmVGb3JtYXQDAAAACAgIAQEDAAAACeoDAAAKAAAAAP///wAOAAAAAAAF1wQAABpBcGxvcmlzLkJhc2UuT2JqZWN0cy5Db2xvcgcAAAASRGF0YU9iamVjdCttUGFyZW50FURhdGFPYmplY3QrbUNvbnRhaW5lcgVtVHlwZQRtUkdCEG1UaGVtZUNvbG9ySW5kZXgMbUF1dG9VcGRhdGVkCW1Nb2RpZmllZAQCAAAAAAAfQXBsb3Jpcy5CYXNlLk9iamVjdHMuTGluZUZvcm1hdAMAAAAICAgBAQMAAAAJ6gMAAAoBAAAAAAAAAP////8AAQHYBAAAcgAAAAoKAAAAAHKEjAAGAAAAAAAB2QQAAHIAAAAKCgEAAAD///8A/////wAAD9oEAAABAAAACAQAAAAB2wQAAHIAAAAKCgAAAAD///8ADgAAAAAAAdwEAAByAAAACgoAAAAA////AA4AAAAAAQfdBAAAAAEAAAAEAAAABB1BcGxvcmlzLkJhc2UuT2JqZWN0cy5WYXJpYWJsZQMAAAABKQUAAJkCAAABAAAAAAAAAAEqBQAAmQIAAAAAAAAAAAAAASsFAACZAgAAAAAAAAAAAAABLAUAAJkCAAAAAAAAAAAAAA/eBAAAAQAAAAgiAAAABd8EAAAaQXBsb3Jpcy5CYXNlLk9iamVjdHMuQ29sb3IHAAAAEkRhdGFPYmplY3QrbVBhcmVudBVEYXRhT2JqZWN0K21Db250YWluZXIFbVR5cGUEbVJHQhBtVGhlbWVDb2xvckluZGV4DG1BdXRvVXBkYXRlZAltTW9kaWZpZWQEAgAAAAAAH0FwbG9yaXMuQmFzZS5PYmplY3RzLkxpbmVGb3JtYXQDAAAACAgIAQEDAAAACQcEAAAKAAAAAP///wAOAAAAAAAF4AQAABpBcGxvcmlzLkJhc2UuT2JqZWN0cy5Db2xvcgcAAAASRGF0YU9iamVjdCttUGFyZW50FURhdGFPYmplY3QrbUNvbnRhaW5lcgVtVHlwZQRtUkdCEG1UaGVtZUNvbG9ySW5kZXgMbUF1dG9VcGRhdGVkCW1Nb2RpZmllZAQCAAAAAAAfQXBsb3Jpcy5CYXNlLk9iamVjdHMuTGluZUZvcm1hdAMAAAAICAgBAQMAAAAJBwQAAAoBAAAAAAAAAP////8AAQHhBAAAcgAAAAoKAAAAAHKEjAAGAAAAAAAB4gQAAHIAAAAKCgEAAAD///8A/////wAAD+MEAAABAAAACAEAAAAB5AQAAHIAAAAKCgAAAAD///8ADgAAAAAAAeUEAAByAAAACgoAAAAA////AA4AAAAAAQfmBAAAAAEAAAAEAAAABB1BcGxvcmlzLkJhc2UuT2JqZWN0cy5WYXJpYWJsZQMAAAABLQUAAJkCAAABAAAAAAAAAAEuBQAAmQIAAAAAAAAAAAAAAS8FAACZAgAAAAAAAAAAAAABMAUAAJkCAAAAAAAAAAAAAA/nBAAAAQAAAAghAAAABegEAAAaQXBsb3Jpcy5CYXNlLk9iamVjdHMuQ29sb3IHAAAAEkRhdGFPYmplY3QrbVBhcmVudBVEYXRhT2JqZWN0K21Db250YWluZXIFbVR5cGUEbVJHQhBtVGhlbWVDb2xvckluZGV4DG1BdXRvVXBkYXRlZAltTW9kaWZpZWQEAgAAAAAAH0FwbG9yaXMuQmFzZS5PYmplY3RzLkxpbmVGb3JtYXQDAAAACAgIAQEDAAAACSQEAAAKAAAAAP///wAOAAAAAAAF6QQAABpBcGxvcmlzLkJhc2UuT2JqZWN0cy5Db2xvcgcAAAASRGF0YU9iamVjdCttUGFyZW50FURhdGFPYmplY3QrbUNvbnRhaW5lcgVtVHlwZQRtUkdCEG1UaGVtZUNvbG9ySW5kZXgMbUF1dG9VcGRhdGVkCW1Nb2RpZmllZAQCAAAAAAAfQXBsb3Jpcy5CYXNlLk9iamVjdHMuTGluZUZvcm1hdAMAAAAICAgBAQMAAAAJJAQAAAoBAAAAAAAAAP////8AAQHqBAAAcgAAAAoKAAAAAHKEjAAGAAAAAAAB6wQAAHIAAAAKCgEAAAD///8A/////wAAD+wEAAABAAAACAIAAAAB7QQAAHIAAAAKCgAAAAD///8ADgAAAAAAAe4EAAByAAAACgoAAAAA////AA4AAAAAAQfvBAAAAAEAAAAEAAAABB1BcGxvcmlzLkJhc2UuT2JqZWN0cy5WYXJpYWJsZQMAAAABMQUAAJkCAAABAAAAAAAAAAEyBQAAmQIAAAAAAAAAAAAAATMFAACZAgAAAAAAAAAAAAABNAUAAJkCAAAAAAAAAAAAAA/wBAAAAQAAAAgkAAAABfEEAAAaQXBsb3Jpcy5CYXNlLk9iamVjdHMuQ29sb3IHAAAAEkRhdGFPYmplY3QrbVBhcmVudBVEYXRhT2JqZWN0K21Db250YWluZXIFbVR5cGUEbVJHQhBtVGhlbWVDb2xvckluZGV4DG1BdXRvVXBkYXRlZAltTW9kaWZpZWQEAgAAAAAAH0FwbG9yaXMuQmFzZS5PYmplY3RzLkxpbmVGb3JtYXQDAAAACAgIAQEDAAAACUEEAAAKAAAAAP///wAOAAAAAAAF8gQAABpBcGxvcmlzLkJhc2UuT2JqZWN0cy5Db2xvcgcAAAASRGF0YU9iamVjdCttUGFyZW50FURhdGFPYmplY3QrbUNvbnRhaW5lcgVtVHlwZQRtUkdCEG1UaGVtZUNvbG9ySW5kZXgMbUF1dG9VcGRhdGVkCW1Nb2RpZmllZAQCAAAAAAAfQXBsb3Jpcy5CYXNlLk9iamVjdHMuTGluZUZvcm1hdAMAAAAICAgBAQMAAAAJQQQAAAoBAAAAAAAAAP////8AAQHzBAAAcgAAAAoKAAAAAO0hJQAHAAAAAAAB9AQAAHIAAAAKCgEAAAD///8A/////wAAD/UEAAABAAAACAwAAAAB9gQAAHIAAAAKCgAAAAD///8ADgAAAAAAAfcEAAByAAAACgoAAAAA////AA4AAAAAAQf4BAAAAAEAAAAEAAAABB1BcGxvcmlzLkJhc2UuT2JqZWN0cy5WYXJpYWJsZQMAAAABNQUAAJkCAAABAAAAAAAAAAE2BQAAmQIAAAAAAAAAAAAAATcFAACZAgAAAAAAAAAAAAABOAUAAJkCAAAAAAAAAAAAAA/5BAAAAQAAAAgjAAAABfoEAAAaQXBsb3Jpcy5CYXNlLk9iamVjdHMuQ29sb3IHAAAAEkRhdGFPYmplY3QrbVBhcmVudBVEYXRhT2JqZWN0K21Db250YWluZXIFbVR5cGUEbVJHQhBtVGhlbWVDb2xvckluZGV4DG1BdXRvVXBkYXRlZAltTW9kaWZpZWQEAgAAAAAAH0FwbG9yaXMuQmFzZS5PYmplY3RzLkxpbmVGb3JtYXQDAAAACAgIAQEDAAAACV4EAAAKAAAAAP///wAOAAAAAAAF+wQAABpBcGxvcmlzLkJhc2UuT2JqZWN0cy5Db2xvcgcAAAASRGF0YU9iamVjdCttUGFyZW50FURhdGFPYmplY3QrbUNvbnRhaW5lcgVtVHlwZQRtUkdCEG1UaGVtZUNvbG9ySW5kZXgMbUF1dG9VcGRhdGVkCW1Nb2RpZmllZAQCAAAAAAAfQXBsb3Jpcy5CYXNlLk9iamVjdHMuTGluZUZvcm1hdAMAAAAICAgBAQMAAAAJXgQAAAoBAAAAAAAAAP////8AAQH8BAAAcgAAAAoKAAAAAO0hJQAHAAAAAAAB/QQAAHIAAAAKCgEAAAD///8A/////wAAD/4EAAABAAAACAsAAAAB/wQAAHIAAAAKCgAAAAD///8ADgAAAAAAAQAFAAByAAAACgoAAAAA////AA4AAAAAAQcBBQAAAAEAAAAEAAAABB1BcGxvcmlzLkJhc2UuT2JqZWN0cy5WYXJpYWJsZQMAAAABOQUAAJkCAAABAAAAAAAAAAE6BQAAmQIAAAAAAAAAAAAAATsFAACZAgAAAAAAAAAAAAABPAUAAJkCAAAAAAAAAAAAAA8CBQAAAQAAAAgmAAAABQMFAAAaQXBsb3Jpcy5CYXNlLk9iamVjdHMuQ29sb3IHAAAAEkRhdGFPYmplY3QrbVBhcmVudBVEYXRhT2JqZWN0K21Db250YWluZXIFbVR5cGUEbVJHQhBtVGhlbWVDb2xvckluZGV4DG1BdXRvVXBkYXRlZAltTW9kaWZpZWQEAgAAAAAAH0FwbG9yaXMuQmFzZS5PYmplY3RzLkxpbmVGb3JtYXQDAAAACAgIAQEDAAAACXsEAAAKAAAAAP///wAOAAAAAAAFBAUAABpBcGxvcmlzLkJhc2UuT2JqZWN0cy5Db2xvcgcAAAASRGF0YU9iamVjdCttUGFyZW50FURhdGFPYmplY3QrbUNvbnRhaW5lcgVtVHlwZQRtUkdCEG1UaGVtZUNvbG9ySW5kZXgMbUF1dG9VcGRhdGVkCW1Nb2RpZmllZAQCAAAAAAAfQXBsb3Jpcy5CYXNlLk9iamVjdHMuTGluZUZvcm1hdAMAAAAICAgBAQMAAAAJewQAAAoBAAAAAAAAAP////8AAQEFBQAAcgAAAAoKAAAAAO0hJQAHAAAAAAABBgUAAHIAAAAKCgEAAAD///8A/////wAADwcFAAABAAAACAkAAAABCAUAAHIAAAAKCgAAAAD///8ADgAAAAAAAQkFAAByAAAACgoAAAAA////AA4AAAAAAQcKBQAAAAEAAAAEAAAABB1BcGxvcmlzLkJhc2UuT2JqZWN0cy5WYXJpYWJsZQMAAAABPQUAAJkCAAABAAAAAAAAAAE+BQAAmQIAAAAAAAAAAAAAAT8FAACZAgAAAAAAAAAAAAABQAUAAJkCAAAAAAAAAAAAAA8LBQAAAQAAAAglAAAABQwFAAAaQXBsb3Jpcy5CYXNlLk9iamVjdHMuQ29sb3IHAAAAEkRhdGFPYmplY3QrbVBhcmVudBVEYXRhT2JqZWN0K21Db250YWluZXIFbVR5cGUEbVJHQhBtVGhlbWVDb2xvckluZGV4DG1BdXRvVXBkYXRlZAltTW9kaWZpZWQEAgAAAAAAH0FwbG9yaXMuQmFzZS5PYmplY3RzLkxpbmVGb3JtYXQDAAAACAgIAQEDAAAACZgEAAAKAAAAAP///wAOAAAAAAAFDQUAABpBcGxvcmlzLkJhc2UuT2JqZWN0cy5Db2xvcgcAAAASRGF0YU9iamVjdCttUGFyZW50FURhdGFPYmplY3QrbUNvbnRhaW5lcgVtVHlwZQRtUkdCEG1UaGVtZUNvbG9ySW5kZXgMbUF1dG9VcGRhdGVkCW1Nb2RpZmllZAQCAAAAAAAfQXBsb3Jpcy5CYXNlLk9iamVjdHMuTGluZUZvcm1hdAMAAAAICAgBAQMAAAAJmAQAAAoBAAAAAAAAAP////8AAQEOBQAAcgAAAAoKAAAAAO0hJQAHAAAAAAABDwUAAHIAAAAKCgEAAAD///8A/////wAADxAFAAABAAAACAoAAAAL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9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6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8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09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1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11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6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8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8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7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8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8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8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29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7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8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39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4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4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vrKPyGxb3XWMICu.4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kIAAAAAAoJCQAAAAkKAAAACQsAAAAJDAAAAAkNAAAACQ4AAAAJDwAAAAkQAAAACREAAAAJEgAAAAAFEwAAABVBcGxvcmlzLkNoYXJ0LkJhclR5cGUBAAAAB3ZhbHVlX18ACAIAAAAAAAAAAAUUAAAAGEFwbG9yaXMuQ2hhcnQuU2VyaWVzVHlwZQEAAAAHdmFsdWVfXwAIAgAAAAAAAAAJFQAAAAABBRYAAAAZU3lzdGVtLkRyYXdpbmcuUmVjdGFuZ2xlRgQAAAABeAF5BXdpZHRoBmhlaWdodAAAAAALCwsLBAAAAP//f////3////9/////f/8BFwAAABYAAAD//3////9/////f////3//AAAAAAAFGAAAACxBcGxvcmlzLkNoYXJ0LkF4aXNCcmVhaytBeGlzQnJlYWtEaXNwbGF5TW9kZQEAAAAHdmFsdWVfXwAIAgAAAAIAAAABAQEKCgkZAAAACRoAAAAJGwAAAAAAAAAACRwAAAAKCR0AAAAAAAAACgUeAAAAGUFwbG9yaXMuQ2hhcnQuT3JpZW50YXRpb24BAAAAB3ZhbHVlX18ACAIAAAABAAAACR8AAAABIAAAABYAAACSpS9CjZjNQdIeF0Tk8IxDAAQhAAAAC1N5c3RlbS5HdWlkCwAAAAJfYQJfYgJfYwJfZAJfZQJfZgJfZwJfaAJfaQJfagJfawAAAAAAAAAAAAAACAcHAgICAgICAgIAAAAAAAAAAAAAAAAAAAAAAAoKCSIAAAAACgoKAQAAAAAAAAD/////AQEBIwAAABYAAAD//x9B//8fQTRSJkRO7KtDDLu8Qf7pE0M0kitEs1O7QwUkAAAAFVN5c3RlbS5EcmF3aW5nLlBvaW50RgIAAAABeAF5AAALCwQAAABCEVND5n9AQwYlAAAAEHAvWnIwOXJkVjY2M2NFTEcAAAAACgoJJgAAAAknAAAAAAoJKAAAAAoJAQAAAAkp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i4wLjE5MDgsIEN1bHR1cmU9bmV1dHJhbCwgUHVibGljS2V5VG9rZW49MTZmYzEzYTIyNmMwZTk1MV1dAwAAAJsBQXBsb3Jpcy5CYXNlLk9iamVjdHMuRGF0YU9iamVjdENvbGxlY3Rpb25gMVtbQXBsb3Jpcy5DaGFydC5BeGlzQnJlYWssIEFwbG9yaXMuQ2hhcnQsIFZlcnNpb249NC4yLjAuMTkwOC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yLjAuMTkwOC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UqAAAAFkFwbG9yaXMuQ2hhcnQuQXhpc1R5cGUBAAAAB3ZhbHVlX18ACAIAAAABAAAAmpkZPwAAAAoJAQAAAAkrAAAACSwAAAABAAAAAAAAAAAB5dAi2/n+E0ABAAAAAAAA4D8AAAAgQQABCS0AAAAKCS4AAAAJLwAAAAkwAAAAATEAAAAkAAAAkqUvQm3KmUMBMgAAACQAAAArGSJEbcqZQwkzAAAACTQAAAAJNQAAAAk2AAAAAAAAAAAAAAAAAAAACTcAAAAAAAAAAAAJOAAAAAkBAAAACQEAAAAJOQAAAAEHAAAABgAAAAkBAAAAAToAAAAqAAAAAAAAAM3MTD8AAAAIAQAJAQAAAAk7AAAACTwAAAABAAAAAAAAAAABAAAAAAAA8D8AmpmZmZmZyT8AAAAgQQABCT0AAAAKCT4AAAAJPwAAAAlAAAAAAUEAAAAkAAAAkqUvQm3KmUMBQgAAACQAAACSpS9CjZjNQQlDAAAACUQAAAAJRQAAAAlGAAAAAAAAAAAAAAAAAAAACUcAAAAAAAAAAAAJSAAAAAkBAAAACQEAAAAJSQAAAAEIAAAABgAAAAkBAAAAAUoAAAAqAAAAAAAAAM3MTD8AAAAKCQEAAAAJSwAAAAlMAAAAAQAAAAAAAAAAAJqZmZmZmdk/AJqZmZmZmbk/AAAAIEEAAQlNAAAACglOAAAACU8AAAAJUAAAAAFRAAAAJAAAACsZIkRtyplDAVIAAAAkAAAAKxkiRI2YzUEJUwAAAAlUAAAACVUAAAAJVgAAAAAAAAAAAAAAAAAAAAlXAAAAAAAAAAAACVgAAAAJAQAAAAkBAAAACVkAAAAECQAAAKgBU3lzdGVtLkNvbGxlY3Rpb25zLkdlbmVyaWMuTGlzdGAxW1tBcGxvcmlzLkNoYXJ0LkNvbHVtbk9yaWVudGVkQ2hhcnQrVW51c2VkU2VyaWVzLCBBcGxvcmlzLkNoYXJ0LCBWZXJzaW9uPTQuMi4wLjE5MDgsIEN1bHR1cmU9bmV1dHJhbCwgUHVibGljS2V5VG9rZW49MTZmYzEzYTIyNmMwZTk1MV1dAwAAAAZfaXRlbXMFX3NpemUIX3ZlcnNpb24EAAAwQXBsb3Jpcy5DaGFydC5Db2x1bW5PcmllbnRlZENoYXJ0K1VudXNlZFNlcmllc1tdAgAAAAgICVoAAAAAAAAAAAAAAAUKAAAAoQFBcGxvcmlzLkJhc2UuT2JqZWN0cy5EYXRhT2JqZWN0Q29sbGVjdGlvbmAxW1tBcGxvcmlzLkNoYXJ0LkNoYXJ0RGF0YVNlcmllcy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i4wLjE5MDgsIEN1bHR1cmU9bmV1dHJhbCwgUHVibGljS2V5VG9rZW49MTZmYzEzYTIyNmMwZTk1MV1dAwAAAJcBU3lzdGVtLkNvbGxlY3Rpb25zLkdlbmVyaWMuTGlzdGAxW1tBcGxvcmlzLkNoYXJ0LkNoYXJ0RGF0YVNlcmllc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bAAAACVwAAAAJAQAAAAkBAAAACV0AAAAFCwAAAKYBQXBsb3Jpcy5CYXNlLk9iamVjdHMuRGF0YU9iamVjdENvbGxlY3Rpb25gMVtbQXBsb3Jpcy5DaGFydC5Bbm5vdGF0aW9uRGF0YVNlcmllcywgQXBsb3Jpcy5DaGFydCwgVmVyc2lvbj00LjIuMC4xOTA4LCBDdWx0dXJlPW5ldXRyYWwsIFB1YmxpY0tleVRva2VuPTE2ZmMxM2EyMjZjMGU5NTFdXQYAAAALbUNvbGxlY3Rpb24FbUxpc3QYRGF0YU9iamVjdCttQ2hpbGRPYmplY3RzEkRhdGFPYmplY3QrbVBhcmVudBVEYXRhT2JqZWN0K21Db250YWluZXIZRGF0YU9iamVjdCttVmlzdWFsT2JqZWN0cwQDAwQEA6QBQXBsb3Jpcy5CYXNlLk9iamVjdHMuU29ydGFibGVDb2xsZWN0aW9uYDFbW0FwbG9yaXMuQ2hhcnQuQW5ub3RhdGlvbkRhdGFTZXJpZXMsIEFwbG9yaXMuQ2hhcnQsIFZlcnNpb249NC4yLjAuMTkwOCwgQ3VsdHVyZT1uZXV0cmFsLCBQdWJsaWNLZXlUb2tlbj0xNmZjMTNhMjI2YzBlOTUxXV0DAAAAnAFTeXN0ZW0uQ29sbGVjdGlvbnMuR2VuZXJpYy5MaXN0YDFbW0FwbG9yaXMuQ2hhcnQuQW5ub3RhdGlvbk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XgAAAAlfAAAACQEAAAAJAQAAAAlgAAAABQwAAAChAUFwbG9yaXMuQmFzZS5PYmplY3RzLkRhdGFPYmplY3RDb2xsZWN0aW9uYDFbW0FwbG9yaXMuQ2hhcnQuQW5ub3RhdGlvbkdyb3VwLCBBcGxvcmlzLkNoYXJ0LCBWZXJzaW9uPTQuMi4wLjE5MDg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Bbm5vdGF0aW9uR3JvdXAsIEFwbG9yaXMuQ2hhcnQsIFZlcnNpb249NC4yLjAuMTkwOCwgQ3VsdHVyZT1uZXV0cmFsLCBQdWJsaWNLZXlUb2tlbj0xNmZjMTNhMjI2YzBlOTUxXV0DAAAAlwFTeXN0ZW0uQ29sbGVjdGlvbnMuR2VuZXJpYy5MaXN0YDFbW0FwbG9yaXMuQ2hhcnQuQW5ub3RhdGlvbkdyb3Vw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WEAAAAJYgAAAAkBAAAACQEAAAAJYwAAAAUNAAAAoAFBcGxvcmlzLkJhc2UuT2JqZWN0cy5EYXRhT2JqZWN0Q29sbGVjdGlvbmAxW1tBcGxvcmlzLkNoYXJ0LkNoYXJ0RGF0YUdyb3VwLCBBcGxvcmlzLkNoYXJ0LCBWZXJzaW9uPTQuMi4wLjE5MDg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IuMC4xOTA4LCBDdWx0dXJlPW5ldXRyYWwsIFB1YmxpY0tleVRva2VuPTE2ZmMxM2EyMjZjMGU5NTFdXQMAAACWAVN5c3RlbS5Db2xsZWN0aW9ucy5HZW5lcmljLkxpc3RgMVtbQXBsb3Jpcy5DaGFydC5DaGFydERhdGF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kAAAACWUAAAAJAQAAAAkBAAAACWYAAAAFDgAAAJoBQXBsb3Jpcy5CYXNlLk9iamVjdHMuRGF0YU9iamVjdENvbGxlY3Rpb25gMVtbQXBsb3Jpcy5DaGFydC5EZWx0YUJhci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RGVsdGFCYXIsIEFwbG9yaXMuQ2hhcnQsIFZlcnNpb249NC4yLjAuMTkwOCwgQ3VsdHVyZT1uZXV0cmFsLCBQdWJsaWNLZXlUb2tlbj0xNmZjMTNhMjI2YzBlOTUxXV0DAAAAkAFTeXN0ZW0uQ29sbGVjdGlvbnMuR2VuZXJpYy5MaXN0YDFbW0FwbG9yaXMuQ2hhcnQuRGVsdGFCYXI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ZwAAAAloAAAACQEAAAAJAQAAAAlpAAAABQ8AAACdAUFwbG9yaXMuQmFzZS5PYmplY3RzLkRhdGFPYmplY3RDb2xsZWN0aW9uYDFbW0FwbG9yaXMuQ2hhcnQuRGVsdGFCcmlkZ2UsIEFwbG9yaXMuQ2hhcnQsIFZlcnNpb249NC4yLjAuMTkwOC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RlbHRhQnJpZGdlLCBBcGxvcmlzLkNoYXJ0LCBWZXJzaW9uPTQuMi4wLjE5MDgsIEN1bHR1cmU9bmV1dHJhbCwgUHVibGljS2V5VG9rZW49MTZmYzEzYTIyNmMwZTk1MV1dAwAAAJMBU3lzdGVtLkNvbGxlY3Rpb25zLkdlbmVyaWMuTGlzdGAxW1tBcGxvcmlzLkNoYXJ0LkRlbHRhQnJpZGd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WoAAAAJawAAAAkBAAAACQEAAAAJbAAAAAUQAAAAnQFBcGxvcmlzLkJhc2UuT2JqZWN0cy5EYXRhT2JqZWN0Q29sbGVjdGlvbmAxW1tBcGxvcmlzLkNoYXJ0Lkdyb3d0aEFycm93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IuMC4xOTA4LCBDdWx0dXJlPW5ldXRyYWwsIFB1YmxpY0tleVRva2VuPTE2ZmMxM2EyMjZjMGU5NTFdXQMAAACTAVN5c3RlbS5Db2xsZWN0aW9ucy5HZW5lcmljLkxpc3RgMVtbQXBsb3Jpcy5DaGFydC5Hcm93dGhBcnJvd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tAAAACW4AAAAJAQAAAAkBAAAACW8AAAAFEQAAAKQBQXBsb3Jpcy5CYXNlLk9iamVjdHMuRGF0YU9iamVjdENvbGxlY3Rpb25gMVtbQXBsb3Jpcy5DaGFydC5XYXRlcmZhbGx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iAUFwbG9yaXMuQmFzZS5PYmplY3RzLlNvcnRhYmxlQ29sbGVjdGlvbmAxW1tBcGxvcmlzLkNoYXJ0LldhdGVyZmFsbENvbm5lY3RvciwgQXBsb3Jpcy5DaGFydCwgVmVyc2lvbj00LjIuMC4xOTA4LCBDdWx0dXJlPW5ldXRyYWwsIFB1YmxpY0tleVRva2VuPTE2ZmMxM2EyMjZjMGU5NTFdXQMAAACaAVN5c3RlbS5Db2xsZWN0aW9ucy5HZW5lcmljLkxpc3RgMVtbQXBsb3Jpcy5DaGFydC5XYXRlcmZhbGxDb25uZWN0b3I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cAAAAAlxAAAACQEAAAAJAQAAAAlyAAAABRIAAACiAUFwbG9yaXMuQmFzZS5PYmplY3RzLkRhdGFPYmplY3RDb2xsZWN0aW9uYDFbW0FwbG9yaXMuQ2hhcnQuRWxlbWVudENvbm5lY3RvciwgQXBsb3Jpcy5DaGFydCwgVmVyc2lvbj00LjIuMC4xOTA4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RWxlbWVudENvbm5lY3RvciwgQXBsb3Jpcy5DaGFydCwgVmVyc2lvbj00LjIuMC4xOTA4LCBDdWx0dXJlPW5ldXRyYWwsIFB1YmxpY0tleVRva2VuPTE2ZmMxM2EyMjZjMGU5NTFdXQMAAACYAVN5c3RlbS5Db2xsZWN0aW9ucy5HZW5lcmljLkxpc3RgMVtbQXBsb3Jpcy5DaGFydC5FbGVtZW50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XMAAAAJdAAAAAkBAAAACQEAAAAJdQAAAAUVAAAAIkFwbG9yaXMuQ2hhcnQuQ29sdW1uT3JpZW50ZWRMZWdlbmQLAAAAFG1Db2x1bW5PcmllbnRlZENoYXJ0D21MZWdlbmRFbGVtZW50cw1MZWdlbmQrbUNoYXJ0GUxlZ2VuZCttQXV0b21hdGljT3JkZXJpbmcSTGVnZW5kK21MZWdlbmRBcmVhEUxlZ2VuZCttUmVjdGFuZ2xlD0xlZ2VuZCttQ29sdW1ucxhEYXRhT2JqZWN0K21DaGlsZE9iamVjdHMSRGF0YU9iamVjdCttUGFyZW50FURhdGFPYmplY3QrbUNvbnRhaW5lchlEYXRhT2JqZWN0K21WaXN1YWxPYmplY3RzBAQEAAQEAAMEBAMhQXBsb3Jpcy5DaGFydC5Db2x1bW5PcmllbnRlZENoYXJ0AgAAAK0BQXBsb3Jpcy5CYXNlLk9iamVjdHMuRGF0YU9iamVjdENvbGxlY3Rpb25gMVtbQXBsb3Jpcy5DaGFydC5Db2x1bW5PcmllbnRlZExlZ2VuZEVsZW1lbnQsIEFwbG9yaXMuQ2hhcnQsIFZlcnNpb249NC4yLjAuMTkwOCwgQ3VsdHVyZT1uZXV0cmFsLCBQdWJsaWNLZXlUb2tlbj0xNmZjMTNhMjI2YzBlOTUxXV0DAAAAE0FwbG9yaXMuQ2hhcnQuQ2hhcnQCAAAAARlTeXN0ZW0uRHJhd2luZy5SZWN0YW5nbGVGBAAAABpBcGxvcmlzLkJhc2UuVUkuVmlzdWFsUmVjdAMAAAAI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l2AAAACQEAAAAAAXcAAAAWAAAAW527QgIAqUNO7PFDEDvRQQl4AAAAAAAAAAl5AAAACQEAAAAJAQAAAAl6AAAABR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FBcGxvcmlzLkNoYXJ0LkNvbHVtbk9yaWVudGVkQ2hhcnQCAAAAIUFwbG9yaXMuQ2hhcnQuQ29sdW1uT3JpZW50ZWRDaGFydAIAAAAIAQgIAQgICAIAAAAJAQAAAAkBAAAAAAAAAAAGewAAAAEuAwAAAAZ8AAAAASwGfQAAAAEtBn4AAAABKwEAAAAACgoGfwAAAAhNL2QveXl5eQAAAAAKAAAAAAAAAAAHGgAAAAABAAAABAAAAAQVU3lzdGVtLkRyYXdpbmcuUG9pbnRGBAAAAAGAAAAAJAAAAPAnJERF5/FBAYEAAAAkAAAA8CcjREXn0UEBggAAACQAAADwJyREWA+cQwGDAAAAJAAAAPAnI0QxGaVDBxsAAAAAAQAAAAQAAAAEF0FwbG9yaXMuQmFzZS5BbmNob3JNb2RlAwAAAAWEAAAAF0FwbG9yaXMuQmFzZS5BbmNob3JNb2RlAQAAAAd2YWx1ZV9fAAgDAAAABAAAAAGFAAAAhAAAAAgAAAABhgAAAIQAAAAEAAAAAYcAAACEAAAABgAAAAccAAAAAAEAAAABAAAABBhBcGxvcmlzLkNoYXJ0LkF4aXNOdW1iZXICAAAABYgAAAAYQXBsb3Jpcy5DaGFydC5BeGlzTnVtYmVyAQAAAAd2YWx1ZV9fAAgCAAAAAAAAAA8dAAAABgAAAAgBAAAAAgAAAAMAAAAEAAAABQAAAAYAAAAFH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YkAAAAkAAAAkqUvQo2YzUEBigAAACQAAAArGSJEbcqZQwmLAAAACYwAAAAAAAAACgWNAAAAFFN5c3RlbS5EcmF3aW5nLlNpemVGAgAAAAV3aWR0aAZoZWlnaHQAAAsLBAAAAAAAAAAAAAAAAY4AAACNAAAAAAAAAAAAAAAAAAAAAY8AAAAWAAAAAAAAAAAAAAAAAAAAAAAAABQAAAD/////AQEKCZAAAAABAAoBDyIAAADtJwAAAlBLAwQUAAYACAAAACEAkleNNXI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8MwDL4j8R+qXFGbjQNCaN0ODI4wifEDQuKu0ZqH4uz173GzDSE0WtB2adQk38N27NFka5psDQG1syUbFgOWgZVOabso2fv8Ob9nGUZhlWichZLtANlkfH01mu88YEZoiyWrY/QPnKOswQgsnAdLJ5ULRkT6DQvuhVyKBfDbweCOS2cj2JjHloONR1OoxKqJ2dOWtvdOCM6yx/29VqpkwvtGSxHJKG9P+UncuhO3tuqHudxVlZagnFwZslQQfhrEhsL/RSBAgx3OTigcQi8ImdxjrT3eHEJ4pdwHrSCbiRBfhKFA+bbhGxeWH84ti+489MeDPoBQWANE0xRpLYzQ9g/66TLytAwvbKSNLxH3+Ij0oICn7/kWEk2PIMZdA3jptCfSPuVaBFBvMdDbu7iB79w9PqQzbSfgpUt+5O2SpzacBeeRJkSA/xfh2GktOvdEBCFq6Oy1L0UaL2dXHdr5pUCd0OZpXo4/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/uTt5/JoE2hdJdcDJ+Ev+8noe3uZxzEFybqg1dQFSUI9CbY3ncKPprXuycQxNpbPQSPCiYk2NW3N9s3HDTnT+T6SCK7eFLgmOOzlGQcjpqKENHnThvSqDnL1MmozUF3KDdl+SjT0gPqM0+xtwrS3t6DaKaYk//3Dm3bG3wJ5nNEzxciJPE05AFEo1OHrOBPF5kR5OX4h1XjnU5o3znl7S4pluVrMNWaMN8hHcgh8mkdxxLJuVNdg9msCcP5YPAEMks5v0cGeXZx9S8AAAD//wMAUEsDBBQABgAIAAAAIQAqLc7QogIAAEgFAAAPAAAAeGwvd29ya2Jvb2sueG1spFRdb5swFH2ftP+AeKcGY0iIAlWaDy3SNFVT1z5OjnGCVX9QYxq6af99F1jSbn3pNh6wr22Ozz3nXuaXnZLeI7eNMDr3o4vQ97hmphT6kPtfbjbB1PcaR3VJpdE89594418W79/Nj8be74y59wBAN7lfOVfPEGpYxRVtLkzNNezsjVXUQWgPqKktp2VTce6URDgMU6So0P6IMLNvwTD7vWB8ZViruHYjiOWSOqDfVKJuTmiKvQVOUXvf1gEzqgaInZDCPQ2gvqfYbHvQxtKdhLS7KDkhw/QVtBLMmsbs3QVAoZHkq3yjEEXRmHIx3wvJb0fZPVrXn6jqb5G+J2nj1qVwvMz9FEJz5M8LQMK29VUrJOziaRJi30PF2Ytr20fAfCEdt5o6vjTagVC/JP5fUQbsZWXAAu8zf2iF5eB8r00xhzdlM7prrqmrvNbK3EeP1KK9kSXkiR6OCFcZrr6xEsdRbKPy0RFd66/hNITnoNENcqpOd9MsIvgCpuiF4vS1nX+hOWWDTAiUGdkX837+p0rFvC/oW8GPzbOmfeh1d0KX5giaxxg65OkckhDC47B5J0pXQQtlCTmvfeDiUDlYJGn/HZiDXlwxtAJcNYyeHkpgUUtjRbOijkLj9b2yBasj8H0mYGK3Jcx7nNPHjEoGvvfDcJIkKYYjzGjWWgveL2En98fbeec+Nq6YwwgWidz/Psk2CckmaRCtFklA0mgaXEVkEpDlak2usiRexNMfz0aQfyv9MEPZqfK7iMxOPw8gXvI9baXbKnrgqxooxXiSTsYcgeZvXBMcr5NVHOBkEweLZB0GURrjICUbnJAlxiTBZ66qextVRRniHePDH2l6Iqm62cKyarvyNpIeoMjHRoOTwKh/DzKiUx7FTwAAAP//AwBQSwMEFAAGAAgAAAAhAFnp8pD8AAAAvwEAABQAAAB4bC9zaGFyZWRTdHJpbmdzLnhtbGyRy07DMBBF90j8g+UFLGhrJ6KIgJMuikBsEf0AKxkaS/Y4eCY8/h6HIoRCl77nXs/LbD6CF2+QyEWsZbHSUgC2sXO4r+Xu+X55LQWxxc76iFDLTyC5aU5PDBGLnEWqZc883ChFbQ/B0ioOgJm8xBQs52faKxoS2I56AA5elVpfqWAdStHGETnXzWVHdK8jbH+FxpBrDDdnnm9FsdBaG8WNUZN6IN+iWIrLRVVVc7ieEhlWx2Chf2hxFJcHfDH/8yHFd5yLT3loh9DlWXDaFM8Nd9D6yTDXd0hjAvXI55SzYfCutfzftrUEPtpOlGv9pyOVD9B8AQ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NHxzYb4CAABdBwAADQAAAHhsL3N0eWxlcy54bWzEVclu2zAQvRfoPwi8O7IdO7EMSQG8CAiQFgXsAr1SEiUT4SKQVGq16L93SEm20jTI0kN98XA4fO9xZjgKb46ceQ9EaSpFhCYXY+QRkcmcijJCX/fJaIE8bbDIMZOCRKghGt3EHz+E2jSM7A6EGA8ghI7QwZhq6fs6OxCO9YWsiICdQiqODSxV6etKEZxre4gzfzoeX/kcU4FahCXPXgPCsbqvq1EmeYUNTSmjpnFYyOPZ8rYUUuGUgdTjZIazHtstnsBzmimpZWEuAM6XRUEz8lRl4Ac+IMVhIYXRXiZrYSI0BWjLsLwX8rtI7BYksIuKQ/3De8AMPBPk+XGYSSaVZyA1oKx1CcxJG7PGjKaKusACc8qa1g8UcNQltIvkFK7nvL4V00qKw9TFdYzBgJCKnBxJHqHFn5x7fJAcP0PZgbs/DSSUsdO9Z/aK4IhDyL8hSiSw8Dp731RwPwGt0ol0gS+Elwo3k+n8DSe0ZDS3Osq1y6sq0wgl8FtvO5y02zkl4GrW4g9Ex6HfKntB37Ns2+sgcahvYnOkkNVUqhweXt9PtnVaVxwyUhhbUkXLgzOMrOw6lcZIbq2c4lIKzKzt98c6A7AzwtjOvtBvxSOCY+GJmifc3EJPwFu3TdSbUKrObPG6hSUYwrXgA9w5CH8H7rE4E/zH47iqWGNbuH+Wr9AC7/JRik5XeQ/Y5avBXBkg8YPyPiruqUqeHS0R+mxHL4Mx1Wc6rSkzVPytsACaH8+9Aq0BdTd2kLo2OvHARk4KXDOzP21G6Gx/IjmtOSSoi/pCH6RxEBE623e2rydXjoQczZ2GSQb/Xq1ohH5uV9fBZptMR4vxajGaXZL5KJivNqP5bL3abJJgPB2vfw0G+z+Mdff5gfadzJaawfBX3W079buzL0KDRau/HSigG15Ifwv//F2MfwMAAP//AwBQSwMEFAAGAAgAAAAhACFUoRNXAwAAMgoAABgAAAB4bC93b3Jrc2hlZXRzL3NoZWV0MS54bWyMVkmPmzAUvlfqf0Dchz2ERElGkxDUOVSqup4dMAkawNR2tn/fZxwYbDpRcpgBv89v+d7G4vlSlcYJU1aQemm6lmMauE5JVtT7pfnrZ/IUmQbjqM5QSWq8NK+Ymc+rz58WZ0Lf2AFjboCGmi3NA+fN3LZZesAVYhZpcA2SnNAKcXile5s1FKOsvVSVtuc4oV2hojalhjl9RAfJ8yLFMUmPFa65VEJxiTj4zw5Fwzptl+whfRlFZ4i182fgYiwlvT43GPlXFSkljOTcSkllS9fGUc7smRJnlT4SaIXo27F5AsUNBLcryoJf23BNo0rnr/uaULQrISMXN0DpwEs0Vv+4n6BptcgK4FYUhEFxvjRf3HkSmoa9WrSp+13gMxs8GxztfuASpxxnUEGmISpjR8ibAL7CkQMqWQsQKlHKixPe4LJcmskUiutva0Q8ggW7NzF87swlbTF9o8YOMbwh5Z8i4wewCUWb4RwdS/5+GFmR7zm+60164Xdy/oKL/YHDFThtiZtn1xizFGoJHLW81omUlGAR/hpVIZoCGEcXGZo0ONTN+FVkIZDuy6ttEDHiaLWg5GxAIYIO1iDRJu4cuIT/vmmkR8ZJJYNqIf/1CDwRGl6EiqV581CcrOUJKALfGZB8WjkL+wTEpbc7mzHCVRHxGOGpiO0Y4auIZIwIeoQNBPQsgPNDFu6GK7AtrX1wkWp27bUhe9bMUX7u9kkLYSORoTVVkcEIGUukYzmhxkKnwh/dSaQosLyZ8psOkQoNkLGHaRBYlYapRoNEuDL/ljv1VTe0itDQk5lWD5rcd1VuNVb8zqqneZVISWSFqjcK5Qop0EAPkyKwKilautYS0ZHiTzX3Npp8djfMWEMHgZpojZTgRorv+wp5WlUmHc4LP7KuEAQT62GCBFYlaKJVjUR0BAV6x6hiP1Ij0YeIpiwM7sW9ndz4CaYThUetv5MOFzrRByWt8CPG6mDE3h0ucgRDWvvhovXBOuwrW2ugjwRxJ9BbYdsLInX86GO0w/nvuZIByqUo90mD9vgrovuiZkaJ83Zrweqkcq05Fjxz0ohdNoWs7AiHDdO9HeDrC8PicCzo8pwQ3r/A5i3xHqXX20ePQecFbG76msFsF2u5/9pb/QMAAP//AwBQSwMEFAAGAAgAAAAhAGIXR12hAgAAPAcAABsAAAB4bC9kcmF3aW5ncy92bWxEcmF3aW5nMS52bWzsVclu2zAQvRfoPxDMwRcbWrK0ZSQDQYrc2gJNl2NAS7TFhOQI0liW8/UdUnJsF+mC9tBLBVgazTwO5z0+wVlvDaOfa0WX83XjRFtUysp2ZnXRQAtLnBVgRWcNf/liRMLPkLBc6kKJ4bFf0//GGtUX6mAbSxNViLWIIiuLL9bchtE+N5rPaZYMRFvJWhm5hTWyTqgec65KjaHs67q0sj6qsFKizHnCo9AiOuoxz7qhJW5rxXSZ87s+pusO0zjlrABoylY/qpynyUUcT8OdM+pR084eQ2OxWmKVcxtPYzNCBuDRPe7VOCVtiQ08KHYP2rW4NdTealTNMCKjmXxHtmpkqZXDwBkeco5+5wKcUwX6gXPeULQjdsDkidYhpTaJ03POhoUnRzyHISY1tBo1OCEXLZg1qkvPzspmpd3MqCWKi9c1Xo4JhFqcn9P7RpdYiSQ9o7hSelWhSGOKH2falaoXSWjT6VYvtNG4FZUuS+UubQuzTSPrWdheoF85YUttTAEGmpyfLOlSiWdNQim0UBJnuUZ4UtKj6ZgInu7x4aS9jKRcCRsGbtBu0RbrRtEhj5o9Kf2dqg6c2p8FkssW0LNRJD91qb3wpNRMGhR+oIk3F2NZqbsd0K+jul454bWbzLOIqgGXRZ0Y2w7vvbg2/qjfklfZh8U9df8UDvg94GgblvXiHXTqq8bqWhnTDix9+pYc+kz6yhUVNMNgLJmy5HzKTukRh8cphZSIs6gXh0jqd0WEbkjY+Y00rQqAXWZg2YuPsJmf+YoPdslrMo1189ByjH3Jw/b0hq9wNOsPjXrxl0ZN0uTYqemBUb2Jd0b1+Z1R0/9G/fdGTQejkkkpOiOrvqLElL35c58GPz7j0yQYc/DsL30a0V/m/BsAAAD//wMAUEsDBBQABgAIAAAAIQDucFBlNw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Ie5umQx2h7UBlTw4FNya+heR2CzZ/SKLdvr1ZN+tkPl7OuT/Oubea7XSHvsAHZU2NaV5gBEZYqcymxqvlPJtiFCI3knfWQI33EPCsub6qhGPCenjx1oGPCgJKJBOYcDXexugYIUFsQfOQJ4dJYmu95jGNfkMcFx98A6QsiluiIXLJIycHYOZGIj4hpRiR7tN3A0AKAh1oMDEQmlPy643gdfh3YVDOnFrFvUudTnHP2VIcxdG9C2o09n2f95MhRspPydvi6XWomilzuJUA3FRSMOGBR+ubipwP6XAdD3GRbtwqkPf7ZqGEt8G2ET23rRKAVgF8RS6NCTp0YPq0jFIsdizxI60nD4/LOW7Kgt5lxTQryyUt2c2UTej7IchfQMp28cjmGwAA//8DAFBLAwQUAAYACAAAACEAZNFl7hEBAAAtAgAAEAAAAHhsL2NvbW1lbnRzMS54bWzEUE1LAzEUvAv+h/DuNtuCUmWTooeK4EGw/oC4edsN5GPJS8vWX+/rbteDJ29CCJnJvJnh1ZsheHHETC5FBctFBQJjk6yLewUfu+3NGgQVE63xKaKCExJs9PVV3aQQMBYSbBBJQVdK/yAlNR0GQ4vUY+SfNuVgCsO8l9RnNJY6xBK8XFXVnQzGRdC1OZQuZZofQupa/nCXoFdHRc+pImOr4GkJYpK9WAUVGxUcWJT5vPH1eTaiL3E0XsE9nFGTfMrCRYsD8syaHZjN2xTLJNuZLgUzsq0Jzp8mejUycrQt+jmnQy8sUpNdX3hzVEvOlZwppwry0vpX48fbf2r8jtkh/bHyXH5a+YxIfwMAAP//AwBQSwMEFAAGAAgAAAAhAF6k9QCL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b9swDIbvA/YfDN0bOd0HhkBWUbQbelixAEm7MyfTsVBFMkTWSPbrR9to6qw77caPV+SjVzJXh30oeszkU6zUclGqAqNLtY+7Sj1sv118UQUxxBpCilipI5K6su/fmXVOHWb2SIWMiFSplrlbaU2uxT3QQtpROk3Ke2BJ806npvEOb5N73mNkfVmWnzUeGGON9UV3Gqimiaue/3dondzAR4/bYyfA1lx3XfAOWG5p773LiVLDxT04HzlRW3w9OAxGz2VGODfonrPnoy2Nnqdm4yDgjaywDQRCo18L5g5hsG8NPpM1Pa96dJxyQf63GHipil9AOIBVqofsIbIADrIpGePQEWf7M+UnahGZjBbBVBzDuXYe+492OQokOBcOAyYQaZwjbj0HpB/NGjL/g3g5Jx4ZJt4J57oLKXu6BYY3kOO9Zd1fC777+EQP3TbJIXwx8LxoNi1krMXzk8GngrkT73IYhty0EHdYv2jeNoaHf5x+t11+WpQfSnnJWc3o139s/wAAAP//AwBQSwECLQAUAAYACAAAACEAkleNNXIBAABwBQAAEwAAAAAAAAAAAAAAAAAAAAAAW0NvbnRlbnRfVHlwZXNdLnhtbFBLAQItABQABgAIAAAAIQBQfE7B8wAAAEwCAAALAAAAAAAAAAAAAAAAAKsDAABfcmVscy8ucmVsc1BLAQItABQABgAIAAAAIQCMlsVu8wAAALoCAAAaAAAAAAAAAAAAAAAAAM8GAAB4bC9fcmVscy93b3JrYm9vay54bWwucmVsc1BLAQItABQABgAIAAAAIQAqLc7QogIAAEgFAAAPAAAAAAAAAAAAAAAAAAIJAAB4bC93b3JrYm9vay54bWxQSwECLQAUAAYACAAAACEAWenykPwAAAC/AQAAFAAAAAAAAAAAAAAAAADRCwAAeGwvc2hhcmVkU3RyaW5ncy54bWxQSwECLQAUAAYACAAAACEA52V1uNYAAAC4AQAAIwAAAAAAAAAAAAAAAAD/DAAAeGwvd29ya3NoZWV0cy9fcmVscy9zaGVldDEueG1sLnJlbHNQSwECLQAUAAYACAAAACEA3AYHvnoGAADZGwAAEwAAAAAAAAAAAAAAAAAWDgAAeGwvdGhlbWUvdGhlbWUxLnhtbFBLAQItABQABgAIAAAAIQA0fHNhvgIAAF0HAAANAAAAAAAAAAAAAAAAAMEUAAB4bC9zdHlsZXMueG1sUEsBAi0AFAAGAAgAAAAhACFUoRNXAwAAMgoAABgAAAAAAAAAAAAAAAAAqhcAAHhsL3dvcmtzaGVldHMvc2hlZXQxLnhtbFBLAQItABQABgAIAAAAIQBiF0ddoQIAADwHAAAbAAAAAAAAAAAAAAAAADcbAAB4bC9kcmF3aW5ncy92bWxEcmF3aW5nMS52bWxQSwECLQAUAAYACAAAACEA7nBQZTcBAAAVAgAAEQAAAAAAAAAAAAAAAAARHgAAZG9jUHJvcHMvY29yZS54bWxQSwECLQAUAAYACAAAACEAZNFl7hEBAAAtAgAAEAAAAAAAAAAAAAAAAAB/IAAAeGwvY29tbWVudHMxLnhtbFBLAQItABQABgAIAAAAIQBepPUAiwEAAA0DAAAQAAAAAAAAAAAAAAAAAL4hAABkb2NQcm9wcy9hcHAueG1sUEsFBgAAAAANAA0AWAMAAH8kAAAAAAUm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AoQQaRAAAABUFyaWFsBpIAAAAW77yt77yzIO+8sOOCtOOCt+ODg+OCrwmTAAAAAQAJlAAAAAcnAAAAAAEAAAARAAAABBRTeXN0ZW0uRHJhd2luZy5Db2xvcgQAAAAFlQAAABRTeXN0ZW0uRHJhd2luZy5Db2xvcgQAAAAFdmFsdWUFc3RhdGUKa25vd25Db2xvcgRuYW1lAAAAAQkHBwQAAAAAAAAAAAAAAAAAAAAKAZYAAACVAAAAAAAA//////8CAAAACgGXAAAAlQAAAP//////////AgAAAAoBmAAAAJUAAABOQSL//////wIAAAAKAZkAAACVAAAA3tzb//////8CAAAACgGaAAAAlQAAAH5pP///////AgAAAAoBmwAAAJUAAACMhHL//////wIAAAAKAZwAAACVAAAAJSHt//////8CAAAACgGdAAAAlQAAADQ7Rv//////AgAAAAoBngAAAJUAAAB0mMP//////wIAAAAKAZ8AAACVAAAAHpT3//////8CAAAACgGgAAAAlQAAAB6U9///////AgAAAAoBoQAAAJUAAAAlIe3//////wIAAAAKAaIAAACVAAAAAAAA//////8CAAAACgGjAAAAlQAAAP//////////AgAAAAoBpAAAAJUAAABOQSL//////wIAAAAKAaUAAACVAAAA3tzb//////8CAAAACgQo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mmAAAADgAAABIAAAAEK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pwAAAAEAAAADAAAABSsAAACbAUFwbG9yaXMuQmFzZS5PYmplY3RzLkRhdGFPYmplY3RDb2xsZWN0aW9uYDFbW0FwbG9yaXMuQ2hhcnQuVmFsdWVMaW5l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wOCwgQ3VsdHVyZT1uZXV0cmFsLCBQdWJsaWNLZXlUb2tlbj0xNmZjMTNhMjI2YzBlOTUxXV0DAAAAkQFTeXN0ZW0uQ29sbGVjdGlvbnMuR2VuZXJpYy5MaXN0YDFbW0FwbG9yaXMuQ2hhcnQuVmFsdWVMaW5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agAAAAJqQAAAAkGAAAACQEAAAAJqgAAAAUsAAAAmwFBcGxvcmlzLkJhc2UuT2JqZWN0cy5EYXRhT2JqZWN0Q29sbGVjdGlvbmAxW1tBcGxvcmlzLkNoYXJ0LkF4aXNCcmVhay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DgsIEN1bHR1cmU9bmV1dHJhbCwgUHVibGljS2V5VG9rZW49MTZmYzEzYTIyNmMwZTk1MV1dAwAAAJEBU3lzdGVtLkNvbGxlY3Rpb25zLkdlbmVyaWMuTGlzdGAxW1tBcGxvcmlzLkNoYXJ0LkF4aXNCcmVh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rAAAACawAAAAJBgAAAAkBAAAACa0AAAAFL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QAAAAAJewAAAAMAAAAJfAAAAAl9AAAACX4AAAABAAAAAAoKCX8AAAAAAAAACgAAAAAAAAAABS4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EAAAAACXsAAAADAAAACXwAAAAJfQAAAAl+AAAAAQAAAAAKCgl/AAAAAAAAAAoAAAAAAAAAAAUv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7AAAAAwAAAAl8AAAACX0AAAAJfgAAAAEAAAAACgauAAAAASUJfwAAAAEAAAAKAAAAAAAAAAAFMAAAAJoBQXBsb3Jpcy5CYXNlLk9iamVjdHMuRGF0YU9iamVjdENvbGxlY3Rpb25gMVtbQXBsb3Jpcy5DaGFydC5UaWNrTWFyay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wOCwgQ3VsdHVyZT1uZXV0cmFsLCBQdWJsaWNLZXlUb2tlbj0xNmZjMTNhMjI2YzBlOTUxXV0DAAAAkAFTeXN0ZW0uQ29sbGVjdGlvbnMuR2VuZXJpYy5MaXN0YDFbW0FwbG9yaXMuQ2hhcnQuVGlja01hcm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mwAAAACQYAAAAJAQAAAAmxAAAABTM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sgAAACQAAACSpS9CbcqZQwGzAAAAJAAAACsZIkRtyplDCbQAAAC4AQAA/////wEBCgm1AAAAAQAKAQc0AAAAAAEAAAAFAAAABBVTeXN0ZW0uRHJhd2luZy5Qb2ludEYEAAAAAbYAAAAkAAAApwkpRG3KmUMBtwAAACQAAACSpS9CWQ+iQwG4AAAAJAAAAIQTrUNZD6JDAbkAAAAkAAAAKxkiRFkPokMBugAAACQAAACnCSlEbUqcQwc1AAAAAAEAAAAFAAAABBdBcGxvcmlzLkJhc2UuQW5jaG9yTW9kZQMAAAABuwAAAIQAAAAEAAAAAbwAAACEAAAABQAAAAG9AAAAhAAAAAMAAAABvgAAAIQAAAAGAAAAAb8AAACEAAAABQAAAA82AAAABQAAAAEAAAAAAQU3AAAAFUFwbG9yaXMuQmFzZS5VSS5MYWJlbB0AAAAPbUFuY2hvclBvc2l0aW9uC21BbmNob3JNb2RlD21BZGRJbm5lck1hcmdpbhZtT2Zmc2V0RGlyZWN0aW9uQW5jaG9yF21PZmZzZXRPcnRob2dvbmFsQW5jaG9yC21UZXh0Rm9ybWF0CW1Sb3RhdGlvbgptQmFja0NvbG9yDW1Vc2VCYWNrQ29sb3IObVVzZUJhY2tncm91bmQRbUN1c3Rvb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AAAAABwIAAAM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AcAAAAAkAAAApwkpRG3KmUMBwQAAAIQAAAAEAAAAAAAAAAAAAAAACcIAAAAAAAAACcMAAAAAAAAFxAAAACpBcGxvcmlzLkJhc2UuVUkuTGFiZWwrTGluZUFsaWdubWVudE9wdGlvbnMBAAAAB3ZhbHVlX18ACAMAAAAAAAAAAcUAAACNAAAAAAAAAAAAAAABxgAAABYAAAAAAAAAAAAAAAAAAAAAAAAAAAAAAAbHAAAADUNhdGVnb3J5IGF4aXMKCcgAAAAJxwAAAOQCAAD/////AAEKCckAAAABAAoBATgAAAAoAAAACcoAAAAGAAAABgAAAAE5AAAAKQAAAAnLAAAAAgAAAAIAAAABOwAAACsAAAAKCcwAAAAJzQAAAAkHAAAACQEAAAAJzgAAAAE8AAAALAAAAAoJzwAAAAnQAAAACQcAAAAJAQAAAAnRAAAABT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XsAAAADAAAACXwAAAAJfQAAAAl+AAAAAQAAAAAKBtIAAAABJQl/AAAAAAAAAAoAAAAAAAAAAAU+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7AAAAAwAAAAl8AAAACX0AAAAJfgAAAAEAAAAACgnSAAAACX8AAAAAAAAACgAAAAAAAAAABT8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XsAAAADAAAACXwAAAAJfQAAAAl+AAAAAQAAAAAKCa4AAAAJfwAAAAEAAAAKAAAAAAAAAAABQAAAADAAAAAKCdMAAAAJ1AAAAAkHAAAACQEAAAAJ1QAAAAFDAAAAMwAAAAHWAAAAJAAAAJKlL0JtyplDAdcAAAAkAAAAkqUvQo2YzUEJ2AAAALgBAAD/////AQEKCdkAAAABAAoBB0QAAAAAAQAAAAUAAAAEFVN5c3RlbS5EcmF3aW5nLlBvaW50RgQAAAAB2gAAACQAAACSpS9CK3GfQQHbAAAAJAAAAMBPLEFtyplDAdwAAAAkAAAAwE8sQfajJkMB3QAAACQAAADATyxBjZjNQQHeAAAAJAAAAMBPLEErcZ9BB0UAAAAAAQAAAAUAAAAEF0FwbG9yaXMuQmFzZS5BbmNob3JNb2RlAwAAAAHfAAAAhAAAAAEAAAAB4AAAAIQAAAAIAAAAAeEAAACEAAAAAgAAAAHiAAAAhAAAAAYAAAAB4wAAAIQAAAAHAAAAD0YAAAAFAAAAAQAAAAABAUcAAAA3AAAAAeQAAAAkAAAAkqUvQitxn0EB5QAAAIQAAAABAAAAAAAAAAAAAAAACeYAAAAAAAAACecAAAAAAAAB6AAAAMQAAAAAAAAAAekAAACNAAAAAAAAAAAAAAAB6gAAABYAAAAAAAAAAAAAAAAAAAAAAAAAAAAAAAbrAAAAClZhbHVlIGF4aXMKCewAAAAJ6wAAAOQCAAD/////AAEKCe0AAAABAAoBAUgAAAAoAAAACe4AAAAGAAAABgAAAAFJAAAAKQAAAAnvAAAAAgAAAAIAAAABSwAAACsAAAAKCfAAAAAJ8QAAAAkIAAAACQEAAAAJ8gAAAAFMAAAALAAAAAoJ8wAAAAn0AAAACQgAAAAJAQAAAAn1AAAABU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gAAAAJAQAAAAAAAAABBvYAAAABLgMAAAAG9wAAAAEsBvgAAAABLQb5AAAAASsBAAAAAAoG+gAAAAElBvsAAAAITS9kL3l5eXkAAAAACgAAAAAAAAAABU4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gAAAAJAQAAAAAAAAABCfYAAAADAAAACfcAAAAJ+AAAAAn5AAAAAQAAAAAKBvwAAAABJQn7AAAAAAAAAAoAAAAAAAAAAAV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IAAAACQEAAAAAAAAAAAn2AAAAAwAAAAn3AAAACfgAAAAJ+QAAAAEAAAAACgb9AAAAASUJ+wAAAAEAAAAKAAAAAAAAAAABUAAAADAAAAAKCf4AAAAJ/wAAAAkIAAAACQEAAAAJAAEAAAFTAAAAMwAAAAEBAQAAJAAAACsZIkRtyplDAQIBAAAkAAAAKxkiRI2YzUEJAwEAALgBAAD/////AQEKCQQBAAABAAoBB1QAAAAAAQAAAAUAAAAEFVN5c3RlbS5EcmF3aW5nLlBvaW50RgQAAAABBQEAACQAAAArGSJEK3GfQQEGAQAAJAAAAKcJKURtyplDAQcBAAAkAAAApwkpRPajJkMBCAEAACQAAACnCSlEjZjNQQEJAQAAJAAAAKcJKUQrcZ9BB1UAAAAAAQAAAAUAAAAEF0FwbG9yaXMuQmFzZS5BbmNob3JNb2RlAwAAAAEKAQAAhAAAAAEAAAABCwEAAIQAAAAHAAAAAQwBAACEAAAABAAAAAENAQAAhAAAAAUAAAABDgEAAIQAAAAIAAAAD1YAAAAFAAAAAQAAAAABAVcAAAA3AAAAAQ8BAAAkAAAAKxkiRCtxn0EBEAEAAIQAAAABAAAAAAAAAAAAAAAACREBAAAAAAAACRIBAAAAAAABEwEAAMQAAAAAAAAAARQBAACNAAAAAACOQgAAiEEBFQEAABYAAAAAAAAAAAAAAAAAAAAAAAAAXrrZPwYWAQAAClZhbHVlIGF4aXMKCRcBAAAJFgEAAOQCAAD/////AAEKCRgBAAABAAoBAVgAAAAoAAAACRkBAAAGAAAABgAAAAFZAAAAKQAAAAkaAQAAAgAAAAIAAAAHWgAAAAABAAAAAAAAAAQuQXBsb3Jpcy5DaGFydC5Db2x1bW5PcmllbnRlZENoYXJ0K1VudXNlZFNlcmllcwIAAAAEWwAAAJcBU3lzdGVtLkNvbGxlY3Rpb25zLkdlbmVyaWMuTGlzdGAxW1tBcGxvcmlzLkNoYXJ0LkNoYXJ0RGF0YVNlcmllcywgQXBsb3Jpcy5DaGFydCwgVmVyc2lvbj00LjIuMC4xOTA4LCBDdWx0dXJlPW5ldXRyYWwsIFB1YmxpY0tleVRva2VuPTE2ZmMxM2EyMjZjMGU5NTFdXQMAAAAGX2l0ZW1zBV9zaXplCF92ZXJzaW9uBAAAH0FwbG9yaXMuQ2hhcnQuQ2hhcnREYXRhU2VyaWVzW10CAAAACAgJGwEAAAUAAAAbAAAAAVwAAAAoAAAACRwBAAAFAAAABQAAAAFdAAAAKQAAAAkdAQAAAAAAAAAAAAAEXgAAAJwBU3lzdGVtLkNvbGxlY3Rpb25zLkdlbmVyaWMuTGlzdGAxW1tBcGxvcmlzLkNoYXJ0LkFubm90YXRpb25EYXRhU2VyaWVzLCBBcGxvcmlzLkNoYXJ0LCBWZXJzaW9uPTQuMi4wLjE5MDgsIEN1bHR1cmU9bmV1dHJhbCwgUHVibGljS2V5VG9rZW49MTZmYzEzYTIyNmMwZTk1MV1dAwAAAAZfaXRlbXMFX3NpemUIX3ZlcnNpb24EAAAkQXBsb3Jpcy5DaGFydC5Bbm5vdGF0aW9uRGF0YVNlcmllc1tdAgAAAAgICR4BAAAAAAAAAAAAAAFfAAAAKAAAAAkfAQAAAAAAAAAAAAABYAAAACkAAAAJHQEAAAAAAAAAAAAABGEAAACXAVN5c3RlbS5Db2xsZWN0aW9ucy5HZW5lcmljLkxpc3RgMVtbQXBsb3Jpcy5DaGFydC5Bbm5vdGF0aW9uR3JvdXAsIEFwbG9yaXMuQ2hhcnQsIFZlcnNpb249NC4yLjAuMTkwOCwgQ3VsdHVyZT1uZXV0cmFsLCBQdWJsaWNLZXlUb2tlbj0xNmZjMTNhMjI2YzBlOTUxXV0DAAAABl9pdGVtcwVfc2l6ZQhfdmVyc2lvbgQAAB9BcGxvcmlzLkNoYXJ0LkFubm90YXRpb25Hcm91cFtdAgAAAAgICSABAAAAAAAAAAAAAAFiAAAAKAAAAAkfAQAAAAAAAAAAAAABYwAAACkAAAAJHQEAAAAAAAAAAAAABGQAAACWAVN5c3RlbS5Db2xsZWN0aW9ucy5HZW5lcmljLkxpc3RgMVtbQXBsb3Jpcy5DaGFydC5DaGFydERhdGFHcm91cCwgQXBsb3Jpcy5DaGFydCwgVmVyc2lvbj00LjIuMC4xOTA4LCBDdWx0dXJlPW5ldXRyYWwsIFB1YmxpY0tleVRva2VuPTE2ZmMxM2EyMjZjMGU5NTFdXQMAAAAGX2l0ZW1zBV9zaXplCF92ZXJzaW9uBAAAHkFwbG9yaXMuQ2hhcnQuQ2hhcnREYXRhR3JvdXBbXQIAAAAICAkhAQAABQAAAAUAAAABZQAAACgAAAAJIgEAAAUAAAAFAAAAAWYAAAApAAAACR0BAAAAAAAAAAAAAARnAAAAkAFTeXN0ZW0uQ29sbGVjdGlvbnMuR2VuZXJpYy5MaXN0YDFbW0FwbG9yaXMuQ2hhcnQuRGVsdGFCYXIsIEFwbG9yaXMuQ2hhcnQsIFZlcnNpb249NC4yLjAuMTkwOCwgQ3VsdHVyZT1uZXV0cmFsLCBQdWJsaWNLZXlUb2tlbj0xNmZjMTNhMjI2YzBlOTUxXV0DAAAABl9pdGVtcwVfc2l6ZQhfdmVyc2lvbgQAABhBcGxvcmlzLkNoYXJ0LkRlbHRhQmFyW10CAAAACAgJIwEAAAAAAAAAAAAAAWgAAAAoAAAACR8BAAAAAAAAAAAAAAFpAAAAKQAAAAkdAQAAAAAAAAAAAAAEagAAAJMBU3lzdGVtLkNvbGxlY3Rpb25zLkdlbmVyaWMuTGlzdGAxW1tBcGxvcmlzLkNoYXJ0LkRlbHRhQnJpZGdlLCBBcGxvcmlzLkNoYXJ0LCBWZXJzaW9uPTQuMi4wLjE5MDgsIEN1bHR1cmU9bmV1dHJhbCwgUHVibGljS2V5VG9rZW49MTZmYzEzYTIyNmMwZTk1MV1dAwAAAAZfaXRlbXMFX3NpemUIX3ZlcnNpb24EAAAbQXBsb3Jpcy5DaGFydC5EZWx0YUJyaWRnZVtdAgAAAAgICSQBAAAAAAAAAAAAAAFrAAAAKAAAAAkfAQAAAAAAAAAAAAABbAAAACkAAAAJHQEAAAAAAAAAAAAABG0AAACTAVN5c3RlbS5Db2xsZWN0aW9ucy5HZW5lcmljLkxpc3RgMVtbQXBsb3Jpcy5DaGFydC5Hcm93dGhBcnJvdywgQXBsb3Jpcy5DaGFydCwgVmVyc2lvbj00LjIuMC4xOTA4LCBDdWx0dXJlPW5ldXRyYWwsIFB1YmxpY0tleVRva2VuPTE2ZmMxM2EyMjZjMGU5NTFdXQMAAAAGX2l0ZW1zBV9zaXplCF92ZXJzaW9uBAAAG0FwbG9yaXMuQ2hhcnQuR3Jvd3RoQXJyb3dbXQIAAAAICAklAQAAAAAAAAAAAAABbgAAACgAAAAJHwEAAAAAAAAAAAAAAW8AAAApAAAACR0BAAAAAAAAAAAAAARwAAAAmgFTeXN0ZW0uQ29sbGVjdGlvbnMuR2VuZXJpYy5MaXN0YDFbW0FwbG9yaXMuQ2hhcnQuV2F0ZXJmYWxsQ29ubmVjdG9yLCBBcGxvcmlzLkNoYXJ0LCBWZXJzaW9uPTQuMi4wLjE5MDgsIEN1bHR1cmU9bmV1dHJhbCwgUHVibGljS2V5VG9rZW49MTZmYzEzYTIyNmMwZTk1MV1dAwAAAAZfaXRlbXMFX3NpemUIX3ZlcnNpb24EAAAiQXBsb3Jpcy5DaGFydC5XYXRlcmZhbGxDb25uZWN0b3JbXQIAAAAICAkmAQAAAAAAAAIAAAABcQAAACgAAAAJHwEAAAAAAAAAAAAAAXIAAAApAAAACR0BAAAAAAAAAAAAAARzAAAAmAFTeXN0ZW0uQ29sbGVjdGlvbnMuR2VuZXJpYy5MaXN0YDFbW0FwbG9yaXMuQ2hhcnQuRWxlbWVudENvbm5lY3RvciwgQXBsb3Jpcy5DaGFydCwgVmVyc2lvbj00LjIuMC4xOTA4LCBDdWx0dXJlPW5ldXRyYWwsIFB1YmxpY0tleVRva2VuPTE2ZmMxM2EyMjZjMGU5NTFdXQMAAAAGX2l0ZW1zBV9zaXplCF92ZXJzaW9uBAAAIEFwbG9yaXMuQ2hhcnQuRWxlbWVudENvbm5lY3RvcltdAgAAAAgICScBAAAAAAAAAQAAAAF0AAAAKAAAAAkfAQAAAAAAAAAAAAABdQAAACkAAAAJHQEAAAAAAAAAAAAABXYAAACtAUFwbG9yaXMuQmFzZS5PYmplY3RzLkRhdGFPYmplY3RDb2xsZWN0aW9uYDFbW0FwbG9yaXMuQ2hhcnQuQ29sdW1uT3JpZW50ZWRMZWdlbmRFbGVtZW50LCBBcGxvcmlzLkNoYXJ0LCBWZXJzaW9uPTQuMi4wLjE5MDg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yLjAuMTkwOCwgQ3VsdHVyZT1uZXV0cmFsLCBQdWJsaWNLZXlUb2tlbj0xNmZjMTNhMjI2YzBlOTUxXV0DAAAAowFTeXN0ZW0uQ29sbGVjdGlvbnMuR2VuZXJpYy5MaXN0YDFbW0FwbG9yaXMuQ2hhcnQuQ29sdW1uT3JpZW50ZWRMZWdlbmRFbGVtZW50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SgBAAAJKQEAAAkVAAAACQEAAAAJKgEAAAF4AAAAHwAAAAErAQAAJAAAAFudu0ICAKlDASwBAAAkAAAA0mkQRLMTtkMJLQEAAAkuAQAAAAAAAAoBLwEAAI0AAAAAAAAAAAAAAAEwAQAAjQAAAAAAAAAAAAAAAAAAAAExAQAAFgAAAAAAAAAAAAAAAAAAAAAAAACkAQAA/////wEBCgkyAQAAAQAKAQF5AAAAKAAAAAkzAQAAAQAAAAEAAAABegAAACkAAAAJNAEAAAEAAAABAAAABYs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NQEAAAk2AQAAAQAAAP7///8BAAAAAQAAAAEAAAABAAAAAQAAAAEAAAAAAAEFjA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k3AQAACTgBAAABAAAAAAAAAAAAAAAAAAAAAAEFkAAAAB9BcGxvcmlzLkJhc2UuT2JqZWN0cy5QZXJzSWREYXRhAgAAAANtSWQLbUN1c3RvbURhdGEHAggDAAAACTkBAAAKBZMAAAAaQXBsb3Jpcy5CYXNlLk9iamVjdHMuQ29sb3IHAAAAEkRhdGFPYmplY3QrbVBhcmVudBVEYXRhT2JqZWN0K21Db250YWluZXIFbVR5cGUEbVJHQhBtVGhlbWVDb2xvckluZGV4DG1BdXRvVXBkYXRlZAltTW9kaWZpZWQCAgAAAAAACAgIAQEDAAAACgoAAAAAAAAAAA0AAAAAAQGUAAAAkwAAAAoKAQAAAAAAAAD/////AAEHpgAAAAABAAAAEAAAAAQfQXBsb3Jpcy5CYXNlLk9iamVjdHMuRGF0YU9iamVjdAMAAAAJCgAAAAkLAAAACQwAAAAJDQAAAAkRAAAACRIAAAAJDgAAAAkPAAAACRAAAAAJBwAAAAkGAAAACRkAAAAJFQAAAAkIAAAACgoHpwAAAAABAAAABAAAAAQcQXBsb3Jpcy5CYXNlLlVJLlZpc3VhbE9iamVjdAMAAAAJHwAAAA0DBKgAAACRAVN5c3RlbS5Db2xsZWN0aW9ucy5HZW5lcmljLkxpc3RgMVtbQXBsb3Jpcy5DaGFydC5WYWx1ZUxpbmUsIEFwbG9yaXMuQ2hhcnQsIFZlcnNpb249NC4yLjAuMTkwOCwgQ3VsdHVyZT1uZXV0cmFsLCBQdWJsaWNLZXlUb2tlbj0xNmZjMTNhMjI2YzBlOTUxXV0DAAAABl9pdGVtcwVfc2l6ZQhfdmVyc2lvbgQAABlBcGxvcmlzLkNoYXJ0LlZhbHVlTGluZVtdAgAAAAgICToBAAAAAAAAAAAAAAGpAAAAKAAAAAkfAQAAAAAAAAAAAAABqgAAACkAAAAJHQEAAAAAAAAAAAAABKsAAACRAVN5c3RlbS5Db2xsZWN0aW9ucy5HZW5lcmljLkxpc3RgMVtbQXBsb3Jpcy5DaGFydC5BeGlzQnJlYWssIEFwbG9yaXMuQ2hhcnQsIFZlcnNpb249NC4yLjAuMTkwOCwgQ3VsdHVyZT1uZXV0cmFsLCBQdWJsaWNLZXlUb2tlbj0xNmZjMTNhMjI2YzBlOTUxXV0DAAAABl9pdGVtcwVfc2l6ZQhfdmVyc2lvbgQAABlBcGxvcmlzLkNoYXJ0LkF4aXNCcmVha1tdAgAAAAgICTsBAAAAAAAAAAAAAAGsAAAAKAAAAAkfAQAAAAAAAAAAAAABrQAAACkAAAAJHQEAAAAAAAAAAAAABK8AAACQAVN5c3RlbS5Db2xsZWN0aW9ucy5HZW5lcmljLkxpc3RgMVtbQXBsb3Jpcy5DaGFydC5UaWNrTWFyaywgQXBsb3Jpcy5DaGFydCwgVmVyc2lvbj00LjIuMC4xOTA4LCBDdWx0dXJlPW5ldXRyYWwsIFB1YmxpY0tleVRva2VuPTE2ZmMxM2EyMjZjMGU5NTFdXQMAAAAGX2l0ZW1zBV9zaXplCF92ZXJzaW9uBAAAGEFwbG9yaXMuQ2hhcnQuVGlja01hcmtbXQIAAAAICAk8AQAAAAAAAAAAAAABsAAAACgAAAAJHwEAAAAAAAAAAAAAAbEAAAApAAAACR0BAAAAAAAAAAAAAAG0AAAAiwAAAAoKAAAAQD8JPQEAAAk+AQAAAQAAAP7///8AAAAAAQAAAAAAAAAAAAAAAQAAAAAAAAAAAAABtQAAAJAAAAAJPwEAAAoFwg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ChBCZEAAAAJkgAAAAlAAQAAAQAJQQEAAAHDAAAAkwAAAAoKAQAAAAAAAAD/////AAEEyAAAAJYBU3lzdGVtLkNvbGxlY3Rpb25zLkdlbmVyaWMuTGlzdGAxW1tBcGxvcmlzLkJhc2UuT2JqZWN0cy5WYXJpYWJsZSwgQXBsb3Jpcy5CYXNlLCBWZXJzaW9uPTQuMi4wLjE5MDgsIEN1bHR1cmU9bmV1dHJhbCwgUHVibGljS2V5VG9rZW49MTZmYzEzYTIyNmMwZTk1MV1dAwAAAAZfaXRlbXMFX3NpemUIX3ZlcnNpb24EAAAfQXBsb3Jpcy5CYXNlLk9iamVjdHMuVmFyaWFibGVbXQMAAAAICAlCAQAAAAAAAAAAAAAByQAAAJAAAAAJQwEAAAoHygAAAAABAAAACAAAAAQfQXBsb3Jpcy5CYXNlLk9iamVjdHMuRGF0YU9iamVjdAMAAAAJLQAAAAkuAAAACS8AAAAJMAAAAAkrAAAACSwAAAAKCgfLAAAAAAEAAAAEAAAABBxBcGxvcmlzLkJhc2UuVUkuVmlzdWFsT2JqZWN0AwAAAAkzAAAACTcAAAAKCgHMAAAAqAAAAAlEAQAAAAAAAAIAAAABzQAAACgAAAAJRQEAAAAAAAACAAAAAc4AAAApAAAACR0BAAAAAAAAAAAAAAHPAAAAqwAAAAk7AQAAAAAAAAAAAAAB0AAAACgAAAAJHwEAAAAAAAAAAAAAAdEAAAApAAAACR0BAAAAAAAAAAAAAAHTAAAArwAAAAlGAQAABgAAACoAAAAB1AAAACgAAAAJRwEAAAYAAAAqAAAAAdUAAAApAAAACR0BAAAAAAAAAAAAAAHYAAAAiwAAAAoKAAAAQD8JSAEAAAlJAQAAAQAAAP7///8AAAAAAQAAAAAAAAAAAAAAAQAAAAAAAAAAAAAB2QAAAJAAAAAJSgEAAAoF5g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ChBCZEAAAAJkgAAAAlLAQAAAQAJTAEAAAHnAAAAkwAAAAoKAQAAAAAAAAD/////AAEB7AAAAMgAAAAJQgEAAAAAAAAAAAAAAe0AAACQAAAACU0BAAAKB+4AAAAAAQAAAAgAAAAEH0FwbG9yaXMuQmFzZS5PYmplY3RzLkRhdGFPYmplY3QDAAAACT0AAAAJPgAAAAk/AAAACUAAAAAJOwAAAAk8AAAACgoH7wAAAAABAAAABAAAAAQcQXBsb3Jpcy5CYXNlLlVJLlZpc3VhbE9iamVjdAMAAAAJQwAAAAlHAAAACgoB8AAAAKgAAAAJTgEAAAAAAAAAAAAAAfEAAAAoAAAACU8BAAAAAAAAAAAAAAHyAAAAKQAAAAlQAQAAAAAAAAAAAAAB8wAAAKsAAAAJUQEAAAAAAAAAAAAAAfQAAAAoAAAACU8BAAAAAAAAAAAAAAH1AAAAKQAAAAlQAQAAAAAAAAAAAAAB/gAAAK8AAAAJUgEAAAUAAAARAAAAAf8AAAAoAAAACVMBAAAFAAAAEQAAAAEAAQAAKQAAAAlQAQAAAAAAAAAAAAABAwEAAIsAAAAKCgAAAEA/CVQBAAAJVQEAAAEAAAD+////AAAAAAEAAAAAAAAAAAAAAAEAAAAAAAAAAAAAAQQBAACQAAAACVYBAAAKBRE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gAAAAKAAAAAAAoQQmRAAAACZIAAAAJVwEAAAEACVgBAAABEgEAAJMAAAAKCgAAAAD///8ADgAAAAABARcBAADIAAAACVkBAAAAAAAAAAAAAAEYAQAAkAAAAAlaAQAACgcZAQAAAAEAAAAIAAAABB9BcGxvcmlzLkJhc2UuT2JqZWN0cy5EYXRhT2JqZWN0AwAAAAlNAAAACU4AAAAJTwAAAAlQAAAACUsAAAAJTAAAAAoKBxoBAAAAAQAAAAQAAAAEHEFwbG9yaXMuQmFzZS5VSS5WaXN1YWxPYmplY3QDAAAACVMAAAAJVwAAAAoKBxsBAAAAAQAAAAgAAAAEHUFwbG9yaXMuQ2hhcnQuQ2hhcnREYXRhU2VyaWVzAgAAAAlbAQAACVwBAAAJXQEAAAleAQAACV8BAAANAwccAQAAAAEAAAAIAAAABB9BcGxvcmlzLkJhc2UuT2JqZWN0cy5EYXRhT2JqZWN0AwAAAAleAQAACV0BAAAJXAEAAAlbAQAACV8BAAANAwcdAQAAAAEAAAAAAAAABBxBcGxvcmlzLkJhc2UuVUkuVmlzdWFsT2JqZWN0AwAAAAceAQAAAAEAAAAAAAAABCJBcGxvcmlzLkNoYXJ0LkFubm90YXRpb25EYXRhU2VyaWVzAgAAAAcfAQAAAAEAAAAAAAAABB9BcGxvcmlzLkJhc2UuT2JqZWN0cy5EYXRhT2JqZWN0AwAAAAcgAQAAAAEAAAAAAAAABB1BcGxvcmlzLkNoYXJ0LkFubm90YXRpb25Hcm91cAIAAAAHIQEAAAABAAAACAAAAAQcQXBsb3Jpcy5DaGFydC5DaGFydERhdGFHcm91cAIAAAAJYAEAAAlhAQAACWIBAAAJYwEAAAlkAQAADQMHIgEAAAABAAAACAAAAAQfQXBsb3Jpcy5CYXNlLk9iamVjdHMuRGF0YU9iamVjdAMAAAAJYAEAAAlhAQAACWIBAAAJYwEAAAlkAQAADQMHIwEAAAABAAAAAAAAAAQWQXBsb3Jpcy5DaGFydC5EZWx0YUJhcgIAAAAHJAEAAAABAAAAAAAAAAQZQXBsb3Jpcy5DaGFydC5EZWx0YUJyaWRnZQIAAAAHJQEAAAABAAAAAAAAAAQZQXBsb3Jpcy5DaGFydC5Hcm93dGhBcnJvdwIAAAAHJgEAAAABAAAAAAAAAAQgQXBsb3Jpcy5DaGFydC5XYXRlcmZhbGxDb25uZWN0b3ICAAAABycBAAAAAQAAAAAAAAAEHkFwbG9yaXMuQ2hhcnQuRWxlbWVudENvbm5lY3RvcgIAAAAEKAEAAKMBU3lzdGVtLkNvbGxlY3Rpb25zLkdlbmVyaWMuTGlzdGAxW1tBcGxvcmlzLkNoYXJ0LkNvbHVtbk9yaWVudGVkTGVnZW5kRWxlbWVudCwgQXBsb3Jpcy5DaGFydCwgVmVyc2lvbj00LjIuMC4xOTA4LCBDdWx0dXJlPW5ldXRyYWwsIFB1YmxpY0tleVRva2VuPTE2ZmMxM2EyMjZjMGU5NTFdXQMAAAAGX2l0ZW1zBV9zaXplCF92ZXJzaW9uBAAAK0FwbG9yaXMuQ2hhcnQuQ29sdW1uT3JpZW50ZWRMZWdlbmRFbGVtZW50W10CAAAACAgJZQEAAAQAAABWAAAAASkBAAAoAAAACWYBAAAEAAAABgAAAAEqAQAAKQAAAAkdAQAAAAAAAAAAAAABLQEAAIsAAAAKCgAAAAAACWcBAAAJaAEAAAEAAAD+////AQAAAAEAAAABAAAAAQAAAAEAAAABAAAAAAABAS4BAACMAAAACgoJaQEAAAlqAQAAAQAAAAAAAAAAAAAAAAAAAAABATIBAACQAAAACWsBAAAKBzMBAAAAAQAAAAQAAAAEH0FwbG9yaXMuQmFzZS5PYmplY3RzLkRhdGFPYmplY3QDAAAACXYAAAANAwc0AQAAAAEAAAAEAAAABBxBcGxvcmlzLkJhc2UuVUkuVmlzdWFsT2JqZWN0AwAAAAl4AAAADQMBNQEAAJMAAAAKCgAAAAAAAAAADQAAAAABATYBAACTAAAACgoBAAAAAAAAAP////8AAQE3AQAAkwAAAAoKAQAAAP///wD/////AAEBOAEAAJMAAAAKCgEAAAAAAAAA/////wABDzkBAAABAAAACAAAAAAHOgEAAAABAAAAAAAAAAQXQXBsb3Jpcy5DaGFydC5WYWx1ZUxpbmUCAAAABzsBAAAAAQAAAAAAAAAEF0FwbG9yaXMuQ2hhcnQuQXhpc0JyZWFrAgAAAAc8AQAAAAEAAAAAAAAABBZBcGxvcmlzLkNoYXJ0LlRpY2tNYXJrAgAAAAU9AQAAGkFwbG9yaXMuQmFzZS5PYmplY3RzLkNvbG9yBwAAABJEYXRhT2JqZWN0K21QYXJlbnQVRGF0YU9iamVjdCttQ29udGFpbmVyBW1UeXBlBG1SR0IQbVRoZW1lQ29sb3JJbmRleAxtQXV0b1VwZGF0ZWQJbU1vZGlmaWVkBAIAAAAAAB9BcGxvcmlzLkJhc2UuT2JqZWN0cy5MaW5lRm9ybWF0AwAAAAgICAEBAwAAAAm0AAAACgAAAAAAAAAADQAAAAAABT4BAAAaQXBsb3Jpcy5CYXNlLk9iamVjdHMuQ29sb3IHAAAAEkRhdGFPYmplY3QrbVBhcmVudBVEYXRhT2JqZWN0K21Db250YWluZXIFbVR5cGUEbVJHQhBtVGhlbWVDb2xvckluZGV4DG1BdXRvVXBkYXRlZAltTW9kaWZpZWQEAgAAAAAAH0FwbG9yaXMuQmFzZS5PYmplY3RzLkxpbmVGb3JtYXQDAAAACAgIAQEDAAAACbQAAAAKAQAAAAAAAAD/////AAEPPwEAAAEAAAAIdAAAAAFAAQAAkwAAAAoKAAAAAAAAAAANAAAAAAEBQQEAAJMAAAAKCgEAAAAAAAAA/////wABB0IBAAAAAQAAAAAAAAAEHUFwbG9yaXMuQmFzZS5PYmplY3RzLlZhcmlhYmxlAwAAAA9DAQAAAQAAAAgAAAAAB0QBAAAAAQAAAAQAAAAEF0FwbG9yaXMuQ2hhcnQuVmFsdWVMaW5lAgAAAA0EB0UBAAAAAQAAAAQAAAAEH0FwbG9yaXMuQmFzZS5PYmplY3RzLkRhdGFPYmplY3QDAAAADQQHRgEAAAABAAAAEAAAAAQWQXBsb3Jpcy5DaGFydC5UaWNrTWFyawIAAAAJbAEAAAltAQAACW4BAAAJbwEAAAlwAQAACXEBAAANCgdHAQAAAAEAAAAQAAAABB9BcGxvcmlzLkJhc2UuT2JqZWN0cy5EYXRhT2JqZWN0AwAAAAlsAQAACW0BAAAJbgEAAAlvAQAACXABAAAJcQEAAA0KBUgBAAAaQXBsb3Jpcy5CYXNlLk9iamVjdHMuQ29sb3IHAAAAEkRhdGFPYmplY3QrbVBhcmVudBVEYXRhT2JqZWN0K21Db250YWluZXIFbVR5cGUEbVJHQhBtVGhlbWVDb2xvckluZGV4DG1BdXRvVXBkYXRlZAltTW9kaWZpZWQEAgAAAAAAH0FwbG9yaXMuQmFzZS5PYmplY3RzLkxpbmVGb3JtYXQDAAAACAgIAQEDAAAACdgAAAAKAAAAAAAAAAANAAAAAAAFSQEAABpBcGxvcmlzLkJhc2UuT2JqZWN0cy5Db2xvcgcAAAASRGF0YU9iamVjdCttUGFyZW50FURhdGFPYmplY3QrbUNvbnRhaW5lcgVtVHlwZQRtUkdCEG1UaGVtZUNvbG9ySW5kZXgMbUF1dG9VcGRhdGVkCW1Nb2RpZmllZAQCAAAAAAAfQXBsb3Jpcy5CYXNlLk9iamVjdHMuTGluZUZvcm1hdAMAAAAICAgBAQMAAAAJ2AAAAAoBAAAAAAAAAP////8AAQ9KAQAAAQAAAAh1AAAAAUsBAACTAAAACgoAAAAAAAAAAA0AAAAAAQFMAQAAkwAAAAoKAQAAAAAAAAD/////AAEPTQEAAAEAAAAIAAAAAAdOAQAAAAEAAAAAAAAABBdBcGxvcmlzLkNoYXJ0LlZhbHVlTGluZQIAAAAHTwEAAAABAAAAAAAAAAQfQXBsb3Jpcy5CYXNlLk9iamVjdHMuRGF0YU9iamVjdAMAAAAHUAEAAAABAAAAAAAAAAQcQXBsb3Jpcy5CYXNlLlVJLlZpc3VhbE9iamVjdAMAAAAHUQEAAAABAAAAAAAAAAQXQXBsb3Jpcy5DaGFydC5BeGlzQnJlYWsCAAAAB1IBAAAAAQAAABAAAAAEFkFwbG9yaXMuQ2hhcnQuVGlja01hcmsCAAAACXIBAAAJcwEAAAl0AQAACXUBAAAJdgEAAA0LB1MBAAAAAQAAABAAAAAEH0FwbG9yaXMuQmFzZS5PYmplY3RzLkRhdGFPYmplY3QDAAAACXIBAAAJcwEAAAl0AQAACXUBAAAJdgEAAA0LBVQBAAAaQXBsb3Jpcy5CYXNlLk9iamVjdHMuQ29sb3IHAAAAEkRhdGFPYmplY3QrbVBhcmVudBVEYXRhT2JqZWN0K21Db250YWluZXIFbVR5cGUEbVJHQhBtVGhlbWVDb2xvckluZGV4DG1BdXRvVXBkYXRlZAltTW9kaWZpZWQEAgAAAAAAH0FwbG9yaXMuQmFzZS5PYmplY3RzLkxpbmVGb3JtYXQDAAAACAgIAQEDAAAACQMBAAAKAAAAAAAAAAANAAAAAAAFVQEAABpBcGxvcmlzLkJhc2UuT2JqZWN0cy5Db2xvcgcAAAASRGF0YU9iamVjdCttUGFyZW50FURhdGFPYmplY3QrbUNvbnRhaW5lcgVtVHlwZQRtUkdCEG1UaGVtZUNvbG9ySW5kZXgMbUF1dG9VcGRhdGVkCW1Nb2RpZmllZAQCAAAAAAAfQXBsb3Jpcy5CYXNlLk9iamVjdHMuTGluZUZvcm1hdAMAAAAICAgBAQMAAAAJAwEAAAoBAAAAAAAAAP////8AAQ9WAQAAAQAAAAh2AAAAAVcBAACTAAAACgoAAAAAAAAAAA0AAAAAAQFYAQAAkwAAAAoKAQAAAAAAAAD/////AAEHWQEAAAABAAAAAAAAAAQdQXBsb3Jpcy5CYXNlLk9iamVjdHMuVmFyaWFibGUDAAAAD1oBAAABAAAACAAAAAAFWw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XcBAAAUAAAAAAAAAAIAAAD/////CQcAAAAJeAEAAAZ5AQAAF1Vuc3VyZS9JdCdzIGNvbXBsaWNhdGVkCgoAAAAAAAAAAAAAAAAKCgAJegEAAAl7AQAACXwBAAAAAAAAAAAAAAAAAAAAAAAAAAAJfQEAAAkBAAAACQEAAAAJfgEAAAFcAQAAWwEAAAkBAAAAAX8BAAAUAAAAAAAAAAMAAAD/////CQcAAAAJgAEAAAaBAQAACERlY2xpbmVkCgoAAAAAAAAAAAAAAAAKCgAJggEAAAmDAQAACYQBAAAAAAAAAAEAAAAAAAAAAAAAAAAJhQEAAAkBAAAACQEAAAAJhgEAAAFdAQAAWwEAAAkBAAAAAYcBAAAUAAAAAAAAAAQAAAD/////CQcAAAAJiAEAAAaJAQAAEVJlbWFpbmVkIGNvbnN0YW50CgoAAAAAAAAAAAAAAAAKCgAJigEAAAmLAQAACYwBAAAAAAAAAAIAAAAAAAAAAAAAAAAJjQEAAAkBAAAACQEAAAAJjgEAAAFeAQAAWwEAAAkBAAAAAY8BAAAUAAAAAAAAAAUAAAD/////CQcAAAAJkAEAAAaRAQAABUdyb3duCgoAAAAAAAAAAAAAAAAKCgAJkgEAAAmTAQAACZQBAAAAAAAAAAMAAAAAAAAAAAAAAAAJlQEAAAkBAAAACQEAAAAJlgEAAAFfAQAAWwEAAAkBAAAAAZcBAAAUAAAAAQAAAAYAAAD/////CQgAAAAJmAEAAAaZAQAADUNhc2Vsb2FkIDI1MCsKCgAAAAAAAAAAAAAAAAmaAQAACgAJmwEAAAmcAQAACZ0BAAAAAAAAAQAAAAAAAAAAAAAAAAAJngEAAAkBAAAACQEAAAAJnwEAAAVg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qABAAAHPCAxLDAwMAAFoQEAAB5BcGxvcmlzLkNoYXJ0LkNoYXJ0R3JvdXBBbmNob3IBAAAAB3ZhbHVlX18ACAIAAAAAAAAACgAAAAABAAAAAQAAAAmiAQAACaMBAAAJpAEAAAoJBwAAAAmlAQAACQEAAAAJAQAAAAmmAQAAAWEBAABgAQAACQEAAAAGpwEAAA0xLDAwMCAtIDQsOTk5AAGoAQAAoQEAAAAAAAAKAAAAAAEAAAABAAAACakBAAAJqgEAAAmrAQAACgkHAAAACawBAAAJAQAAAAkBAAAACa0BAAABYgEAAGABAAAJAQAAAAauAQAADTUsMDAwIC0gOSw5OTkAAa8BAAChAQAAAAAAAAoAAAAAAQAAAAEAAAAJsAEAAAmxAQAACbIBAAAKCQcAAAAJswEAAAkBAAAACQEAAAAJtAEAAAFjAQAAYAEAAAkBAAAABrUBAAAPMTAsMDAwIC0gMTksOTk5AAG2AQAAoQEAAAAAAAAKAAAAAAEAAAABAAAACbcBAAAJuAEAAAm5AQAACgkHAAAACboBAAAJAQAAAAkBAAAACbsBAAABZAEAAGABAAAJAQAAAAa8AQAACDIwLDAwMCArAAG9AQAAoQEAAAAAAAAKAAAAAAEAAAABAAAACb4BAAAJvwEAAAnAAQAACgkHAAAACcEBAAAJAQAAAAkBAAAACcIBAAAHZQEAAAABAAAACAAAAAQpQXBsb3Jpcy5DaGFydC5Db2x1bW5PcmllbnRlZExlZ2VuZEVsZW1lbnQCAAAACcMBAAAJxAEAAAnFAQAACcYBAAANBAdmAQAAAAEAAAAIAAAABB9BcGxvcmlzLkJhc2UuT2JqZWN0cy5EYXRhT2JqZWN0AwAAAAnGAQAACcUBAAAJxAEAAAnDAQAADQQBZwEAAJMAAAAKCgAAAAAAAAAADQAAAAABAWgBAACTAAAACgoBAAAAAAAAAP////8AAQFpAQAAkwAAAAoKAQAAAP///wD/////AAEBagEAAJMAAAAKCgEAAAAAAAAA/////wABD2sBAAABAAAACAAAAAAFbA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ccBAAAKCcgBAAAJBwAAAAEAAAAAAAAAAAHJAQAAJAAAAJKlL0JtyplDAcoBAAAkAAAAkqUfQm3KmUMACcsBAAAJBwAAAAkBAAAACcwBAAABbQEAAGwBAAAJzQEAAAoJzgEAAAkHAAAAAZqZmZmZmck/Ac8BAAAkAAAAkqUvQn80e0MB0AEAACQAAACSpR9CfzR7QwAJ0QEAAAkHAAAACQEAAAAJ0gEAAAFuAQAAbAEAAAnTAQAACgnUAQAACQcAAAABmpmZmZmZ2T8B1QEAACQAAACSpS9CI9RCQwHWAQAAJAAAAJKlH0Ij1EJDAAnXAQAACQcAAAAJAQAAAAnYAQAAAW8BAABsAQAACdkBAAAKCdoBAAAJBwAAAAEzMzMzMzPjPwHbAQAAJAAAAJKlL0LIcwpDAdwBAAAkAAAAkqUfQshzCkMACd0BAAAJBwAAAAkBAAAACd4BAAABcAEAAGwBAAAJ3wEAAAoJ4AEAAAkHAAAAAZqZmZmZmek/AeEBAAAkAAAAkqUvQtompEIB4gEAACQAAACSpR9C2iakQgAJ4wEAAAkHAAAACQEAAAAJ5AEAAAFxAQAAbAEAAAnlAQAACgnmAQAACQcAAAABAAAAAAAA8D8B5wEAACQAAACSpS9CjZjNQQHoAQAAJAAAAJKlH0KNmM1BAAnpAQAACQcAAAAJAQAAAAnqAQAAAXIBAABsAQAACesBAAAKCewBAAAJCAAAAAEAAAAAAAAAAAHtAQAAJAAAACsZIkRtyplDAe4BAAAkAAAAKxkjRG3KmUMACe8BAAAJCAAAAAkBAAAACfABAAABcwEAAGwBAAAJ8QEAAAoJ8gEAAAkIAAAAAZqZmZmZmbk/AfMBAAAkAAAAKxkiRGgcbUMB9AEAACQAAAArGSNEaBxtQwAJ9QEAAAkIAAAACQEAAAAJ9gEAAAF0AQAAbAEAAAn3AQAACgn4AQAACQgAAAABmpmZmZmZyT8B+QEAACQAAAArGSJE9qMmQwH6AQAAJAAAACsZI0T2oyZDAAn7AQAACQgAAAAJAQAAAAn8AQAAAXUBAABsAQAACf0BAAAKCf4BAAAJCAAAAAEzMzMzMzPTPwH/AQAAJAAAACsZIkQHV8BCAQACAAAkAAAAKxkjRAdXwEIACQECAAAJCAAAAAkBAAAACQICAAABdgEAAGwBAAAJAwIAAAoJBAIAAAkIAAAAAZqZmZmZmdk/AQUCAAAkAAAAKxkiRI2YzUEBBgIAACQAAAArGSNEjZjNQQAJBwIAAAkIAAAACQEAAAAJCAIAAAV4AQ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kJAgAACQoCAAAJWwEAAAkBAAAACQsCAAAFegE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UMAgAAK0FwbG9yaXMuQ2hhcnQuQ29ubmVjdGVkTGFiZWwrZUNvbm5lY3Rvck1vZGUBAAAAB3ZhbHVlX18ACAIAAAABAAAABQ0CAAA2QXBsb3Jpcy5DaGFydC5Db25uZWN0ZWRMYWJlbCtlQW5nbGVkQ29ubmVjdG9yRGlyZWN0aW9uAQAAAAd2YWx1ZV9fAAgCAAAAAAAAAAEOAgAAFgAAAJBKCkSNmOVB0B6LQpzew0AFDwIAAC1BcGxvcmlzLkNoYXJ0LkNvbm5lY3RlZExhYmVsK2VUYXJnZXRBcmVhU2hhcGUBAAAAB3ZhbHVlX18ACAIAAAAAAAAAAAAQQQEBEAIAACQAAAArWSNEYBT+QQERAgAAhAAAAAQAAAAAAAAAAAAAAAAJEgIAAAAAAAAJEwIAAAAAAAEUAgAAxAAAAAAAAAABFQIAAI0AAAAAACFDAACIQQEWAgAAFgAAAAAAAAAAAAAAAAAAAAAAAABeutk/CXkBAAAKCRcCAAAGGAIAAAAgAwAA/////wABCgkZAgAAAQAKAQd7AQAAAAEAAAACAAAABBVTeXN0ZW0uRHJhd2luZy5Qb2ludEYEAAAAARoCAAAkAAAAK1kjRGAU/kEBGwIAACQAAACSpRtCUkvuQQd8AQAAAAEAAAACAAAABBdBcGxvcmlzLkJhc2UuQW5jaG9yTW9kZQMAAAABHAIAAIQAAAAEAAAAAR0CAACEAAAAAgAAAAF9AQAAKAAAAAkeAgAAAQAAAAEAAAABfgEAACkAAAAJHwIAAAEAAAABAAAAAYABAAB4AQAACgkgAgAACSECAAAJXAEAAAkBAAAACSICAAABggEAAHoBAAAKWAIAAAEjAgAADAIAAAEAAAABJAIAAA0CAAAAAAAAASUCAAAWAAAAkEoKRBpII0LQHotCmjCUQQEmAgAADwIAAAAAAAAAABBBAQEnAgAAJAAAACtZI0RAVEhCASgCAACEAAAABAAAAAAAAAAAAAAAAAkpAgAAAAAAAAkqAgAAAAAAASsCAADEAAAAAAAAAAEsAgAAjQAAAAAAcEIAAIhBAS0CAAAWAAAAAAAAAAAAAAAAAAAAAAAAAF662T8JgQEAAAoJLgIAAAkYAgAAIAMAAP////8AAQoJLwIAAAEACgEHgwEAAAABAAAAAgAAAAQVU3lzdGVtLkRyYXdpbmcuUG9pbnRGBAAAAAEwAgAAJAAAACtZI0RAVEhCATECAAAkAAAAkqUbQliXaUIHhAEAAAABAAAAAgAAAAQXQXBsb3Jpcy5CYXNlLkFuY2hvck1vZGUDAAAAATICAACEAAAABAAAAAEzAgAAhAAAAAIAAAABhQEAACgAAAAJNAIAAAEAAAABAAAAAYYBAAApAAAACTUCAAABAAAAAQAAAAGIAQAAeAEAAAoJNgIAAAk3AgAACV0BAAAJAQAAAAk4AgAAAYoBAAB6AQAAClgCAAABOQIAAAwCAAABAAAAAToCAAANAgAAAAAAAAE7AgAAFgAAAJBKCkQ0sIJC0B6LQnIkh0IBPAIAAA8CAAAAAAAAAAAQQQEBPQIAACQAAAArWSNEbULGQgE+AgAAhAAAAAQAAAAAAAAAAAAAAAAJPwIAAAAAAAAJQAIAAAAAAAFBAgAAxAAAAAAAAAABQgIAAI0AAAAAAGRCAACIQQFDAgAAFgAAAAAAAAAAAAAAAAAAAAAAAABeutk/CYkBAAAKCUQCAAAJGAIAACADAAD/////AAEKCUUCAAABAAoBB4sBAAAAAQAAAAIAAAAEFVN5c3RlbS5EcmF3aW5nLlBvaW50RgQAAAABRgIAACQAAAArWSNEbULGQgFHAgAAJAAAAJKlG0JoDghDB4wBAAAAAQAAAAIAAAAEF0FwbG9yaXMuQmFzZS5BbmNob3JNb2RlAwAAAAFIAgAAhAAAAAQAAAABSQIAAIQAAAACAAAAAY0BAAAoAAAACUoCAAABAAAAAQAAAAGOAQAAKQAAAAlLAgAAAQAAAAEAAAABkAEAAHgBAAAKCUwCAAAJTQIAAAleAQAACQEAAAAJTgIAAAGSAQAAegEAAApYAgAAAU8CAAAMAgAAAQAAAAFQAgAADQIAAAAAAAABUQIAABYAAACQSgpEU+oKQ9Aei0KHqiVDAVICAAAPAgAAAAAAAAAAEEEBAVMCAAAkAAAAK1kjRJa/XUMBVAIAAIQAAAAEAAAAAAAAAAAAAAAACVUCAAAAAAAACVYCAAAAAAABVwIAAMQAAAAAAAAAAVgCAACNAAAAAABkQgAAiEEBWQIAABYAAAAAAAAAAAAAAAAAAAAAAAAAXrrZPwmRAQAACglaAgAACRgCAAAgAwAA/////wABCglbAgAAAQAKAQeTAQAAAAEAAAACAAAABBVTeXN0ZW0uRHJhd2luZy5Qb2ludEYEAAAAAVwCAAAkAAAAK1kjRJa/XUMBXQIAACQAAACSpRtC4GJ4QweUAQAAAAEAAAACAAAABBdBcGxvcmlzLkJhc2UuQW5jaG9yTW9kZQMAAAABXgIAAIQAAAAEAAAAAV8CAACEAAAAAgAAAAGVAQAAKAAAAAlgAgAAAQAAAAEAAAABlgEAACkAAAAJYQIAAAEAAAABAAAAAZgBAAB4AQAACgliAgAACWMCAAAJXwEAAAkBAAAACWQCAAAFmgEAAB5BcGxvcmlzLkJhc2UuVUkuVmlzdWFsUG9seWxpbmUQAAAADW1OdW1iZXJQb2ludHMHbVBvaW50cw5tU2VnbWVudEhpZGRlbgttTGluZUZvcm1hdAttU21vb3RoTGluZRNtQWRkaXRpb25hbFNoYXBlSWRz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AEBwQABwAAAAAHAgAAAwAIF1N5c3RlbS5EcmF3aW5nLlBvaW50RltdBAAAAAEfQXBsb3Jpcy5CYXNlLk9iamVjdHMuTGluZUZvcm1hdAMAAAABCAgIAQEIAQEPU3lzdGVtLkludFB0cltdAQMAAAAFAAAACWUCAAAJZgIAAAlnAgAAAQoIAgAA/////wEBCgloAgAAAQAKAQGbAQAAegEAAApYAgAAAWkCAAAMAgAAAQAAAAFqAgAADQIAAAAAAAABawIAABYAAAB9/BJEK71zQgAAAAAAAAAAAWwCAAAPAgAAAAAAAAAAEEEBAW0CAAAkAAAAK1kjRCu9c0IBbgIAAIQAAAAEAAAAAAAAAAAAAAAACW8CAAAAAAAACXACAAAAAAABcQIAAMQAAAAAAAAAAXICAACNAAAAAAAAAAAAAAABcwIAABYAAAAAAAAAAAAAAAAAAAAAAAAAAAAAAAmZAQAACgl0AgAACRgCAAAgAwAA/////wABCgl1AgAAAQAKAQecAQAAAAEAAAACAAAABBVTeXN0ZW0uRHJhd2luZy5Qb2ludEYEAAAAAXYCAAAkAAAAK1kjRCu9c0IBdwIAACQAAACSpRtCUQRfQwedAQAAAAEAAAACAAAABBdBcGxvcmlzLkJhc2UuQW5jaG9yTW9kZQMAAAABeAIAAIQAAAAEAAAAAXkCAACEAAAAAgAAAAGeAQAAKAAAAAl6AgAAAQAAAAEAAAABnwEAACkAAAAJewIAAAIAAAACAAAAD6IBAAABAAAACAAAAAAHowEAAAABAAAAAQAAAAQVQXBsb3Jpcy5CYXNlLlVJLkxhYmVsAwAAAAl8AgAAAaQBAAA3AAAAAX0CAAAkAAAAPrjQQm1KnEMBfgIAAIQAAAADAAAAAAAAAAAAAAAACX8CAAAAAAAACYACAAAAAAABgQIAAMQAAAAAAAAAAYICAACNAAAAAAA0QgAAcEEBgwIAABYAAAATO6lC7MSbQ1heFkKJnThBEoO+PwmgAQAACgmEAgAACRgCAAAgAwAA/////wEBCgmFAgAAAQAKAQGlAQAAKAAAAAkfAQAAAAAAAAAAAAABpgEAACkAAAAJhgIAAAIAAAACAAAAD6kBAAABAAAACAAAAAAHqgEAAAABAAAAAQAAAAQVQXBsb3Jpcy5CYXNlLlVJLkxhYmVsAwAAAAmHAgAAAasBAAA3AAAAAYgCAAAkAAAAlEFhQ21KnEMBiQIAAIQAAAADAAAAAAAAAAAAAAAACYoCAAAAAAAACYsCAAAAAAABjAIAAMQAAAAAAAAAAY0CAACNAAAAAACgQgAAcEEBjgIAABYAAADETkBD7MSbQ8kHgUKJnThBEoO+PwmnAQAACgmPAgAACRgCAAAgAwAA/////wEBCgmQAgAAAQAKAQGsAQAAKAAAAAkfAQAAAAAAAAAAAAABrQEAACkAAAAJkQIAAAIAAAACAAAAD7ABAAABAAAACAAAAAAHsQEAAAABAAAAAQAAAAQVQXBsb3Jpcy5CYXNlLlVJLkxhYmVsAwAAAAmSAgAAAbIBAAA3AAAAAZMCAAAkAAAAhBOtQ21KnEMBlAIAAIQAAAADAAAAAAAAAAAAAAAACZUCAAAAAAAACZYCAAAAAAABlwIAAMQAAAAAAAAAAZgCAACNAAAAAACgQgAAcEEBmQIAABYAAADYiZxD7MSbQ8kHgUKJnThBEoO+PwmuAQAACgmaAgAACRgCAAAgAwAA/////wEBCgmbAgAAAQAKAQGzAQAAKAAAAAkfAQAAAAAAAAAAAAABtAEAACkAAAAJnAIAAAIAAAACAAAAD7cBAAABAAAACAAAAAAHuAEAAAABAAAAAQAAAAQVQXBsb3Jpcy5CYXNlLlVJLkxhYmVsAwAAAAmdAgAAAbkBAAA3AAAAAZ4CAAAkAAAAP4bpQ21KnEMBnwIAAIQAAAADAAAAAAAAAAAAAAAACaACAAAAAAAACaECAAAAAAABogIAAMQAAAAAAAAAAaMCAACNAAAAAAC+QgAAcEEBpAIAABYAAACd2NVD7MSbQ3obmEKJnThBEoO+Pwm1AQAACgmlAgAACRgCAAAgAwAA/////wEBCgmmAgAAAQAKAQG6AQAAKAAAAAkfAQAAAAAAAAAAAAABuwEAACkAAAAJpwIAAAIAAAACAAAAD74BAAABAAAACAAAAAAHvwEAAAABAAAAAQAAAAQVQXBsb3Jpcy5CYXNlLlVJLkxhYmVsAwAAAAmoAgAAAcABAAA3AAAAAakCAAAkAAAAffwSRG1KnEMBqgIAAIQAAAADAAAAAAAAAAAAAAAACasCAAAAAAAACawCAAAAAAABrQIAAMQAAAAAAAAAAa4CAACNAAAAAABUQgAAcEEBrwIAABYAAACdWA1E7MSbQ+L7LkKJnThBEoO+Pwm8AQAACgmwAgAACRgCAAAgAwAA/////wEBCgmxAgAAAQAKAQHBAQAAKAAAAAkfAQAAAAAAAAAAAAABwgEAACkAAAAJsgIAAAIAAAACAAAABcM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RUAAAAJXgEAAAmzAgAACbQCAAAKCgoAAAAACgm1AgAACRUAAAAJAQAAAAm2AgAAAcQBAADDAQAACRUAAAAJXQEAAAm3AgAACbgCAAAKCgoBAAAACbkCAAAJugIAAAkVAAAACQEAAAAJuwIAAAHFAQAAwwEAAAkVAAAACVwBAAAJvAIAAAm9AgAACgoKAgAAAAm+AgAACb8CAAAJFQAAAAkBAAAACcACAAABxgEAAMMBAAAJFQAAAAlbAQAACcECAAAJwgIAAAoKCgMAAAAJwwIAAAnEAgAACRUAAAAJAQAAAAnFAgAAAccBAAAzAAAAAcYCAAAkAAAAkqUvQm3KmUMBxwIAACQAAACSpR9CbcqZQwnIAgAAzAEAAP////8BAQoJyQIAAAEACgEByAEAADcAAAABygIAACQAAACSpRlCbcqZQwHLAgAAhAAAAAIAAAAAAAAAAAAAAAAJzAIAAAAAAAAJzQIAAAAAAAHOAgAAxAAAAAAAAAABzwIAAI0AAAAAAJhBAABwQQHQAgAAFgAAAMROrEF2YpZDsbyMQYmdOEESg74/BtECAAACMCUKCdICAAAJGAIAANACAAD/////AQEKCdMCAAABAAoBAcsBAAAoAAAACR8BAAAAAAAAAAAAAAHMAQAAKQAAAAnUAgAAAgAAAAIAAAABzQEAADMAAAAB1QIAACQAAACSpS9CfzR7QwHWAgAAJAAAAJKlH0J/NHtDCdcCAADMAQAA/////wEBCgnYAgAAAQAKAQHOAQAANwAAAAHZAgAAJAAAAJKlGUJ/NHtDAdoCAACEAAAAAgAAAAAAAAAAAAAAAAnbAgAAAAAAAAncAgAAAAAAAd0CAADEAAAAAAAAAAHeAgAAjQAAAAAA2EEAAHBBAd8CAAAWAAAAYid2QYmddEPE971BiZ04QRKDvj8G4AIAAAMyMCUKCeECAAAJGAIAANACAAD/////AQEKCeICAAABAAoBAdEBAAAoAAAACR8BAAAAAAAAAAAAAAHSAQAAKQAAAAnjAgAAAgAAAAIAAAAB0wEAADMAAAAB5AIAACQAAACSpS9CI9RCQwHlAgAAJAAAAJKlH0Ij1EJDCeYCAADMAQAA/////wEBCgnnAgAAAQAKAQHUAQAANwAAAAHoAgAAJAAAAJKlGUIj1EJDAekCAACEAAAAAgAAAAAAAAAAAAAAAAnqAgAAAAAAAAnrAgAAAAAAAewCAADEAAAAAAAAAAHtAgAAjQAAAAAA2EEAAHBBAe4CAAAWAAAAYid2QTqxO0PE971BiZ04QRKDvj8G7wIAAAM0MCUKCfACAAAJGAIAANACAAD/////AQEKCfECAAABAAoBAdcBAAAoAAAACR8BAAAAAAAAAAAAAAHYAQAAKQAAAAnyAgAAAgAAAAIAAAAB2QEAADMAAAAB8wIAACQAAACSpS9CyHMKQwH0AgAAJAAAAJKlH0LIcwpDCfUCAADMAQAA/////wEBCgn2AgAAAQAKAQHaAQAANwAAAAH3AgAAJAAAAJKlGULIcwpDAfgCAACEAAAAAgAAAAAAAAAAAAAAAAn5AgAAAAAAAAn6AgAAAAAAAfsCAADEAAAAAAAAAAH8AgAAjQAAAAAA2EEAAHBBAf0CAAAWAAAAYid2QdiJA0PE971BiZ04QRKDvj8G/gIAAAM2MCUKCf8CAAAJGAIAANACAAD/////AQEKCQADAAABAAoBAd0BAAAoAAAACR8BAAAAAAAAAAAAAAHeAQAAKQAAAAkBAwAAAgAAAAIAAAAB3wEAADMAAAABAgMAACQAAACSpS9C2iakQgEDAwAAJAAAAJKlH0LaJqRCCQQDAADMAQAA/////wEBCgkFAwAAAQAKAQHgAQAANwAAAAEGAwAAJAAAAJKlGULaJqRCAQcDAACEAAAAAgAAAAAAAAAAAAAAAAkIAwAAAAAAAAkJAwAAAAAAAQoDAADEAAAAAAAAAAELAwAAjQAAAAAA2EEAAHBBAQwDAAAWAAAAYid2QezElkLE971BiZ04QRKDvj8GDQMAAAM4MCUKCQ4DAAAJGAIAANACAAD/////AQEKCQ8DAAABAAoBAeMBAAAoAAAACR8BAAAAAAAAAAAAAAHkAQAAKQAAAAkQAwAAAgAAAAIAAAAB5QEAADMAAAABEQMAACQAAACSpS9CjZjNQQESAwAAJAAAAJKlH0KNmM1BCRMDAADMAQAA/////wEBCgkUAwAAAQAKAQHmAQAANwAAAAEVAwAAJAAAAJKlGUKNmM1BARYDAACEAAAAAgAAAAAAAAAAAAAAAAkXAwAAAAAAAAkYAwAAAAAAARkDAADEAAAAAAAAAAEaAwAAjQAAAAAACEIAAHBBARsDAAAWAAAA//8fQZ3YmUF1C+lBiZ04QRKDvj8GHAMAAAQxMDAlCgkdAwAACRgCAADQAgAA/////wEBCgkeAwAAAQAKAQHpAQAAKAAAAAkfAQAAAAAAAAAAAAAB6gEAACkAAAAJHwMAAAIAAAACAAAAAesBAAAzAAAAASADAAAkAAAAKxkiRG3KmUMBIQMAACQAAAArGSNEbcqZQwkiAwAAzAEAAP////8BAQoJIwMAAAEACgEB7AEAADcAAAABJAMAACQAAAAreSNEbcqZQwElAwAAhAAAAAQAAAAAAAAAAAAAAAAJJgMAAAAAAAAJJwMAAAAAAAEoAwAAxAAAAAAAAAABKQMAAI0AAAAAAJhBAABwQQEqAwAAFgAAAHbiIkR2YpZDsbyMQYmdOEESg74/BisDAAACMCUKCSwDAAAJGAIAANACAAD/////AQEKCS0DAAABAAoBAe8BAAAoAAAACU8BAAAAAAAAAAAAAAHwAQAAKQAAAAkuAwAAAgAAAAIAAAAB8QEAADMAAAABLwMAACQAAAArGSJEaBxtQwEwAwAAJAAAACsZI0RoHG1DCTEDAADMAQAA/////wEBCgkyAwAAAQAKAQHyAQAANwAAAAEzAwAAJAAAACt5I0RoHG1DATQDAACEAAAABAAAAAAAAAAAAAAAAAk1AwAAAAAAAAk2AwAAAAAAATcDAADEAAAAAAAAAAE4AwAAjQAAAAAA2EEAAHBBATkDAAAWAAAAduIiRP//ZUPE971BiZ04QRKDvj8GOgMAAAMxMCUKCTsDAAAJGAIAANACAAD/////AQEKCTwDAAABAAoBAfUBAAAoAAAACU8BAAAAAAAAAAAAAAH2AQAAKQAAAAk9AwAAAgAAAAIAAAAB9wEAADMAAAABPgMAACQAAAArGSJE9qMmQwE/AwAAJAAAACsZI0T2oyZDCUADAADMAQAA/////wEBCglBAwAAAQAKAQH4AQAANwAAAAFCAwAAJAAAACt5I0T2oyZDAUMDAACEAAAABAAAAAAAAAAAAAAAAAlEAwAAAAAAAAlFAwAAAAAAAUYDAADEAAAAAAAAAAFHAwAAjQAAAAAA2EEAAHBBAUgDAAAWAAAAduIiRP//H0PE971BiZ04QRKDvj8GSQMAAAMyMCUKCUoDAAAJGAIAANACAAD/////AQEKCUsDAAABAAoBAfsBAAAoAAAACU8BAAAAAAAAAAAAAAH8AQAAKQAAAAlMAwAAAgAAAAIAAAAB/QEAADMAAAABTQMAACQAAAArGSJEB1fAQgFOAwAAJAAAACsZI0QHV8BCCU8DAADMAQAA/////wEBCglQAwAAAQAKAQH+AQAANwAAAAFRAwAAJAAAACt5I0QHV8BCAVIDAACEAAAABAAAAAAAAAAAAAAAAAlTAwAAAAAAAAlUAwAAAAAAAVUDAADEAAAAAAAAAAFWAwAAjQAAAAAA2EEAAHBBAVcDAAAWAAAAduIiRCd2skLE971BiZ04QRKDvj8GWAMAAAMzMCUKCVkDAAAJGAIAANACAAD/////AQEKCVoDAAABAAoBAQECAAAoAAAACU8BAAAAAAAAAAAAAAECAgAAKQAAAAlbAwAAAgAAAAIAAAABAwIAADMAAAABXAMAACQAAAArGSJEjZjNQQFdAwAAJAAAACsZI0SNmM1BCV4DAADMAQAA/////wEBCglfAwAAAQAKAQEEAgAANwAAAAFgAwAAJAAAACt5I0SNmM1BAWEDAACEAAAABAAAAAAAAAAAAAAAAAliAwAAAAAAAAljAwAAAAAAAWQDAADEAAAAAAAAAAFlAwAAjQAAAAAA2EEAAHBBAWYDAAAWAAAAduIiRJ3YmUHE971BiZ04QRKDvj8GZwMAAAM0MCUKCWgDAAAJGAIAANACAAD/////AQEKCWkDAAABAAoBAQcCAAAoAAAACU8BAAAAAAAAAAAAAAEIAgAAKQAAAAlqAwAAAgAAAAIAAAAECQIAAJgBU3lzdGVtLkNvbGxlY3Rpb25zLkdlbmVyaWMuTGlzdGAxW1tBcGxvcmlzLkNoYXJ0LkNoYXJ0RGF0YUVsZW1lbnQsIEFwbG9yaXMuQ2hhcnQsIFZlcnNpb249NC4yLjAuMTkwOCwgQ3VsdHVyZT1uZXV0cmFsLCBQdWJsaWNLZXlUb2tlbj0xNmZjMTNhMjI2YzBlOTUxXV0DAAAABl9pdGVtcwVfc2l6ZQhfdmVyc2lvbgQAACBBcGxvcmlzLkNoYXJ0LkNoYXJ0RGF0YUVsZW1lbnRbXQIAAAAICAlrAwAABQAAAAUAAAABCgIAACgAAAAJbAMAAAUAAAAFAAAAAQsCAAApAAAACR0BAAAAAAAAAAAAAAUS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WwEAAAoAAAAAAChBCZEAAAAJkgAAAAltAwAAAQAJbgMAAAETAgAAkwAAAAoKAAAAAP///wAOAAAAAAEBFwIAAMgAAAAJbwMAAAEAAAABAAAAARkCAACQAAAACXADAAAKBx4CAAAAAQAAAAQAAAAEH0FwbG9yaXMuQmFzZS5PYmplY3RzLkRhdGFPYmplY3QDAAAACXgBAAANAwcfAgAAAAEAAAAEAAAABBxBcGxvcmlzLkJhc2UuVUkuVmlzdWFsT2JqZWN0AwAAAAl6AQAADQMBIAIAAAkCAAAJcQMAAAUAAAAFAAAAASECAAAoAAAACXIDAAAFAAAABQAAAAEiAgAAKQAAAAkdAQAAAAAAAAAAAAAFK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VwBAAAKAAAAAAAoQQmRAAAACZIAAAAJcwMAAAEACXQDAAABKgIAAJMAAAAKCgAAAAD///8ADgAAAAABAS4CAADIAAAACXUDAAABAAAAAQAAAAEvAgAAkAAAAAl2AwAACgc0AgAAAAEAAAAEAAAABB9BcGxvcmlzLkJhc2UuT2JqZWN0cy5EYXRhT2JqZWN0AwAAAAmAAQAADQMHNQIAAAABAAAABAAAAAQcQXBsb3Jpcy5CYXNlLlVJLlZpc3VhbE9iamVjdAMAAAAJggEAAA0DATYCAAAJAgAACXcDAAAFAAAABQAAAAE3AgAAKAAAAAl4AwAABQAAAAUAAAABOAIAACkAAAAJHQEAAAAAAAAAAAAABT8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ldAQAACgAAAAAAKEEJkQAAAAmSAAAACXkDAAABAAl6AwAAAUACAACTAAAACgoAAAAA////AA4AAAAAAQFEAgAAyAAAAAl7AwAAAQAAAAEAAAABRQIAAJAAAAAJfAMAAAoHSgIAAAABAAAABAAAAAQfQXBsb3Jpcy5CYXNlLk9iamVjdHMuRGF0YU9iamVjdAMAAAAJiAEAAA0DB0sCAAAAAQAAAAQAAAAEHEFwbG9yaXMuQmFzZS5VSS5WaXN1YWxPYmplY3QDAAAACYoBAAANAwFMAgAACQIAAAl9AwAABQAAAAUAAAABTQIAACgAAAAJfgMAAAUAAAAFAAAAAU4CAAApAAAACR0BAAAAAAAAAAAAAAVV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XgEAAAoAAAAAAChBCZEAAAAJkgAAAAl/AwAAAQAJgAMAAAFWAgAAkwAAAAoKAAAAAP///wAOAAAAAAEBWgIAAMgAAAAJgQMAAAEAAAABAAAAAVsCAACQAAAACYIDAAAKB2ACAAAAAQAAAAQAAAAEH0FwbG9yaXMuQmFzZS5PYmplY3RzLkRhdGFPYmplY3QDAAAACZABAAANAwdhAgAAAAEAAAAEAAAABBxBcGxvcmlzLkJhc2UuVUkuVmlzdWFsT2JqZWN0AwAAAAmSAQAADQMBYgIAAAkCAAAJgwMAAAUAAAAFAAAAAWMCAAAoAAAACYQDAAAFAAAABQAAAAFkAgAAKQAAAAmFAwAAAAAAAAAAAAAHZQIAAAABAAAABQAAAAQVU3lzdGVtLkRyYXdpbmcuUG9pbnRGBAAAAAGGAwAAJAAAAD640EJRBF9DAYcDAAAkAAAAlEFhQ1EEX0MBiAMAACQAAACEE61DTJ/qQgGJAwAAJAAAAD+G6UM1h9xCAYoDAAAkAAAAffwSRCu9c0IPZgIAAAQAAAABAAAAAAFnAgAAiwAAAAoKAAAAwD8JiwMAAAmMAwAAAQAAAP7///8AAAAAAQAAAAAAAAAAAAAAAQAAAAAAAAAAAQABaAIAAJAAAAAJjQMAAAoFb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V8BAAAKAAAAAAAoQQmRAAAACZIAAAAJjgMAAAEACY8DAAABcAIAAJMAAAAKCgEAAAAAAAAA/////wABAXQCAADIAAAACZADAAABAAAAAQAAAAF1AgAAkAAAAAmRAwAACgd6AgAAAAEAAAAEAAAABB9BcGxvcmlzLkJhc2UuT2JqZWN0cy5EYXRhT2JqZWN0AwAAAAmYAQAADQMHewIAAAABAAAABAAAAAQcQXBsb3Jpcy5CYXNlLlVJLlZpc3VhbE9iamVjdAMAAAAJmwEAAAmaAQAACgoBfAIAADcAAAABkgMAACQAAAA+uNBCjZi1QQGTAwAAhAAAAAEAAAAAAAAAAAAAAAAJlAMAAAAAAAAJlQMAAAAAAAGWAwAAxAAAAAAAAAABlwMAAI0AAAAAAPBBAABwQQGYAwAAFgAAAP//s0L//x9B623QQYmdOEESg74/BpkDAAAEbj02OQoJmgMAAAmZAwAANAMAAP////8BAQoJmwMAAAEACgEBfwIAACYAAAAKCgAAAAAAKEEJkQAAAAmSAAAACZwDAAAAAAmdAwAAAYACAACTAAAACgoAAAAA////AA4AAAAAAQGEAgAAyAAAAAmeAwAAAQAAAAEAAAABhQIAAJAAAAAJnwMAAAoHhgIAAAABAAAABAAAAAQcQXBsb3Jpcy5CYXNlLlVJLlZpc3VhbE9iamVjdAMAAAAJpAEAAAl8AgAACgoBhwIAADcAAAABoAMAACQAAACUQWFDjZi1QQGhAwAAhAAAAAEAAAAAAAAAAAAAAAAJogMAAAAAAAAJowMAAAAAAAGkAwAAxAAAAAAAAAABpQMAAI0AAAAAALBBAABwQQGmAwAAFgAAAImdVkP//x9B2DKfQYmdOEESg74/BqcDAAADNDkxCgmoAwAACacDAAA0AwAA/////wEBCgmpAwAAAQAKAQGKAgAAJgAAAAoKAAAAAAAoQQmRAAAACZIAAAAJqgMAAAAACasDAAABiwIAAJMAAAAKCgAAAAD///8ADgAAAAABAY8CAADIAAAACawDAAABAAAAAQAAAAGQAgAAkAAAAAmtAwAACgeRAgAAAAEAAAAEAAAABBxBcGxvcmlzLkJhc2UuVUkuVmlzdWFsT2JqZWN0AwAAAAmrAQAACYcCAAAKCgGSAgAANwAAAAGuAwAAJAAAAIQTrUONmLVBAa8DAACEAAAAAQAAAAAAAAAAAAAAAAmwAwAAAAAAAAmxAwAAAAAAAbIDAADEAAAAAAAAAAGzAwAAjQAAAAAAcEEAAHBBAbQDAAAWAAAAndioQ///H0FOPmhBiZ04QRKDvj8GtQMAAAI4NAoJtgMAAAm1AwAANAMAAP////8BAQoJtwMAAAEACgEBlQIAACYAAAAKCgAAAAAAKEEJkQAAAAmSAAAACbgDAAAAAAm5AwAAAZYCAACTAAAACgoAAAAA////AA4AAAAAAQGaAgAAyAAAAAm6AwAAAQAAAAEAAAABmwIAAJAAAAAJuwMAAAoHnAIAAAABAAAABAAAAAQcQXBsb3Jpcy5CYXNlLlVJLlZpc3VhbE9iamVjdAMAAAAJsgEAAAmSAgAACgoBnQIAADcAAAABvAMAACQAAAA/hulD2Nm3QQG9AwAAhAAAAAEAAAAAAAAAAAAAAAAJvgMAAAAAAAAJvwMAAAAAAAHAAwAAxAAAAAAAAAABwQMAAI0AAAAAAHBBAABwQQHCAwAAFgAAABM75UPETixBTj5oQYmdOEESg74/BsMDAAACNjMKCcQDAAAJwwMAADQDAAD/////AQEKCcUDAAABAAoBAaACAAAmAAAACgoAAAAAAChBCZEAAAAJkgAAAAnGAwAAAAAJxwMAAAGhAgAAkwAAAAoKAAAAAP///wAOAAAAAAEBpQIAAMgAAAAJyAMAAAEAAAABAAAAAaYCAACQAAAACckDAAAKB6cCAAAAAQAAAAQAAAAEHEFwbG9yaXMuQmFzZS5VSS5WaXN1YWxPYmplY3QDAAAACbkBAAAJnQIAAAoKAagCAAA3AAAAAcoDAAAkAAAAffwSRI2YtUEBywMAAIQAAAABAAAAAAAAAAAAAAAACcwDAAAAAAAACc0DAAAAAAABzgMAAMQAAAAAAAAAAc8DAACNAAAAAABwQQAAcEEB0AMAABYAAAD//xBE//8fQU4+aEGJnThBEoO+PwbRAwAAAjQ2CgnSAwAACdEDAAA0AwAA/////wEBCgnTAwAAAQAKAQGrAgAAJgAAAAoKAAAAAAAoQQmRAAAACZIAAAAJ1AMAAAAACdUDAAABrAIAAJMAAAAKCgAAAAD///8ADgAAAAABAbACAADIAAAACdYDAAABAAAAAQAAAAGxAgAAkAAAAAnXAwAACgeyAgAAAAEAAAAEAAAABBxBcGxvcmlzLkJhc2UuVUkuVmlzdWFsT2JqZWN0AwAAAAnAAQAACagCAAAKCgGzAgAANwAAAAHYAwAAJAAAABOc4kICgKtDAdkDAACEAAAABQAAAAAAAAAAAAAAAAnaAwAAAAAAAAnbAwAAAAAAAdwDAADEAAAAAAAAAAHdAwAAjQAAAAAAIEIAAHBBAd4DAAAWAAAA2IndQmInq0Pi+wZCiZ04QRKDvj8JkQEAAAoJ3wMAAAkYAgAAhAMAAP////8BAQoJ4AMAAAEACgEBtAIAAB8AAAAB4QMAACQAAABbncVCAoCrQwHiAwAAJAAAABOc3EKwP7FDCeMDAAAJ5AMAAAAAAAAKAeUDAACNAAAAAAAAAAAAAAAB5gMAAI0AAAAAAAAAAAAAAAAAAAAB5wMAABYAAAAAAAAAAAAAAAAAAAAAAAAAmAMAAP////8BAQoJ6AMAAAEACgEBtQIAACgAAAAJHwEAAAAAAAAAAAAAAbYCAAApAAAACekDAAACAAAACAAAAAG3AgAANwAAAAHqAwAAJAAAALIyTkMCgKtDAesDAACEAAAABQAAAAAAAAAAAAAAAAnsAwAAAAAAAAntAwAAAAAAAe4DAADEAAAAAAAAAAHvAwAAjQAAAAAA6kIAAHBBAfADAAAWAAAAndhLQ2Inq0MY9LlCiZ04QRKDvj8JiQEAAAoJ8QMAAAkYAgAAhAMAAP////8BAQoJ8gMAAAEACgEBuAIAAB8AAAAB8wMAACQAAABWsz9DAoCrQwH0AwAAJAAAALIyS0OwP7FDCfUDAAAJ9gMAAAAAAAAKAfcDAACNAAAAAAAAAAAAAAAB+AMAAI0AAAAAAAAAAAAAAAAAAAAB+QMAABYAAAAAAAAAAAAAAAAAAAAAAAAAmAMAAP////8BAQoJ+gMAAAEACgEHuQIAAAABAAAABAAAAAQVU3lzdGVtLkRyYXdpbmcuUG9pbnRGBAAAAAH7AwAAJAAAAK906kKyk6dDAfwDAAAkAAAACq2GQ55YrUMB/QMAACQAAABeH7VDnlitQwH+AwAAJAAAALKR6EOeWK1DAboCAAAoAAAACR8BAAAAAAAAAAAAAAG7AgAAKQAAAAn/AwAAAgAAAAgAAAABvAIAADcAAAABAAQAACQAAAA3KbNDAoCrQwEBBAAAhAAAAAUAAAAAAAAAAAAAAAAJAgQAAAAAAAAJAwQAAAAAAAEEBAAAxAAAAAAAAAABBQQAAI0AAAAAAFRCAABwQQEGBAAAFgAAALETskNiJ6tD4vsuQomdOEESg74/CYEBAAAKCQcEAAAJGAIAAIQDAAD/////AQEKCQgEAAABAAoBAb0CAAAfAAAAAQkEAAAkAAAAiemrQwKAq0MBCgQAACQAAAA3qbFDsD+xQwkLBAAACQwEAAAAAAAACgENBAAAjQAAAAAAAAAAAAAAAQ4EAACNAAAAAAAAAAAAAAAAAAAAAQ8EAAAWAAAAAAAAAAAAAAAAAAAAAAAAAJgDAAD/////AQEKCRAEAAABAAoBB74CAAAAAQAAAAQAAAAEFVN5c3RlbS5EcmF3aW5nLlBvaW50RgQAAAABEQQAACQAAACvdOpCspOnQwESBAAAJAAAAAAfXEOeWK1DARMEAAAkAAAAXh+6Q55YrUMBFAQAACQAAACykehDnlitQwG/AgAAKAAAAAkfAQAAAAAAAAAAAAABwAIAACkAAAAJFQQAAAIAAAAIAAAAAcECAAA3AAAAARYEAAAkAAAAi5vmQwKAq0MBFwQAAIQAAAAFAAAAAAAAAAAAAAAACRgEAAAAAAAACRkEAAAAAAABGgQAAMQAAAAAAAAAARsEAACNAAAAAAANQwAAcEEBHAQAABYAAAATO+VDYierQ2fg3kKJnThBEoO+Pwl5AQAACgkdBAAACRgCAACEAwAA/////wEBCgkeBAAAAQAKAQHCAgAAHwAAAAEfBAAAJAAAAN1b30MCgKtDASAEAAAkAAAAixvlQ7A/sUMJIQQAAAkiBAAAAAAAAAoBIwQAAI0AAAAAAAAAAAAAAAEkBAAAjQAAAAAAAAAAAAAAAAAAAAElBAAAFgAAAAAAAAAAAAAAAAAAAAAAAACYAwAA/////wEBCgkmBAAAAQAKAQfDAgAAAAEAAAAEAAAABBVTeXN0ZW0uRHJhd2luZy5Qb2ludEYEAAAAAScEAAAkAAAAr3TqQrKTp0MBKAQAACQAAAAe6I9DnlitQwEpBAAAJAAAAHJaw0OeWK1DASoEAAAkAAAAKLUHRJ5YrUMBxAIAACgAAAAJHwEAAAAAAAAAAAAAAcUCAAApAAAACSsEAAACAAAACAAAAAHIAgAAiwAAAAoKAAAAQD8JLAQAAAktBAAAAQAAAP7///8AAAAAAQAAAAAAAAAAAAAAAQAAAAAAAAAAAAAByQIAAJAAAAAJLgQAAAoBzAIAACYAAAAKCgAAAAAAKEEJkQAAAAmSAAAACS8EAAAAAAkwBAAAAc0CAACTAAAACgoAAAAA////AA4AAAAAAQHSAgAAyAAAAAkxBAAAAQAAAAEAAAAB0wIAAJAAAAAJMgQAAAoH1AIAAAABAAAABAAAAAQcQXBsb3Jpcy5CYXNlLlVJLlZpc3VhbE9iamVjdAMAAAAJxwEAAAnIAQAACgoB1wIAAIsAAAAKCgAAAEA/CTMEAAAJNAQAAAEAAAD+////AAAAAAEAAAAAAAAAAAAAAAEAAAAAAAAAAAAAAdgCAACQAAAACTUEAAAKAdsCAAAmAAAACgoAAAAAAChBCZEAAAAJkgAAAAk2BAAAAAAJNwQAAAHcAgAAkwAAAAoKAAAAAP///wAOAAAAAAEB4QIAAMgAAAAJOAQAAAEAAAADAAAAAeICAACQAAAACTkEAAAKB+MCAAAAAQAAAAQAAAAEHEFwbG9yaXMuQmFzZS5VSS5WaXN1YWxPYmplY3QDAAAACc0BAAAJzgEAAAoKAeYCAACLAAAACgoAAABAPwk6BAAACTsEAAABAAAA/v///wAAAAABAAAAAAAAAAAAAAABAAAAAAAAAAAAAAHnAgAAkAAAAAk8BAAACgHqAgAAJgAAAAoKAAAAAAAoQQmRAAAACZIAAAAJPQQAAAAACT4EAAAB6wIAAJMAAAAKCgAAAAD///8ADgAAAAABAfACAADIAAAACT8EAAABAAAAAwAAAAHxAgAAkAAAAAlABAAACgfyAgAAAAEAAAAEAAAABBxBcGxvcmlzLkJhc2UuVUkuVmlzdWFsT2JqZWN0AwAAAAnTAQAACdQBAAAKCgH1AgAAiwAAAAoKAAAAQD8JQQQAAAlCBAAAAQAAAP7///8AAAAAAQAAAAAAAAAAAAAAAQAAAAAAAAAAAAAB9gIAAJAAAAAJQwQAAAoB+QIAACYAAAAKCgAAAAAAKEEJkQAAAAmSAAAACUQEAAAAAAlFBAAAAfoCAACTAAAACgoAAAAA////AA4AAAAAAQH/AgAAyAAAAAlGBAAAAQAAAAMAAAABAAMAAJAAAAAJRwQAAAoHAQMAAAABAAAABAAAAAQcQXBsb3Jpcy5CYXNlLlVJLlZpc3VhbE9iamVjdAMAAAAJ2QEAAAnaAQAACgoBBAMAAIsAAAAKCgAAAEA/CUgEAAAJSQQAAAEAAAD+////AAAAAAEAAAAAAAAAAAAAAAEAAAAAAAAAAAAAAQUDAACQAAAACUoEAAAKAQgDAAAmAAAACgoAAAAAAChBCZEAAAAJkgAAAAlLBAAAAAAJTAQAAAEJAwAAkwAAAAoKAAAAAP///wAOAAAAAAEBDgMAAMgAAAAJTQQAAAEAAAADAAAAAQ8DAACQAAAACU4EAAAKBxADAAAAAQAAAAQAAAAEHEFwbG9yaXMuQmFzZS5VSS5WaXN1YWxPYmplY3QDAAAACd8BAAAJ4AEAAAoKARMDAACLAAAACgoAAABAPwlPBAAACVAEAAABAAAA/v///wAAAAABAAAAAAAAAAAAAAABAAAAAAAAAAAAAAEUAwAAkAAAAAlRBAAACgEXAwAAJgAAAAoKAAAAAAAoQQmRAAAACZIAAAAJUgQAAAAACVMEAAABGAMAAJMAAAAKCgAAAAD///8ADgAAAAABAR0DAADIAAAACVQEAAABAAAAAwAAAAEeAwAAkAAAAAlVBAAACgcfAwAAAAEAAAAEAAAABBxBcGxvcmlzLkJhc2UuVUkuVmlzdWFsT2JqZWN0AwAAAAnlAQAACeYBAAAKCgEiAwAAiwAAAAoKAAAAQD8JVgQAAAlXBAAAAQAAAP7///8AAAAAAQAAAAAAAAAAAAAAAQAAAAAAAAAAAAABIwMAAJAAAAAJWAQAAAoBJgMAACYAAAAKCgAAAAAAKEEJkQAAAAmSAAAACVkEAAAAAAlaBAAAAScDAACTAAAACgoAAAAA////AA4AAAAAAQEsAwAAyAAAAAlbBAAAAQAAAAEAAAABLQMAAJAAAAAJXAQAAAoHLgMAAAABAAAABAAAAAQcQXBsb3Jpcy5CYXNlLlVJLlZpc3VhbE9iamVjdAMAAAAJ6wEAAAnsAQAACgoBMQMAAIsAAAAKCgAAAEA/CV0EAAAJXgQAAAEAAAD+////AAAAAAEAAAAAAAAAAAAAAAEAAAAAAAAAAAAAATIDAACQAAAACV8EAAAKATUDAAAmAAAACgoAAAAAAChBCZEAAAAJkgAAAAlgBAAAAAAJYQQAAAE2AwAAkwAAAAoKAAAAAP///wAOAAAAAAEBOwMAAMgAAAAJYgQAAAEAAAADAAAAATwDAACQAAAACWMEAAAKBz0DAAAAAQAAAAQAAAAEHEFwbG9yaXMuQmFzZS5VSS5WaXN1YWxPYmplY3QDAAAACfEBAAAJ8gEAAAoKAUADAACLAAAACgoAAABAPwlkBAAACWUEAAABAAAA/v///wAAAAABAAAAAAAAAAAAAAABAAAAAAAAAAAAAAFBAwAAkAAAAAlmBAAACgFEAwAAJgAAAAoKAAAAAAAoQQmRAAAACZIAAAAJZwQAAAAACWgEAAABRQMAAJMAAAAKCgAAAAD///8ADgAAAAABAUoDAADIAAAACWkEAAABAAAAAwAAAAFLAwAAkAAAAAlqBAAACgdMAwAAAAEAAAAEAAAABBxBcGxvcmlzLkJhc2UuVUkuVmlzdWFsT2JqZWN0AwAAAAn3AQAACfgBAAAKCgFPAwAAiwAAAAoKAAAAQD8JawQAAAlsBAAAAQAAAP7///8AAAAAAQAAAAAAAAAAAAAAAQAAAAAAAAAAAAABUAMAAJAAAAAJbQQAAAoBUwMAACYAAAAKCgAAAAAAKEEJkQAAAAmSAAAACW4EAAAAAAlvBAAAAVQDAACTAAAACgoAAAAA////AA4AAAAAAQFZAwAAyAAAAAlwBAAAAQAAAAMAAAABWgMAAJAAAAAJcQQAAAoHWwMAAAABAAAABAAAAAQcQXBsb3Jpcy5CYXNlLlVJLlZpc3VhbE9iamVjdAMAAAAJ/QEAAAn+AQAACgoBXgMAAIsAAAAKCgAAAEA/CXIEAAAJcwQAAAEAAAD+////AAAAAAEAAAAAAAAAAAAAAAEAAAAAAAAAAAAAAV8DAACQAAAACXQEAAAKAWIDAAAmAAAACgoAAAAAAChBCZEAAAAJkgAAAAl1BAAAAAAJdgQAAAFjAwAAkwAAAAoKAAAAAP///wAOAAAAAAEBaAMAAMgAAAAJdwQAAAEAAAADAAAAAWkDAACQAAAACXgEAAAKB2oDAAAAAQAAAAQAAAAEHEFwbG9yaXMuQmFzZS5VSS5WaXN1YWxPYmplY3QDAAAACQMCAAAJBAIAAAoKB2sDAAAAAQAAAAgAAAAEHkFwbG9yaXMuQ2hhcnQuQ2hhcnREYXRhRWxlbWVudAIAAAAJeQQAAAl6BAAACXsEAAAJfAQAAAl9BAAADQMHbAMAAAABAAAACAAAAAQfQXBsb3Jpcy5CYXNlLk9iamVjdHMuRGF0YU9iamVjdAMAAAAJeQQAAAl6BAAACXsEAAAJfAQAAAl9BAAADQMBbQMAAJMAAAAKCgAAAAAAAAAADQAAAAABAW4DAACTAAAACgoBAAAAAAAAAP////8AAQdvAwAAAAEAAAAEAAAABB1BcGxvcmlzLkJhc2UuT2JqZWN0cy5WYXJpYWJsZQMAAAAFfgQAAB1BcGxvcmlzLkJhc2UuT2JqZWN0cy5WYXJpYWJsZQIAAAAGTnVtYmVyCFBvc2l0aW9uAAAICAMAAAABAAAAAAAAAAF/BAAAfgQAAAAAAAAAAAAAAYAEAAB+BAAAAAAAAAAAAAABgQQAAH4EAAAAAAAAAAAAAA9wAwAAAQAAAAgAAAAAB3EDAAAAAQAAAAgAAAAEHkFwbG9yaXMuQ2hhcnQuQ2hhcnREYXRhRWxlbWVudAIAAAAJggQAAAmDBAAACYQEAAAJhQQAAAmGBAAADQMHcgMAAAABAAAACAAAAAQfQXBsb3Jpcy5CYXNlLk9iamVjdHMuRGF0YU9iamVjdAMAAAAJggQAAAmDBAAACYQEAAAJhQQAAAmGBAAADQMBcwMAAJMAAAAKCgAAAAAAAAAADQAAAAABAXQDAACTAAAACgoBAAAAAAAAAP////8AAQd1AwAAAAEAAAAEAAAABB1BcGxvcmlzLkJhc2UuT2JqZWN0cy5WYXJpYWJsZQMAAAABhwQAAH4EAAABAAAAAAAAAAGIBAAAfgQAAAAAAAAAAAAAAYkEAAB+BAAAAAAAAAAAAAABigQAAH4EAAAAAAAAAAAAAA92AwAAAQAAAAgAAAAAB3cDAAAAAQAAAAgAAAAEHkFwbG9yaXMuQ2hhcnQuQ2hhcnREYXRhRWxlbWVudAIAAAAJiwQAAAmMBAAACY0EAAAJjgQAAAmPBAAADQMHeAMAAAABAAAACAAAAAQfQXBsb3Jpcy5CYXNlLk9iamVjdHMuRGF0YU9iamVjdAMAAAAJiwQAAAmMBAAACY0EAAAJjgQAAAmPBAAADQMBeQMAAJMAAAAKCgAAAAAAAAAADQAAAAABAXoDAACTAAAACgoBAAAAAAAAAP////8AAQd7AwAAAAEAAAAEAAAABB1BcGxvcmlzLkJhc2UuT2JqZWN0cy5WYXJpYWJsZQMAAAABkAQAAH4EAAABAAAAAAAAAAGRBAAAfgQAAAAAAAAAAAAAAZIEAAB+BAAAAAAAAAAAAAABkwQAAH4EAAAAAAAAAAAAAA98AwAAAQAAAAgAAAAAB30DAAAAAQAAAAgAAAAEHkFwbG9yaXMuQ2hhcnQuQ2hhcnREYXRhRWxlbWVudAIAAAAJlAQAAAmVBAAACZYEAAAJlwQAAAmYBAAADQMHfgMAAAABAAAACAAAAAQfQXBsb3Jpcy5CYXNlLk9iamVjdHMuRGF0YU9iamVjdAMAAAAJlAQAAAmVBAAACZYEAAAJlwQAAAmYBAAADQMBfwMAAJMAAAAKCgAAAAAAAAAADQAAAAABAYADAACTAAAACgoBAAAAAAAAAP////8AAQeBAwAAAAEAAAAEAAAABB1BcGxvcmlzLkJhc2UuT2JqZWN0cy5WYXJpYWJsZQMAAAABmQQAAH4EAAABAAAAAAAAAAGaBAAAfgQAAAAAAAAAAAAAAZsEAAB+BAAAAAAAAAAAAAABnAQAAH4EAAAAAAAAAAAAAA+CAwAAAQAAAAgAAAAAB4MDAAAAAQAAAAgAAAAEHkFwbG9yaXMuQ2hhcnQuQ2hhcnREYXRhRWxlbWVudAIAAAAJnQQAAAmeBAAACZ8EAAAJoAQAAAmhBAAADQMHhAMAAAABAAAACAAAAAQfQXBsb3Jpcy5CYXNlLk9iamVjdHMuRGF0YU9iamVjdAMAAAAJnQQAAAmeBAAACZ8EAAAJoAQAAAmhBAAADQMHhQMAAAABAAAAAAAAAAQcQXBsb3Jpcy5CYXNlLlVJLlZpc3VhbE9iamVjdAMAAAABiwMAAJMAAAAKCgAAAAD3lB4ACgAAAAAABYwDAAAaQXBsb3Jpcy5CYXNlLk9iamVjdHMuQ29sb3IHAAAAEkRhdGFPYmplY3QrbVBhcmVudBVEYXRhT2JqZWN0K21Db250YWluZXIFbVR5cGUEbVJHQhBtVGhlbWVDb2xvckluZGV4DG1BdXRvVXBkYXRlZAltTW9kaWZpZWQEAgAAAAAAH0FwbG9yaXMuQmFzZS5PYmplY3RzLkxpbmVGb3JtYXQDAAAACAgIAQEDAAAACWcCAAAKAQAAAAAAAAD/////AAEPjQMAAAEAAAAIUgAAAAGOAwAAkwAAAAoKAAAAAAAAAAANAAAAAAEBjwMAAJMAAAAKCgEAAAAAAAAA/////wABB5ADAAAAAQAAAAQAAAAEHUFwbG9yaXMuQmFzZS5PYmplY3RzLlZhcmlhYmxlAwAAAAGiBAAAfgQAAAEAAAAAAAAAAaMEAAB+BAAAAAAAAAAAAAABpAQAAH4EAAAAAAAAAAAAAAGlBAAAfgQAAAAAAAAAAAAAD5EDAAABAAAACAAAAAAFlA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YAEAAAoAAAAAAChBCZEAAAAJkgAAAAmmBAAAAAAJpwQAAAGVAwAAkwAAAAoKAAAAAP///wAOAAAAAAEBmgMAAMgAAAAJqAQAAAAAAAACAAAAAZsDAACQAAAACakEAAAKAZwDAACTAAAACgoAAAAAAAAAAA0AAAAAAAGdAwAAkwAAAAoKAAAAAAAAAAANAAAAAAEHngMAAAABAAAABAAAAAQdQXBsb3Jpcy5CYXNlLk9iamVjdHMuVmFyaWFibGUDAAAAAaoEAAB+BAAAAQAAAAAAAAABqwQAAH4EAAAAAAAAAAAAAAGsBAAAfgQAAAAAAAAAAAAAAa0EAAB+BAAAAAAAAAAAAAAPnwMAAAEAAAAIJAAAAAWi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lhAQAACgAAAAAAKEEJkQAAAAmSAAAACa4EAAAAAAmvBAAAAaMDAACTAAAACgoAAAAA////AA4AAAAAAQGoAwAAyAAAAAmwBAAAAAAAAAQAAAABqQMAAJAAAAAJsQQAAAoBqgMAAJMAAAAKCgAAAAAAAAAADQAAAAAAAasDAACTAAAACgoAAAAAAAAAAA0AAAAAAQesAwAAAAEAAAAEAAAABB1BcGxvcmlzLkJhc2UuT2JqZWN0cy5WYXJpYWJsZQMAAAABsgQAAH4EAAABAAAAAAAAAAGzBAAAfgQAAAAAAAAAAAAAAbQEAAB+BAAAAAAAAAAAAAABtQQAAH4EAAAAAAAAAAAAAA+tAwAAAQAAAAgjAAAABbA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WIBAAAKAAAAAAAoQQmRAAAACZIAAAAJtgQAAAAACbcEAAABsQMAAJMAAAAKCgAAAAD///8ADgAAAAABAbYDAADIAAAACbgEAAAAAAAABAAAAAG3AwAAkAAAAAm5BAAACgG4AwAAkwAAAAoKAAAAAAAAAAANAAAAAAABuQMAAJMAAAAKCgAAAAAAAAAADQAAAAABB7oDAAAAAQAAAAQAAAAEHUFwbG9yaXMuQmFzZS5PYmplY3RzLlZhcmlhYmxlAwAAAAG6BAAAfgQAAAEAAAAAAAAAAbsEAAB+BAAAAAAAAAAAAAABvAQAAH4EAAAAAAAAAAAAAAG9BAAAfgQAAAAAAAAAAAAAD7sDAAABAAAACCcAAAAFvg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YwEAAAoAAAAAAChBCZEAAAAJkgAAAAm+BAAAAAAJvwQAAAG/AwAAkwAAAAoKAAAAAP///wAOAAAAAAEBxAMAAMgAAAAJwAQAAAAAAAAEAAAAAcUDAACQAAAACcEEAAAKAcYDAACTAAAACgoAAAAAAAAAAA0AAAAAAAHHAwAAkwAAAAoKAAAAAAAAAAANAAAAAAEHyAMAAAABAAAABAAAAAQdQXBsb3Jpcy5CYXNlLk9iamVjdHMuVmFyaWFibGUDAAAAAcIEAAB+BAAAAQAAAAAAAAABwwQAAH4EAAAAAAAAAAAAAAHEBAAAfgQAAAAAAAAAAAAAAcUEAAB+BAAAAAAAAAAAAAAPyQMAAAEAAAAIJgAAAAXM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lkAQAACgAAAAAAKEEJkQAAAAmSAAAACcYEAAAAAAnHBAAAAc0DAACTAAAACgoAAAAA////AA4AAAAAAQHSAwAAyAAAAAnIBAAAAAAAAAQAAAAB0wMAAJAAAAAJyQQAAAoB1AMAAJMAAAAKCgAAAAAAAAAADQAAAAAAAdUDAACTAAAACgoAAAAAAAAAAA0AAAAAAQfWAwAAAAEAAAAEAAAABB1BcGxvcmlzLkJhc2UuT2JqZWN0cy5WYXJpYWJsZQMAAAABygQAAH4EAAABAAAAAAAAAAHLBAAAfgQAAAAAAAAAAAAAAcwEAAB+BAAAAAAAAAAAAAABzQQAAH4EAAAAAAAAAAAAAA/XAwAAAQAAAAglAAAAAdoDAAAmAAAACgoAAAAAAChBCZEAAAAJkgAAAAnOBAAAAAAJzwQAAAHbAwAAkwAAAAoKAQAAAAAAAAD/////AAEB3wMAAMgAAAAJ0AQAAAEAAAABAAAAAeADAACQAAAACdEEAAAKAeMDAACLAAAACgoAAABAPwnSBAAACdMEAAABAAAA/v///wAAAAABAAAAAAAAAAAAAAABAAAAAAAAAAAAAAHkAwAAjAAAAAoKCdQEAAAJ1QQAAAEAAAD+////AAAAAP////8BAAHoAwAAkAAAAAnWBAAACgfpAwAAAAEAAAAEAAAABBxBcGxvcmlzLkJhc2UuVUkuVmlzdWFsT2JqZWN0AwAAAAmzAgAACbQCAAAKCgHsAwAAJgAAAAoKAAAAAAAoQQmRAAAACZIAAAAJ1wQAAAAACdgEAAAB7QMAAJMAAAAKCgEAAAAAAAAA/////wABAfEDAADIAAAACdkEAAABAAAAAQAAAAHyAwAAkAAAAAnaBAAACgH1AwAAiwAAAAoKAAAAQD8J2wQAAAncBAAAAQAAAP7///8AAAAAAQAAAAAAAAAAAAAAAQAAAAAAAAAAAAAB9gMAAIwAAAAKCgndBAAACd4EAAABAAAA/v///wAAAAD/////AQAB+gMAAJAAAAAJ3wQAAAoH/wMAAAABAAAABAAAAAQcQXBsb3Jpcy5CYXNlLlVJLlZpc3VhbE9iamVjdAMAAAAJtwIAAAm4AgAACgoBAgQAACYAAAAKCgAAAAAAKEEJkQAAAAmSAAAACeAEAAAAAAnhBAAAAQMEAACTAAAACgoBAAAAAAAAAP////8AAQEHBAAAyAAAAAniBAAAAQAAAAEAAAABCAQAAJAAAAAJ4wQAAAoBCwQAAIsAAAAKCgAAAEA/CeQEAAAJ5QQAAAEAAAD+////AAAAAAEAAAAAAAAAAAAAAAEAAAAAAAAAAAAAAQwEAACMAAAACgoJ5gQAAAnnBAAAAQAAAP7///8AAAAA/////wEAARAEAACQAAAACegEAAAKBxUEAAAAAQAAAAQAAAAEHEFwbG9yaXMuQmFzZS5VSS5WaXN1YWxPYmplY3QDAAAACbwCAAAJvQIAAAoKARgEAAAmAAAACgoAAAAAAChBCZEAAAAJkgAAAAnpBAAAAAAJ6gQAAAEZBAAAkwAAAAoKAQAAAAAAAAD/////AAEBHQQAAMgAAAAJ6wQAAAEAAAABAAAAAR4EAACQAAAACewEAAAKASEEAACLAAAACgoAAABAPwntBAAACe4EAAABAAAA/v///wAAAAABAAAAAAAAAAAAAAABAAAAAAAAAAAAAAEiBAAAjAAAAAoKCe8EAAAJ8AQAAAEAAAD+////AAAAAP////8BAAEmBAAAkAAAAAnxBAAACgcrBAAAAAEAAAAEAAAABBxBcGxvcmlzLkJhc2UuVUkuVmlzdWFsT2JqZWN0AwAAAAnBAgAACcICAAAKCgEsBAAAkwAAAAoKAAAAAAAAAAANAAAAAAAFLQQAABpBcGxvcmlzLkJhc2UuT2JqZWN0cy5Db2xvcgcAAAASRGF0YU9iamVjdCttUGFyZW50FURhdGFPYmplY3QrbUNvbnRhaW5lcgVtVHlwZQRtUkdCEG1UaGVtZUNvbG9ySW5kZXgMbUF1dG9VcGRhdGVkCW1Nb2RpZmllZAQCAAAAAAAfQXBsb3Jpcy5CYXNlLk9iamVjdHMuTGluZUZvcm1hdAMAAAAICAgBAQMAAAAJyAIAAAoBAAAAAAAAAP////8AAQ8uBAAAAQAAAAh8AAAAAS8EAACTAAAACgoAAAAAAAAAAA0AAAAAAAEwBAAAkwAAAAoKAAAAAAAAAAANAAAAAAEHMQQAAAABAAAABAAAAAQdQXBsb3Jpcy5CYXNlLk9iamVjdHMuVmFyaWFibGUDAAAAAfIEAAB+BAAAAQAAAAAAAAAB8wQAAH4EAAAAAAAAAAAAAAH0BAAAfgQAAAAAAAAAAAAAAfUEAAB+BAAAAAAAAAAAAAAPMgQAAAEAAAAIHQAAAAEzBAAAkwAAAAoKAAAAAAAAAAANAAAAAAAFNAQAABpBcGxvcmlzLkJhc2UuT2JqZWN0cy5Db2xvcgcAAAASRGF0YU9iamVjdCttUGFyZW50FURhdGFPYmplY3QrbUNvbnRhaW5lcgVtVHlwZQRtUkdCEG1UaGVtZUNvbG9ySW5kZXgMbUF1dG9VcGRhdGVkCW1Nb2RpZmllZAQCAAAAAAAfQXBsb3Jpcy5CYXNlLk9iamVjdHMuTGluZUZvcm1hdAMAAAAICAgBAQMAAAAJ1wIAAAoBAAAAAAAAAP////8AAQ81BAAAAQAAAAiAAAAAATYEAACTAAAACgoAAAAAAAAAAA0AAAAAAAE3BAAAkwAAAAoKAAAAAAAAAAANAAAAAAEHOAQAAAABAAAABAAAAAQdQXBsb3Jpcy5CYXNlLk9iamVjdHMuVmFyaWFibGUDAAAAAfYEAAB+BAAAAQAAAAAAAAAB9wQAAH4EAAAAAAAAAAAAAAH4BAAAfgQAAAAAAAAAAAAAAfkEAAB+BAAAAAAAAAAAAAAPOQQAAAEAAAAIIQAAAAE6BAAAkwAAAAoKAAAAAAAAAAANAAAAAAAFOwQAABpBcGxvcmlzLkJhc2UuT2JqZWN0cy5Db2xvcgcAAAASRGF0YU9iamVjdCttUGFyZW50FURhdGFPYmplY3QrbUNvbnRhaW5lcgVtVHlwZQRtUkdCEG1UaGVtZUNvbG9ySW5kZXgMbUF1dG9VcGRhdGVkCW1Nb2RpZmllZAQCAAAAAAAfQXBsb3Jpcy5CYXNlLk9iamVjdHMuTGluZUZvcm1hdAMAAAAICAgBAQMAAAAJ5gIAAAoBAAAAAAAAAP////8AAQ88BAAAAQAAAAh6AAAAAT0EAACTAAAACgoAAAAAAAAAAA0AAAAAAAE+BAAAkwAAAAoKAAAAAAAAAAANAAAAAAEHPwQAAAABAAAABAAAAAQdQXBsb3Jpcy5CYXNlLk9iamVjdHMuVmFyaWFibGUDAAAAAfoEAAB+BAAAAQAAAAAAAAAB+wQAAH4EAAAAAAAAAAAAAAH8BAAAfgQAAAAAAAAAAAAAAf0EAAB+BAAAAAAAAAAAAAAPQAQAAAEAAAAIIgAAAAFBBAAAkwAAAAoKAAAAAAAAAAANAAAAAAAFQgQAABpBcGxvcmlzLkJhc2UuT2JqZWN0cy5Db2xvcgcAAAASRGF0YU9iamVjdCttUGFyZW50FURhdGFPYmplY3QrbUNvbnRhaW5lcgVtVHlwZQRtUkdCEG1UaGVtZUNvbG9ySW5kZXgMbUF1dG9VcGRhdGVkCW1Nb2RpZmllZAQCAAAAAAAfQXBsb3Jpcy5CYXNlLk9iamVjdHMuTGluZUZvcm1hdAMAAAAICAgBAQMAAAAJ9QIAAAoBAAAAAAAAAP////8AAQ9DBAAAAQAAAAh3AAAAAUQEAACTAAAACgoAAAAAAAAAAA0AAAAAAAFFBAAAkwAAAAoKAAAAAAAAAAANAAAAAAEHRgQAAAABAAAABAAAAAQdQXBsb3Jpcy5CYXNlLk9iamVjdHMuVmFyaWFibGUDAAAAAf4EAAB+BAAAAQAAAAAAAAAB/wQAAH4EAAAAAAAAAAAAAAEABQAAfgQAAAAAAAAAAAAAAQEFAAB+BAAAAAAAAAAAAAAPRwQAAAEAAAAIIAAAAAFIBAAAkwAAAAoKAAAAAAAAAAANAAAAAAAFSQQAABpBcGxvcmlzLkJhc2UuT2JqZWN0cy5Db2xvcgcAAAASRGF0YU9iamVjdCttUGFyZW50FURhdGFPYmplY3QrbUNvbnRhaW5lcgVtVHlwZQRtUkdCEG1UaGVtZUNvbG9ySW5kZXgMbUF1dG9VcGRhdGVkCW1Nb2RpZmllZAQCAAAAAAAfQXBsb3Jpcy5CYXNlLk9iamVjdHMuTGluZUZvcm1hdAMAAAAICAgBAQMAAAAJBAMAAAoBAAAAAAAAAP////8AAQ9KBAAAAQAAAAh5AAAAAUsEAACTAAAACgoAAAAAAAAAAA0AAAAAAAFMBAAAkwAAAAoKAAAAAAAAAAANAAAAAAEHTQQAAAABAAAABAAAAAQdQXBsb3Jpcy5CYXNlLk9iamVjdHMuVmFyaWFibGUDAAAAAQIFAAB+BAAAAQAAAAAAAAABAwUAAH4EAAAAAAAAAAAAAAEEBQAAfgQAAAAAAAAAAAAAAQUFAAB+BAAAAAAAAAAAAAAPTgQAAAEAAAAIHgAAAAFPBAAAkwAAAAoKAAAAAAAAAAANAAAAAAAFUAQAABpBcGxvcmlzLkJhc2UuT2JqZWN0cy5Db2xvcgcAAAASRGF0YU9iamVjdCttUGFyZW50FURhdGFPYmplY3QrbUNvbnRhaW5lcgVtVHlwZQRtUkdCEG1UaGVtZUNvbG9ySW5kZXgMbUF1dG9VcGRhdGVkCW1Nb2RpZmllZAQCAAAAAAAfQXBsb3Jpcy5CYXNlLk9iamVjdHMuTGluZUZvcm1hdAMAAAAICAgBAQMAAAAJEwMAAAoBAAAAAAAAAP////8AAQ9RBAAAAQAAAAh4AAAAAVIEAACTAAAACgoAAAAAAAAAAA0AAAAAAAFTBAAAkwAAAAoKAAAAAAAAAAANAAAAAAEHVAQAAAABAAAABAAAAAQdQXBsb3Jpcy5CYXNlLk9iamVjdHMuVmFyaWFibGUDAAAAAQYFAAB+BAAAAQAAAAAAAAABBwUAAH4EAAAAAAAAAAAAAAEIBQAAfgQAAAAAAAAAAAAAAQkFAAB+BAAAAAAAAAAAAAAPVQQAAAEAAAAIHwAAAAFWBAAAkwAAAAoKAAAAAAAAAAANAAAAAAAFVwQAABpBcGxvcmlzLkJhc2UuT2JqZWN0cy5Db2xvcgcAAAASRGF0YU9iamVjdCttUGFyZW50FURhdGFPYmplY3QrbUNvbnRhaW5lcgVtVHlwZQRtUkdCEG1UaGVtZUNvbG9ySW5kZXgMbUF1dG9VcGRhdGVkCW1Nb2RpZmllZAQCAAAAAAAfQXBsb3Jpcy5CYXNlLk9iamVjdHMuTGluZUZvcm1hdAMAAAAICAgBAQMAAAAJIgMAAAoBAAAAAAAAAP////8AAQ9YBAAAAQAAAAh9AAAAAVkEAACTAAAACgoAAAAAAAAAAA0AAAAAAAFaBAAAkwAAAAoKAAAAAAAAAAANAAAAAAEHWwQAAAABAAAABAAAAAQdQXBsb3Jpcy5CYXNlLk9iamVjdHMuVmFyaWFibGUDAAAAAQoFAAB+BAAAAQAAAAAAAAABCwUAAH4EAAAAAAAAAAAAAAEMBQAAfgQAAAAAAAAAAAAAAQ0FAAB+BAAAAAAAAAAAAAAPXAQAAAEAAAAIVgAAAAFdBAAAkwAAAAoKAAAAAAAAAAANAAAAAAAFXgQAABpBcGxvcmlzLkJhc2UuT2JqZWN0cy5Db2xvcgcAAAASRGF0YU9iamVjdCttUGFyZW50FURhdGFPYmplY3QrbUNvbnRhaW5lcgVtVHlwZQRtUkdCEG1UaGVtZUNvbG9ySW5kZXgMbUF1dG9VcGRhdGVkCW1Nb2RpZmllZAQCAAAAAAAfQXBsb3Jpcy5CYXNlLk9iamVjdHMuTGluZUZvcm1hdAMAAAAICAgBAQMAAAAJMQMAAAoBAAAAAAAAAP////8AAQ9fBAAAAQAAAAh/AAAAAWAEAACTAAAACgoAAAAAAAAAAA0AAAAAAAFhBAAAkwAAAAoKAAAAAAAAAAANAAAAAAEHYgQAAAABAAAABAAAAAQdQXBsb3Jpcy5CYXNlLk9iamVjdHMuVmFyaWFibGUDAAAAAQ4FAAB+BAAAAQAAAAAAAAABDwUAAH4EAAAAAAAAAAAAAAEQBQAAfgQAAAAAAAAAAAAAAREFAAB+BAAAAAAAAAAAAAAPYwQAAAEAAAAIVQAAAAFkBAAAkwAAAAoKAAAAAAAAAAANAAAAAAAFZQQAABpBcGxvcmlzLkJhc2UuT2JqZWN0cy5Db2xvcgcAAAASRGF0YU9iamVjdCttUGFyZW50FURhdGFPYmplY3QrbUNvbnRhaW5lcgVtVHlwZQRtUkdCEG1UaGVtZUNvbG9ySW5kZXgMbUF1dG9VcGRhdGVkCW1Nb2RpZmllZAQCAAAAAAAfQXBsb3Jpcy5CYXNlLk9iamVjdHMuTGluZUZvcm1hdAMAAAAICAgBAQMAAAAJQAMAAAoBAAAAAAAAAP////8AAQ9mBAAAAQAAAAh+AAAAAWcEAACTAAAACgoAAAAAAAAAAA0AAAAAAAFoBAAAkwAAAAoKAAAAAAAAAAANAAAAAAEHaQQAAAABAAAABAAAAAQdQXBsb3Jpcy5CYXNlLk9iamVjdHMuVmFyaWFibGUDAAAAARIFAAB+BAAAAQAAAAAAAAABEwUAAH4EAAAAAAAAAAAAAAEUBQAAfgQAAAAAAAAAAAAAARUFAAB+BAAAAAAAAAAAAAAPagQAAAEAAAAIVAAAAAFrBAAAkwAAAAoKAAAAAAAAAAANAAAAAAAFbAQAABpBcGxvcmlzLkJhc2UuT2JqZWN0cy5Db2xvcgcAAAASRGF0YU9iamVjdCttUGFyZW50FURhdGFPYmplY3QrbUNvbnRhaW5lcgVtVHlwZQRtUkdCEG1UaGVtZUNvbG9ySW5kZXgMbUF1dG9VcGRhdGVkCW1Nb2RpZmllZAQCAAAAAAAfQXBsb3Jpcy5CYXNlLk9iamVjdHMuTGluZUZvcm1hdAMAAAAICAgBAQMAAAAJTwMAAAoBAAAAAAAAAP////8AAQ9tBAAAAQAAAAiBAAAAAW4EAACTAAAACgoAAAAAAAAAAA0AAAAAAAFvBAAAkwAAAAoKAAAAAAAAAAANAAAAAAEHcAQAAAABAAAABAAAAAQdQXBsb3Jpcy5CYXNlLk9iamVjdHMuVmFyaWFibGUDAAAAARYFAAB+BAAAAQAAAAAAAAABFwUAAH4EAAAAAAAAAAAAAAEYBQAAfgQAAAAAAAAAAAAAARkFAAB+BAAAAAAAAAAAAAAPcQQAAAEAAAAIUwAAAAFyBAAAkwAAAAoKAAAAAAAAAAANAAAAAAAFcwQAABpBcGxvcmlzLkJhc2UuT2JqZWN0cy5Db2xvcgcAAAASRGF0YU9iamVjdCttUGFyZW50FURhdGFPYmplY3QrbUNvbnRhaW5lcgVtVHlwZQRtUkdCEG1UaGVtZUNvbG9ySW5kZXgMbUF1dG9VcGRhdGVkCW1Nb2RpZmllZAQCAAAAAAAfQXBsb3Jpcy5CYXNlLk9iamVjdHMuTGluZUZvcm1hdAMAAAAICAgBAQMAAAAJXgMAAAoBAAAAAAAAAP////8AAQ90BAAAAQAAAAh7AAAAAXUEAACTAAAACgoAAAAAAAAAAA0AAAAAAAF2BAAAkwAAAAoKAAAAAAAAAAANAAAAAAEHdwQAAAABAAAABAAAAAQdQXBsb3Jpcy5CYXNlLk9iamVjdHMuVmFyaWFibGUDAAAAARoFAAB+BAAAAQAAAAAAAAABGwUAAH4EAAAAAAAAAAAAAAEcBQAAfgQAAAAAAAAAAAAAAR0FAAB+BAAAAAAAAAAAAAAPeAQAAAEAAAAIVwAAAAV5BA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R4FAAAJHwUAAAoJIAUAAAoJWwEAAAgGGQRWDi2ynT8KAAAAAAkhBQAACSIFAAAAAAAAAAkjBQAACVsBAAAJAQAAAAkkBQAAAXoEAAB5BAAACSUFAAAJJgUAAAoJJwUAAAoJWwEAAAgG9P3UeOkmsT8KAQAAAAkoBQAACSkFAAAAAAAAAAkqBQAACVsBAAAJAQAAAAkrBQAAAXsEAAB5BAAACSwFAAAJLQUAAAoJLgUAAAoJWwEAAAgGuB6F61G4rj8KAgAAAAkvBQAACTAFAAAAAAAAAAkxBQAACVsBAAAJAQAAAAkyBQAAAXwEAAB5BAAACTMFAAAJNAUAAAoJNQUAAAoJWwEAAAgGVOOlm8QgsD8KAwAAAAk2BQAACTcFAAAAAAAAAAk4BQAACVsBAAAJAQAAAAk5BQAAAX0EAAB5BAAACToFAAAJOwUAAAoJPAUAAAoJWwEAAAgGarx0kxgEpj8KBAAAAAk9BQAACT4FAAAAAAAAAAk/BQAACVsBAAAJAQAAAAlABQAAAYIEAAB5BAAACUEFAAAJQgUAAAoJQwUAAAoJXAEAAAgGEoPAyqFFxj8KAAAAAAlEBQAACUUFAAAAAAAAAAlGBQAACVwBAAAJAQAAAAlHBQAAAYMEAAB5BAAACUgFAAAJSQUAAAoJSgUAAAoJXAEAAAgGJzEIrBxaxD8KAQAAAAlLBQAACUwFAAAAAAAAAAlNBQAACVwBAAAJAQAAAAlOBQAAAYQEAAB5BAAACU8FAAAJUAUAAAoJUQUAAAoJXAEAAAgG+FPjpZvEwD8KAgAAAAlSBQAACVMFAAAAAAAAAAlUBQAACVwBAAAJAQAAAAlVBQAAAYUEAAB5BAAACVYFAAAJVwUAAAoJWAUAAAoJXAEAAAgGqMZLN4lBwD8KAwAAAAlZBQAACVoFAAAAAAAAAAlbBQAACVwBAAAJAQAAAAlcBQAAAYYEAAB5BAAACV0FAAAJXgUAAAoJXwUAAAoJXAEAAAgGEoPAyqFFtj8KBAAAAAlgBQAACWEFAAAAAAAAAAliBQAACVwBAAAJAQAAAAljBQAAAYsEAAB5BAAACWQFAAAJZQUAAAoJZgUAAAoJXQEAAAgGVOOlm8Qg2D8KAAAAAAlnBQAACWgFAAAAAAAAAAlpBQAACV0BAAAJAQAAAAlqBQAAAYwEAAB5BAAACWsFAAAJbAUAAAoJbQUAAAoJXQEAAAgGoBov3SQG2T8KAQAAAAluBQAACW8FAAAAAAAAAAlwBQAACV0BAAAJAQAAAAlxBQAAAY0EAAB5BAAACXIFAAAJcwUAAAoJdAUAAAoJXQEAAAgGFK5H4XoU1j8KAgAAAAl1BQAACXYFAAAAAAAAAAl3BQAACV0BAAAJAQAAAAl4BQAAAY4EAAB5BAAACXkFAAAJegUAAAoJewUAAAoJXQEAAAgGHVpkO99P1T8KAwAAAAl8BQAACX0FAAAAAAAAAAl+BQAACV0BAAAJAQAAAAl/BQAAAY8EAAB5BAAACYAFAAAJgQUAAAoJggUAAAoJXQEAAAgGTmIQWDm00D8KBAAAAAmDBQAACYQFAAAAAAAAAAmFBQAACV0BAAAJAQAAAAmGBQAAAZQEAAB5BAAACYcFAAAJiAUAAAoJiQUAAAoJXgEAAAgG4XoUrkfh2j8KAAAAAAmKBQAACYsFAAAAAAAAAAmMBQAACV4BAAAJAQAAAAmNBQAAAZUEAAB5BAAACY4FAAAJjwUAAAoJkAUAAAoJXgEAAAgGUI2XbhKD2D8KAQAAAAmRBQAACZIFAAAAAAAAAAmTBQAACV4BAAAJAQAAAAmUBQAAAZYEAAB5BAAACZUFAAAJlgUAAAoJlwUAAAoJXgEAAAgGGQRWDi2y3T8KAgAAAAmYBQAACZkFAAAAAAAAAAmaBQAACV4BAAAJAQAAAAmbBQAAAZcEAAB5BAAACZwFAAAJnQUAAAoJngUAAAoJXgEAAAgGEFg5tMh23j8KAwAAAAmfBQAACaAFAAAAAAAAAAmhBQAACV4BAAAJAQAAAAmiBQAAAZgEAAB5BAAACaMFAAAJpAUAAAoJpQUAAAoJXgEAAAgGsHJoke184z8KBAAAAAmmBQAACacFAAAAAAAAAAmoBQAACV4BAAAJAQAAAAmpBQAAAZ0EAAB5BAAACaoFAAAKCgmrBQAACawFAAAJXwEAAAgGuB6F61G4vj8KAAAAAAmtBQAACa4FAAAAAAAAAAmvBQAACV8BAAAJAQAAAAmwBQAAAZ4EAAB5BAAACbEFAAAKCgmyBQAACbMFAAAJXwEAAAgGuB6F61G4vj8KAQAAAAm0BQAACbUFAAAAAAAAAAm2BQAACV8BAAAJAQAAAAm3BQAAAZ8EAAB5BAAACbgFAAAKCgm5BQAACboFAAAJXwEAAAgGSOF6FK5H0T8KAgAAAAm7BQAACbwFAAAAAAAAAAm9BQAACV8BAAAJAQAAAAm+BQAAAaAEAAB5BAAACb8FAAAKCgnABQAACcEFAAAJXwEAAAgG7FG4HoXr0T8KAwAAAAnCBQAACcMFAAAAAAAAAAnEBQAACV8BAAAJAQAAAAnFBQAAAaEEAAB5BAAACcYFAAAKCgnHBQAACcgFAAAJXwEAAAgGZmZmZmZm1j8KBAAAAAnJBQAACcoFAAAAAAAAAAnLBQAACV8BAAAJAQAAAAnMBQAAAaYEAACTAAAACgoAAAAAAAAAAA0AAAAAAAGnBAAAkwAAAAoKAAAAAAAAAAANAAAAAAEHqAQAAAABAAAABAAAAAQdQXBsb3Jpcy5CYXNlLk9iamVjdHMuVmFyaWFibGUDAAAAAc0FAAB+BAAAAAAAAAAAAAABzgUAAH4EAAAAAAAAAAAAAAHPBQAAfgQAAAAAAAAAAAAAAdAFAAB+BAAAAAAAAAAAAAAPqQQAAAEAAAAIgwAAAAGuBAAAkwAAAAoKAAAAAAAAAAANAAAAAAABrwQAAJMAAAAKCgAAAAAAAAAADQAAAAABB7AEAAAAAQAAAAQAAAAEHUFwbG9yaXMuQmFzZS5PYmplY3RzLlZhcmlhYmxlAwAAAAHRBQAAfgQAAAAAAAAAAAAAAdIFAAB+BAAAAAAAAAAAAAAB0wUAAH4EAAAAAAAAAAAAAAHUBQAAfgQAAAAAAAAAAAAAD7EEAAABAAAACIUAAAABtgQAAJMAAAAKCgAAAAAAAAAADQAAAAAAAbcEAACTAAAACgoAAAAAAAAAAA0AAAAAAQe4BAAAAAEAAAAEAAAABB1BcGxvcmlzLkJhc2UuT2JqZWN0cy5WYXJpYWJsZQMAAAAB1QUAAH4EAAAAAAAAAAAAAAHWBQAAfgQAAAAAAAAAAAAAAdcFAAB+BAAAAAAAAAAAAAAB2AUAAH4EAAAAAAAAAAAAAA+5BAAAAQAAAAiGAAAAAb4EAACTAAAACgoAAAAAAAAAAA0AAAAAAAG/BAAAkwAAAAoKAAAAAAAAAAANAAAAAAEHwAQAAAABAAAABAAAAAQdQXBsb3Jpcy5CYXNlLk9iamVjdHMuVmFyaWFibGUDAAAAAdkFAAB+BAAAAAAAAAAAAAAB2gUAAH4EAAAAAAAAAAAAAAHbBQAAfgQAAAAAAAAAAAAAAdwFAAB+BAAAAAAAAAAAAAAPwQQAAAEAAAAIhAAAAAHGBAAAkwAAAAoKAAAAAAAAAAANAAAAAAABxwQAAJMAAAAKCgAAAAAAAAAADQAAAAABB8gEAAAAAQAAAAQAAAAEHUFwbG9yaXMuQmFzZS5PYmplY3RzLlZhcmlhYmxlAwAAAAHdBQAAfgQAAAAAAAAAAAAAAd4FAAB+BAAAAAAAAAAAAAAB3wUAAH4EAAAAAAAAAAAAAAHgBQAAfgQAAAAAAAAAAAAAD8kEAAABAAAACIIAAAABzgQAAJMAAAAKCgAAAAAAAAAADQAAAAAAAc8EAACTAAAACgoBAAAAAAAAAP////8AAQfQBAAAAAEAAAAEAAAABB1BcGxvcmlzLkJhc2UuT2JqZWN0cy5WYXJpYWJsZQMAAAAB4QUAAH4EAAABAAAAAAAAAAHiBQAAfgQAAAAAAAAAAAAAAeMFAAB+BAAAAAAAAAAAAAAB5AUAAH4EAAAAAAAAAAAAAA/RBAAAAQAAAAg9AAAAAdIEAACTAAAACgoAAAAA////AA4AAAAAAAXTBAAAGkFwbG9yaXMuQmFzZS5PYmplY3RzLkNvbG9yBwAAABJEYXRhT2JqZWN0K21QYXJlbnQVRGF0YU9iamVjdCttQ29udGFpbmVyBW1UeXBlBG1SR0IQbVRoZW1lQ29sb3JJbmRleAxtQXV0b1VwZGF0ZWQJbU1vZGlmaWVkBAIAAAAAAB9BcGxvcmlzLkJhc2UuT2JqZWN0cy5MaW5lRm9ybWF0AwAAAAgICAEBAwAAAAnjAwAACgEAAAAAAAAA/////wABAdQEAACTAAAACgoAAAAARjs0AAgAAAAAAAHVBAAAkwAAAAoKAQAAAP///wD/////AAAP1gQAAAEAAAAIQAAAAAHXBAAAkwAAAAoKAAAAAAAAAAANAAAAAAAB2AQAAJMAAAAKCgEAAAAAAAAA/////wABB9kEAAAAAQAAAAQAAAAEHUFwbG9yaXMuQmFzZS5PYmplY3RzLlZhcmlhYmxlAwAAAAHlBQAAfgQAAAEAAAAAAAAAAeYFAAB+BAAAAAAAAAAAAAAB5wUAAH4EAAAAAAAAAAAAAAHoBQAAfgQAAAAAAAAAAAAAD9oEAAABAAAACDwAAAAB2wQAAJMAAAAKCgAAAAD///8ADgAAAAAABdwEAAAaQXBsb3Jpcy5CYXNlLk9iamVjdHMuQ29sb3IHAAAAEkRhdGFPYmplY3QrbVBhcmVudBVEYXRhT2JqZWN0K21Db250YWluZXIFbVR5cGUEbVJHQhBtVGhlbWVDb2xvckluZGV4DG1BdXRvVXBkYXRlZAltTW9kaWZpZWQEAgAAAAAAH0FwbG9yaXMuQmFzZS5PYmplY3RzLkxpbmVGb3JtYXQDAAAACAgIAQEDAAAACfUDAAAKAQAAAAAAAAD/////AAEB3QQAAJMAAAAKCgAAAADtISUABwAAAAAAAd4EAACTAAAACgoBAAAA////AP////8AAA/fBAAAAQAAAAhBAAAAAeAEAACTAAAACgoAAAAAAAAAAA0AAAAAAAHhBAAAkwAAAAoKAQAAAAAAAAD/////AAEH4gQAAAABAAAABAAAAAQdQXBsb3Jpcy5CYXNlLk9iamVjdHMuVmFyaWFibGUDAAAAAekFAAB+BAAAAQAAAAAAAAAB6gUAAH4EAAAAAAAAAAAAAAHrBQAAfgQAAAAAAAAAAAAAAewFAAB+BAAAAAAAAAAAAAAP4wQAAAEAAAAIPgAAAAHkBAAAkwAAAAoKAAAAAP///wAOAAAAAAAF5QQAABpBcGxvcmlzLkJhc2UuT2JqZWN0cy5Db2xvcgcAAAASRGF0YU9iamVjdCttUGFyZW50FURhdGFPYmplY3QrbUNvbnRhaW5lcgVtVHlwZQRtUkdCEG1UaGVtZUNvbG9ySW5kZXgMbUF1dG9VcGRhdGVkCW1Nb2RpZmllZAQCAAAAAAAfQXBsb3Jpcy5CYXNlLk9iamVjdHMuTGluZUZvcm1hdAMAAAAICAgBAQMAAAAJCwQAAAoBAAAAAAAAAP////8AAQHmBAAAkwAAAAoKAAAAAHKEjAAGAAAAAAAB5wQAAJMAAAAKCgEAAAD///8A/////wAAD+gEAAABAAAACEIAAAAB6QQAAJMAAAAKCgAAAAAAAAAADQAAAAAAAeoEAACTAAAACgoBAAAAAAAAAP////8AAQfrBAAAAAEAAAAEAAAABB1BcGxvcmlzLkJhc2UuT2JqZWN0cy5WYXJpYWJsZQMAAAAB7QUAAH4EAAABAAAAAAAAAAHuBQAAfgQAAAAAAAAAAAAAAe8FAAB+BAAAAAAAAAAAAAAB8AUAAH4EAAAAAAAAAAAAAA/sBAAAAQAAAAg/AAAAAe0EAACTAAAACgoAAAAA////AA4AAAAAAAXuBAAAGkFwbG9yaXMuQmFzZS5PYmplY3RzLkNvbG9yBwAAABJEYXRhT2JqZWN0K21QYXJlbnQVRGF0YU9iamVjdCttQ29udGFpbmVyBW1UeXBlBG1SR0IQbVRoZW1lQ29sb3JJbmRleAxtQXV0b1VwZGF0ZWQJbU1vZGlmaWVkBAIAAAAAAB9BcGxvcmlzLkJhc2UuT2JqZWN0cy5MaW5lRm9ybWF0AwAAAAgICAEBAwAAAAkhBAAACgEAAAAAAAAA/////wABAe8EAACTAAAACgoAAAAANmyHAAUAAAAAAAHwBAAAkwAAAAoKAQAAAP///wD/////AAAP8QQAAAEAAAAIQwAAAAEeBQAAegEAAApYAgAAAfEFAAAMAgAAAgAAAAHyBQAADQIAAAEAAAAB8wUAABYAAADVKItCjZjlQdMei0JILAtAAfQFAAAPAgAAAAAAAAAAoEAAAfUFAAAkAAAAPrjQQlJL7kEB9gUAAIQAAAAAAAAAAAAAAAAAAAAACfcFAAAAAAAACfgFAAABAAAB+QUAAMQAAAAAAAAAAfoFAACNAAAAAACYQQAAcEEB+wUAABYAAAATO71CiZ24QbG8jEGJnThBEoO+Pwb8BQAAAjMlCgn9BQAACRgCAAA0AwAA/////wEBCgn+BQAAAQAKAQEfBQAAHwAAAAH/BQAAJAAAANUohUILfwdCAQAGAAAkAAAA1CMOQ42YzUEJAQYAAAkCBgAAAAAAAAoBAwYAAI0AAAAAAAAAAAAAAAEEBgAAjQAAAAAAAAAAAAAAAAAAAAEFBgAAFgAAAAAAAAAAAAAAAAAAAAAAAACkAQAA/////wEBCgkGBgAAAQAKAQcgBQAAAAEAAAACAAAABBpBcGxvcmlzLkJhc2UuVUkuVmlzdWFsTGluZQMAAAAKCgchBQAAAAEAAAADAAAABBVTeXN0ZW0uRHJhd2luZy5Qb2ludEYEAAAAAQcGAAAkAAAAPrjQQlJL7kEBCAYAACQAAACqUX5CUkvuQQEJBgAAJAAAANQjEUNSS+5BByIFAAAAAQAAAAMAAAAEF0FwbG9yaXMuQmFzZS5BbmNob3JNb2RlAwAAAAEKBgAAhAAAAAAAAAABCwYAAIQAAAACAAAAAQwGAACEAAAABAAAAAEjBQAAKAAAAAkfAQAAAAAAAAAAAAABJAUAACkAAAAJDQYAAAIAAAACAAAAASUFAAB6AQAAClgCAAABDgYAAAwCAAACAAAAAQ8GAAANAgAAAQAAAAEQBgAAFgAAAOB5PkONmOVB0B6LQm4tTkEBEQYAAA8CAAAAAAAAAACgQAABEgYAACQAAACUQWFD9JEMQgETBgAAhAAAAAAAAAAAAAAAAAAAAAAJFAYAAAAAAAAJFQYAAAAAAAEWBgAAxAAAAAAAAAABFwYAAI0AAAAAAJhBAABwQQEYBgAAFgAAAHViV0M6seNBsbyMQYmdOEESg74/BhkGAAACNyUKCRoGAAAJGAIAADQDAAD/////AQEKCRsGAAABAAoBASYFAAAfAAAAARwGAAAkAAAA4Hk7Q6JXMkIBHQYAACQAAACkhINDjZjNQQkeBgAACR8GAAAAAAAACgEgBgAAjQAAAAAAAAAAAAAAASEGAACNAAAAAAAAAAAAAAAAAAAAASIGAAAWAAAAAAAAAAAAAAAAAAAAAAAAAKQBAAD/////AQEKCSMGAAABAAoBBycFAAAAAQAAAAIAAAAEGkFwbG9yaXMuQmFzZS5VSS5WaXN1YWxMaW5lAwAAAAoKBygFAAAAAQAAAAMAAAAEFVN5c3RlbS5EcmF3aW5nLlBvaW50RgQAAAABJAYAACQAAACUQWFD9JEMQgElBgAAJAAAAOB5OEP0kQxCASYGAAAkAAAApASFQ/SRDEIHKQUAAAABAAAAAwAAAAQXQXBsb3Jpcy5CYXNlLkFuY2hvck1vZGUDAAAAAScGAACEAAAAAAAAAAEoBgAAhAAAAAIAAAABKQYAAIQAAAAEAAAAASoFAAAoAAAACR8BAAAAAAAAAAAAAAErBQAAKQAAAAkqBgAAAgAAAAIAAAABLAUAAHoBAAAKWAIAAAErBgAADAIAAAIAAAABLAYAAA0CAAABAAAAAS0GAAAWAAAAqq+bQ42Y5UHQHotCTpsuQQEuBgAADwIAAAAAAAAAAKBAAAEvBgAAJAAAAIQTrUOwnwhCATAGAACEAAAAAAAAAAAAAAAAAAAAAAkxBgAAAAAAAAkyBgAAAAAAATMGAADEAAAAAAAAAAE0BgAAjQAAAAAAmEEAAHBBATUGAAAWAAAAsROoQ9iJ3UGxvIxBiZ04QRKDvj8GNgYAAAI2JQoJNwYAAAkYAgAANAMAAP////8BAQoJOAYAAAEACgEBLQUAAB8AAAABOQYAACQAAACqL5pDGnMqQgE6BgAAJAAAAF73v0ONmM1BCTsGAAAJPAYAAAAAAAAKAT0GAACNAAAAAAAAAAAAAAABPgYAAI0AAAAAAAAAAAAAAAAAAAABPwYAABYAAAAAAAAAAAAAAAAAAAAAAAAApAEAAP////8BAQoJQAYAAAEACgEHLgUAAAABAAAAAgAAAAQaQXBsb3Jpcy5CYXNlLlVJLlZpc3VhbExpbmUDAAAACgoHLwUAAAABAAAAAwAAAAQVU3lzdGVtLkRyYXdpbmcuUG9pbnRGBAAAAAFBBgAAJAAAAIQTrUOwnwhCAUIGAAAkAAAAqq+YQ7CfCEIBQwYAACQAAABed8FDsJ8IQgcwBQAAAAEAAAADAAAABBdBcGxvcmlzLkJhc2UuQW5jaG9yTW9kZQMAAAABRAYAAIQAAAAAAAAAAUUGAACEAAAAAgAAAAFGBgAAhAAAAAQAAAABMQUAACgAAAAJHwEAAAAAAAAAAAAAATIFAAApAAAACUcGAAACAAAAAgAAAAEzBQAAegEAAApYAgAAAUgGAAAMAgAAAgAAAAFJBgAADQIAAAEAAAABSgYAABYAAABlIthD2NnnQdAei0IUIzxBAUsGAAAPAgAAAAAAAAAAoEAAAUwGAAAkAAAAP4bpQ05xC0IBTQYAAIQAAAAAAAAAAAAAAAAAAAAACU4GAAAAAAAACU8GAAAAAAABUAYAAMQAAAAAAAAAAVEGAACNAAAAAACYQQAAcEEBUgYAABYAAAAnduRDOrHjQbG8jEGJnThBEoO+PwZTBgAAAjYlCglUBgAACRgCAAA0AwAA/////wEBCglVBgAAAQAKAQE0BQAAHwAAAAFWBgAAJAAAAGWi1kOx9S5CAVcGAAAkAAAAGWr8Q9jZz0EJWAYAAAlZBgAAAAAAAAoBWgYAAI0AAAAAAAAAAAAAAAFbBgAAjQAAAAAAAAAAAAAAAAAAAAFcBgAAFgAAAAAAAAAAAAAAAAAAAAAAAACkAQAA/////wEBCgldBgAAAQAKAQc1BQAAAAEAAAACAAAABBpBcGxvcmlzLkJhc2UuVUkuVmlzdWFsTGluZQMAAAAKCgc2BQAAAAEAAAADAAAABBVTeXN0ZW0uRHJhd2luZy5Qb2ludEYEAAAAAV4GAAAkAAAAP4bpQ05xC0IBXwYAACQAAABlItVDTnELQgFgBgAAJAAAABnq/UNOcQtCBzcFAAAAAQAAAAMAAAAEF0FwbG9yaXMuQmFzZS5BbmNob3JNb2RlAwAAAAFhBgAAhAAAAAAAAAABYgYAAIQAAAACAAAAAWMGAACEAAAABAAAAAE4BQAAKAAAAAkfAQAAAAAAAAAAAAABOQUAACkAAAAJZAYAAAIAAAACAAAAAToFAAB6AQAAClgCAAABZQYAAAwCAAACAAAAAWYGAAANAgAAAQAAAAFnBgAAFgAAAJBKCkSNmOVB0B6LQpzew0ABaAYAAA8CAAAAAAAAAACgQAABaQYAACQAAAB9/BJEYBT+QQFqBgAAhAAAAAAAAAAAAAAAAAAAAAAJawYAAAAAAAAJbAYAAAAAAAFtBgAAxAAAAAAAAAABbgYAAI0AAAAAAJhBAABwQQFvBgAAFgAAAImdEERO7MRBsbyMQYmdOEESg74/BnAGAAACNCUKCXEGAAAJGAIAADQDAAD/////AQEKCXIGAAABAAoBATsFAAAfAAAAAXMGAAAkAAAAkIoJRBpIF0IBdAYAACQAAABqbhxEjZjNQQl1BgAACXYGAAAAAAAACgF3BgAAjQAAAAAAAAAAAAAAAXgGAACNAAAAAAAAAAAAAAAAAAAAAXkGAAAWAAAAAAAAAAAAAAAAAAAAAAAAAKQBAAD/////AQEKCXoGAAABAAoBBzwFAAAAAQAAAAIAAAAEGkFwbG9yaXMuQmFzZS5VSS5WaXN1YWxMaW5lAwAAAAoKBz0FAAAAAQAAAAMAAAAEFVN5c3RlbS5EcmF3aW5nLlBvaW50RgQAAAABewYAACQAAAB9/BJEYBT+QQF8BgAAJAAAAJDKCERgFP5BAX0GAAAkAAAAai4dRGAU/kEHPgUAAAABAAAAAwAAAAQXQXBsb3Jpcy5CYXNlLkFuY2hvck1vZGUDAAAAAX4GAACEAAAAAAAAAAF/BgAAhAAAAAIAAAABgAYAAIQAAAAEAAAAAT8FAAAoAAAACR8BAAAAAAAAAAAAAAFABQAAKQAAAAmBBgAAAgAAAAIAAAABQQUAAHoBAAAKWAIAAAGCBgAADAIAAAIAAAABgwYAAA0CAAABAAAAAYQGAAAWAAAA1SiLQgt/E0LTHotCmTAsQgGFBgAADwIAAAAAAAAAAKBAAAGGBgAAJAAAAD640EJYl2lCAYcGAACEAAAAAAAAAAAAAAAAAAAAAAmIBgAAAAAAAAmJBgAAAAAAAYoGAADEAAAAAAAAAAGLBgAAjQAAAAAA2EEAAHBBAYwGAAAWAAAAsRO3QmInTkLE971BiZ04QRKDvj8GjQYAAAMxNyUKCY4GAAAJGAIAADQDAAD/////AQEKCY8GAAABAAoBAUIFAAAfAAAAAZAGAAAkAAAA1SiFQtLXpUIBkQYAACQAAADUIw5DC38HQgmSBgAACZMGAAAAAAAACgGUBgAAjQAAAAAAAAAAAAAAAZUGAACNAAAAAAAAAAAAAAAAAAAAAZYGAAAWAAAAAAAAAAAAAAAAAAAAAAAAAKQBAAD/////AQEKCZcGAAABAAoBB0MFAAAAAQAAAAIAAAAEGkFwbG9yaXMuQmFzZS5VSS5WaXN1YWxMaW5lAwAAAAoKB0QFAAAAAQAAAAMAAAAEFVN5c3RlbS5EcmF3aW5nLlBvaW50RgQAAAABmAYAACQAAAA+uNBCWJdpQgGZBgAAJAAAAKpRfkJYl2lCAZoGAAAkAAAA1CMRQ1iXaUIHRQUAAAABAAAAAwAAAAQXQXBsb3Jpcy5CYXNlLkFuY2hvck1vZGUDAAAAAZsGAACEAAAAAAAAAAGcBgAAhAAAAAIAAAABnQYAAIQAAAAEAAAAAUYFAAAoAAAACR8BAAAAAAAAAAAAAAFHBQAAKQAAAAmeBgAAAgAAAAIAAAABSAUAAHoBAAAKWAIAAAGfBgAADAIAAAIAAAABoAYAAA0CAAABAAAAAaEGAAAWAAAA4Hk+Q6JXPkLQHotC5EYbQgGiBgAADwIAAAAAAAAAAKBAAAGjBgAAJAAAAJRBYUOK/YVCAaQGAACEAAAAAAAAAAAAAAAAAAAAAAmlBgAAAAAAAAmmBgAAAAAAAacGAADEAAAAAAAAAAGoBgAAjQAAAAAA2EEAAHBBAakGAAAWAAAAxE5UQ///b0LE971BiZ04QRKDvj8GqgYAAAMxNiUKCasGAAAJGAIAADQDAAD/////AQEKCawGAAABAAoBAUkFAAAfAAAAAa0GAAAkAAAA4Hk7Q0PPskIBrgYAACQAAACkhINDolcyQgmvBgAACbAGAAAAAAAACgGxBgAAjQAAAAAAAAAAAAAAAbIGAACNAAAAAAAAAAAAAAAAAAAAAbMGAAAWAAAAAAAAAAAAAAAAAAAAAAAAAKQBAAD/////AQEKCbQGAAABAAoBB0oFAAAAAQAAAAIAAAAEGkFwbG9yaXMuQmFzZS5VSS5WaXN1YWxMaW5lAwAAAAoKB0sFAAAAAQAAAAMAAAAEFVN5c3RlbS5EcmF3aW5nLlBvaW50RgQAAAABtQYAACQAAACUQWFDiv2FQgG2BgAAJAAAAOB5OEOK/YVCAbcGAAAkAAAApASFQ4r9hUIHTAUAAAABAAAAAwAAAAQXQXBsb3Jpcy5CYXNlLkFuY2hvck1vZGUDAAAAAbgGAACEAAAAAAAAAAG5BgAAhAAAAAIAAAABugYAAIQAAAAEAAAAAU0FAAAoAAAACR8BAAAAAAAAAAAAAAFOBQAAKQAAAAm7BgAAAgAAAAIAAAABTwUAAHoBAAAKWAIAAAG8BgAADAIAAAIAAAABvQYAAA0CAAABAAAAAb4GAAAWAAAAqq+bQxpzNkLQHotCjGn3QQG/BgAADwIAAAAAAAAAAKBAAAHABgAAJAAAAIQTrUN9TXRCAcEGAACEAAAAAAAAAAAAAAAAAAAAAAnCBgAAAAAAAAnDBgAAAAAAAcQGAADEAAAAAAAAAAHFBgAAjQAAAAAA2EEAAHBBAcYGAAAWAAAA2ImmQyd2WkLE971BiZ04QRKDvj8GxwYAAAMxMyUKCcgGAAAJGAIAADQDAAD/////AQEKCckGAAABAAoBAVAFAAAfAAAAAcoGAAAkAAAAqi+aQ/ATn0IBywYAACQAAABe979DGnMqQgnMBgAACc0GAAAAAAAACgHOBgAAjQAAAAAAAAAAAAAAAc8GAACNAAAAAAAAAAAAAAAAAAAAAdAGAAAWAAAAAAAAAAAAAAAAAAAAAAAAAKQBAAD/////AQEKCdEGAAABAAoBB1EFAAAAAQAAAAIAAAAEGkFwbG9yaXMuQmFzZS5VSS5WaXN1YWxMaW5lAwAAAAoKB1IFAAAAAQAAAAMAAAAEFVN5c3RlbS5EcmF3aW5nLlBvaW50RgQAAAAB0gYAACQAAACEE61DfU10QgHTBgAAJAAAAKqvmEN9TXRCAdQGAAAkAAAAXnfBQ31NdEIHUwUAAAABAAAAAwAAAAQXQXBsb3Jpcy5CYXNlLkFuY2hvck1vZGUDAAAAAdUGAACEAAAAAAAAAAHWBgAAhAAAAAIAAAAB1wYAAIQAAAAEAAAAAVQFAAAoAAAACR8BAAAAAAAAAAAAAAFVBQAAKQAAAAnYBgAAAgAAAAIAAAABVgUAAHoBAAAKWAIAAAHZBgAADAIAAAIAAAAB2gYAAA0CAAABAAAAAdsGAAAWAAAAZSLYQ7H1OkLQHotCXmTuQQHcBgAADwIAAAAAAAAAAKBAAAHdBgAAJAAAAD+G6UPIjnZCAd4GAACEAAAAAAAAAAAAAAAAAAAAAAnfBgAAAAAAAAngBgAAAAAAAeEGAADEAAAAAAAAAAHiBgAAjQAAAAAA2EEAAHBBAeMGAAAWAAAATuziQyd2WkLE971BiZ04QRKDvj8G5AYAAAMxMyUKCeUGAAAJGAIAADQDAAD/////AQEKCeYGAAABAAoBAVcFAAAfAAAAAecGAAAkAAAAZaLWQ/ATn0IB6AYAACQAAAAZavxDsfUuQgnpBgAACeoGAAAAAAAACgHrBgAAjQAAAAAAAAAAAAAAAewGAACNAAAAAAAAAAAAAAAAAAAAAe0GAAAWAAAAAAAAAAAAAAAAAAAAAAAAAKQBAAD/////AQEKCe4GAAABAAoBB1gFAAAAAQAAAAIAAAAEGkFwbG9yaXMuQmFzZS5VSS5WaXN1YWxMaW5lAwAAAAoKB1kFAAAAAQAAAAMAAAAEFVN5c3RlbS5EcmF3aW5nLlBvaW50RgQAAAAB7wYAACQAAAA/hulDyI52QgHwBgAAJAAAAGUi1UPIjnZCAfEGAAAkAAAAGer9Q8iOdkIHWgUAAAABAAAAAwAAAAQXQXBsb3Jpcy5CYXNlLkFuY2hvck1vZGUDAAAAAfIGAACEAAAAAAAAAAHzBgAAhAAAAAIAAAAB9AYAAIQAAAAEAAAAAVsFAAAoAAAACR8BAAAAAAAAAAAAAAFcBQAAKQAAAAn1BgAAAgAAAAIAAAABXQUAAHoBAAAKWAIAAAH2BgAADAIAAAIAAAAB9wYAAA0CAAABAAAAAfgGAAAWAAAAkEoKRBpII0LQHotCmjCUQQH5BgAADwIAAAAAAAAAAKBAAAH6BgAAJAAAAH38EkRAVEhCAfsGAACEAAAAAAAAAAAAAAAAAAAAAAn8BgAAAAAAAAn9BgAAAAAAAf4GAADEAAAAAAAAAAH/BgAAjQAAAAAAmEEAAHBBAQAHAAAWAAAAiZ0QRMROLEKxvIxBiZ04QRKDvj8GAQcAAAI5JQoJAgcAAAkYAgAANAMAAP////8BAQoJAwcAAAEACgEBXgUAAB8AAAABBAcAACQAAACQiglEZ2B5QgEFBwAAJAAAAGpuHEQaSBdCCQYHAAAJBwcAAAAAAAAKAQgHAACNAAAAAAAAAAAAAAABCQcAAI0AAAAAAAAAAAAAAAAAAAABCgcAABYAAAAAAAAAAAAAAAAAAAAAAAAApAEAAP////8BAQoJCwcAAAEACgEHXwUAAAABAAAAAgAAAAQaQXBsb3Jpcy5CYXNlLlVJLlZpc3VhbExpbmUDAAAACgoHYAUAAAABAAAAAwAAAAQVU3lzdGVtLkRyYXdpbmcuUG9pbnRGBAAAAAEMBwAAJAAAAH38EkRAVEhCAQ0HAAAkAAAAkMoIREBUSEIBDgcAACQAAABqLh1EQFRIQgdhBQAAAAEAAAADAAAABBdBcGxvcmlzLkJhc2UuQW5jaG9yTW9kZQMAAAABDwcAAIQAAAAAAAAAARAHAACEAAAAAgAAAAERBwAAhAAAAAQAAAABYgUAACgAAAAJHwEAAAAAAAAAAAAAAWMFAAApAAAACRIHAAACAAAAAgAAAAFkBQAAegEAAApYAgAAARMHAAAMAgAAAgAAAAEUBwAADQIAAAEAAAABFQcAABYAAADVKItC0terQtMei0L8ichCARYHAAAPAgAAAAAAAAAAoEAAARcHAAAkAAAAPrjQQmgOCEMBGAcAAIQAAAAAAAAAAAAAAAAAAAAACRkHAAAAAAAACRoHAAAAAAABGwcAAMQAAAAAAAAAARwHAACNAAAAAADYQQAAcEEBHQcAABYAAACxE7dCEzsBQ8T3vUGJnThBEoO+PwYeBwAAAzM4JQoJHwcAAAkYAgAANAMAAP////8BAQoJIAcAAAEACgEBZQUAAB8AAAABIQcAACQAAADVKIVC5zA9QwEiBwAAJAAAANQjDkPS16VCCSMHAAAJJAcAAAAAAAAKASUHAACNAAAAAAAAAAAAAAABJgcAAI0AAAAAAAAAAAAAAAAAAAABJwcAABYAAAAAAAAAAAAAAAAAAAAAAAAApAEAAP////8BAQoJKAcAAAEACgEHZgUAAAABAAAAAgAAAAQaQXBsb3Jpcy5CYXNlLlVJLlZpc3VhbExpbmUDAAAACgoHZwUAAAABAAAAAwAAAAQVU3lzdGVtLkRyYXdpbmcuUG9pbnRGBAAAAAEpBwAAJAAAAD640EJoDghDASoHAAAkAAAAqlF+QmgOCEMBKwcAACQAAADUIxFDaA4IQwdoBQAAAAEAAAADAAAABBdBcGxvcmlzLkJhc2UuQW5jaG9yTW9kZQMAAAABLAcAAIQAAAAAAAAAAS0HAACEAAAAAgAAAAEuBwAAhAAAAAQAAAABaQUAACgAAAAJHwEAAAAAAAAAAAAAAWoFAAApAAAACS8HAAACAAAAAgAAAAFrBQAAegEAAApYAgAAATAHAAAMAgAAAgAAAAExBwAADQIAAAEAAAABMgcAABYAAADgeT5DQ8+4QtAei0KFbtBCATMHAAAPAgAAAAAAAAAAoEAAATQHAAAkAAAAlEFhQ0ODEEMBNQcAAIQAAAAAAAAAAAAAAAAAAAAACTYHAAAAAAAACTcHAAAAAAABOAcAAMQAAAAAAAAAATkHAACNAAAAAADYQQAAcEEBOgcAABYAAADETlRDO7EJQ8T3vUGJnThBEoO+PwY7BwAAAzM5JQoJPAcAAAkYAgAANAMAAP////8BAQoJPQcAAAEACgEBbAUAAB8AAAABPgcAACQAAADgeTtD5J5HQwE/BwAAJAAAAKSEg0NDz7JCCUAHAAAJQQcAAAAAAAAKAUIHAACNAAAAAAAAAAAAAAABQwcAAI0AAAAAAAAAAAAAAAAAAAABRAcAABYAAAAAAAAAAAAAAAAAAAAAAAAApAEAAP////8BAQoJRQcAAAEACgEHbQUAAAABAAAAAgAAAAQaQXBsb3Jpcy5CYXNlLlVJLlZpc3VhbExpbmUDAAAACgoHbgUAAAABAAAAAwAAAAQVU3lzdGVtLkRyYXdpbmcuUG9pbnRGBAAAAAFGBwAAJAAAAJRBYUNDgxBDAUcHAAAkAAAA4Hk4Q0ODEEMBSAcAACQAAACkBIVDQ4MQQwdvBQAAAAEAAAADAAAABBdBcGxvcmlzLkJhc2UuQW5jaG9yTW9kZQMAAAABSQcAAIQAAAAAAAAAAUoHAACEAAAAAgAAAAFLBwAAhAAAAAQAAAABcAUAACgAAAAJHwEAAAAAAAAAAAAAAXEFAAApAAAACUwHAAACAAAAAgAAAAFyBQAAegEAAApYAgAAAU0HAAAMAgAAAgAAAAFOBwAADQIAAAEAAAABTwcAABYAAACqr5tD8BOlQtAei0Kif7ZCAVAHAAAPAgAAAAAAAAAAoEAAAVEHAAAkAAAAhBOtQ+ApAEMBUgcAAIQAAAAAAAAAAAAAAAAAAAAACVMHAAAAAAAACVQHAAABAAABVQcAAMQAAAAAAAAAAVYHAACNAAAAAADYQQAAcEEBVwcAABYAAADYiaZDsBPzQsT3vUGJnThBEoO+PwZYBwAAAzM1JQoJWQcAAAkYAgAANAMAAP////8BAQoJWgcAAAEACgEBcwUAAB8AAAABWwcAACQAAACqL5pDyckwQwFcBwAAJAAAAF73v0PwE59CCV0HAAAJXgcAAAAAAAAKAV8HAACNAAAAAAAAAAAAAAABYAcAAI0AAAAAAAAAAAAAAAAAAAABYQcAABYAAAAAAAAAAAAAAAAAAAAAAAAApAEAAP////8BAQoJYgcAAAEACgEHdAUAAAABAAAAAgAAAAQaQXBsb3Jpcy5CYXNlLlVJLlZpc3VhbExpbmUDAAAACgoHdQUAAAABAAAAAwAAAAQVU3lzdGVtLkRyYXdpbmcuUG9pbnRGBAAAAAFjBwAAJAAAAIQTrUPgKQBDAWQHAAAkAAAAqq+YQ+ApAEMBZQcAACQAAABed8FD4CkAQwd2BQAAAAEAAAADAAAABBdBcGxvcmlzLkJhc2UuQW5jaG9yTW9kZQMAAAABZgcAAIQAAAAAAAAAAWcHAACEAAAAAgAAAAFoBwAAhAAAAAQAAAABdwUAACgAAAAJHwEAAAAAAAAAAAAAAXgFAAApAAAACWkHAAACAAAAAgAAAAF5BQAAegEAAApYAgAAAWoHAAAMAgAAAgAAAAFrBwAADQIAAAEAAAABbAcAABYAAABlIthD8BOlQtAei0LAu69CAW0HAAAPAgAAAAAAAAAAoEAAAW4HAAAkAAAAP4bpQ9Dx/EIBbwcAAIQAAAAAAAAAAAAAAAAAAAAACXAHAAAAAAAACXEHAAAAAAABcgcAAMQAAAAAAAAAAXMHAACNAAAAAADYQQAAcEEBdAcAABYAAABO7OJD///vQsT3vUGJnThBEoO+PwZ1BwAAAzMzJQoJdgcAAAkYAgAANAMAAP////8BAQoJdwcAAAEACgEBegUAAB8AAAABeAcAACQAAABlotZD2GctQwF5BwAAJAAAABlq/EPwE59CCXoHAAAJewcAAAAAAAAKAXwHAACNAAAAAAAAAAAAAAABfQcAAI0AAAAAAAAAAAAAAAAAAAABfgcAABYAAAAAAAAAAAAAAAAAAAAAAAAApAEAAP////8BAQoJfwcAAAEACgEHewUAAAABAAAAAgAAAAQaQXBsb3Jpcy5CYXNlLlVJLlZpc3VhbExpbmUDAAAACgoHfAUAAAABAAAAAwAAAAQVU3lzdGVtLkRyYXdpbmcuUG9pbnRGBAAAAAGABwAAJAAAAD+G6UPQ8fxCAYEHAAAkAAAAZSLVQ9Dx/EIBggcAACQAAAAZ6v1D0PH8Qgd9BQAAAAEAAAADAAAABBdBcGxvcmlzLkJhc2UuQW5jaG9yTW9kZQMAAAABgwcAAIQAAAAAAAAAAYQHAACEAAAAAgAAAAGFBwAAhAAAAAQAAAABfgUAACgAAAAJHwEAAAAAAAAAAAAAAX8FAAApAAAACYYHAAACAAAAAgAAAAGABQAAegEAAApYAgAAAYcHAAAMAgAAAgAAAAGIBwAADQIAAAEAAAABiQcAABYAAACQSgpENLCCQtAei0JyJIdCAYoHAAAPAgAAAAAAAAAAoEAAAYsHAAAkAAAAffwSRG1CxkIBjAcAAIQAAAAAAAAAAAAAAAAAAAAACY0HAAAAAAAACY4HAAAAAAABjwcAAMQAAAAAAAAAAZAHAACNAAAAAADYQQAAcEEBkQcAABYAAACd2A9EiZ24QsT3vUGJnThBEoO+PwaSBwAAAzI2JQoJkwcAAAkYAgAANAMAAP////8BAQoJlAcAAAEACgEBgQUAAB8AAAABlQcAACQAAACQiglEU+oHQwGWBwAAJAAAAGpuHERnYHlCCZcHAAAJmAcAAAAAAAAKAZkHAACNAAAAAAAAAAAAAAABmgcAAI0AAAAAAAAAAAAAAAAAAAABmwcAABYAAAAAAAAAAAAAAAAAAAAAAAAApAEAAP////8BAQoJnAcAAAEACgEHggUAAAABAAAAAgAAAAQaQXBsb3Jpcy5CYXNlLlVJLlZpc3VhbExpbmUDAAAACgoHgwUAAAABAAAAAwAAAAQVU3lzdGVtLkRyYXdpbmcuUG9pbnRGBAAAAAGdBwAAJAAAAH38EkRtQsZCAZ4HAAAkAAAAkMoIRG1CxkIBnwcAACQAAABqLh1EbULGQgeEBQAAAAEAAAADAAAABBdBcGxvcmlzLkJhc2UuQW5jaG9yTW9kZQMAAAABoAcAAIQAAAAAAAAAAaEHAACEAAAAAgAAAAGiBwAAhAAAAAQAAAABhQUAACgAAAAJHwEAAAAAAAAAAAAAAYYFAAApAAAACaMHAAACAAAAAgAAAAGHBQAAegEAAApYAgAAAaQHAAAMAgAAAgAAAAGlBwAADQIAAAEAAAABpgcAABYAAADVKItC5zBAQ9Mei0Lmx+BCAacHAAAPAgAAAAAAAAAAoEAAAagHAAAkAAAAPrjQQuBieEMBqQcAAIQAAAAAAAAAAAAAAAAAAAAACaoHAAAAAAAACasHAAAAAAABrAcAAMQAAAAAAAAAAa0HAACNAAAAAADYQQAAcEEBrgcAABYAAACxE7dC2IlxQ8T3vUGJnThBEoO+PwavBwAAAzQyJQoJsAcAAAkYAgAANAMAAP////8BAQoJsQcAAAEACgEBiAUAAB8AAAABsgcAACQAAADVKIVCbcqZQwGzBwAAJAAAANQjDkPnMD1DCbQHAAAJtQcAAAAAAAAKAbYHAACNAAAAAAAAAAAAAAABtwcAAI0AAAAAAAAAAAAAAAAAAAABuAcAABYAAAAAAAAAAAAAAAAAAAAAAAAApAEAAP////8BAQoJuQcAAAEACgEHiQUAAAABAAAAAgAAAAQaQXBsb3Jpcy5CYXNlLlVJLlZpc3VhbExpbmUDAAAACgoHigUAAAABAAAAAwAAAAQVU3lzdGVtLkRyYXdpbmcuUG9pbnRGBAAAAAG6BwAAJAAAAD640ELgYnhDAbsHAAAkAAAAqlF+QuBieEMBvAcAACQAAADUIxFD4GJ4QweLBQAAAAEAAAADAAAABBdBcGxvcmlzLkJhc2UuQW5jaG9yTW9kZQMAAAABvQcAAIQAAAAAAAAAAb4HAACEAAAAAgAAAAG/BwAAhAAAAAQAAAABjAUAACgAAAAJHwEAAAAAAAAAAAAAAY0FAAApAAAACcAHAAACAAAAAgAAAAGOBQAAegEAAApYAgAAAcEHAAAMAgAAAgAAAAHCBwAADQIAAAEAAAABwwcAABYAAADgeT5D5J5KQ9Aei0Ls68tCAcQHAAAPAgAAAAAAAAAAoEAAAcUHAAAkAAAAlEFhQ9+ZfUMBxgcAAIQAAAAAAAAAAAAAAAAAAAAACccHAAAAAAAACcgHAAAAAAAByQcAAMQAAAAAAAAAAcoHAACNAAAAAADYQQAAcEEBywcAABYAAADETlRDTux2Q8T3vUGJnThBEoO+PwbMBwAAAzM4JQoJzQcAAAkYAgAANAMAAP////8BAQoJzgcAAAEACgEBjwUAAB8AAAABzwcAACQAAADgeTtDbcqZQwHQBwAAJAAAAKSEg0PknkdDCdEHAAAJ0gcAAAAAAAAKAdMHAACNAAAAAAAAAAAAAAAB1AcAAI0AAAAAAAAAAAAAAAAAAAAB1QcAABYAAAAAAAAAAAAAAAAAAAAAAAAApAEAAP////8BAQoJ1gcAAAEACgEHkAUAAAABAAAAAgAAAAQaQXBsb3Jpcy5CYXNlLlVJLlZpc3VhbExpbmUDAAAACgoHkQUAAAABAAAAAwAAAAQVU3lzdGVtLkRyYXdpbmcuUG9pbnRGBAAAAAHXBwAAJAAAAJRBYUPfmX1DAdgHAAAkAAAA4Hk4Q9+ZfUMB2QcAACQAAACkBIVD35l9QweSBQAAAAEAAAADAAAABBdBcGxvcmlzLkJhc2UuQW5jaG9yTW9kZQMAAAAB2gcAAIQAAAAAAAAAAdsHAACEAAAAAgAAAAHcBwAAhAAAAAQAAAABkwUAACgAAAAJHwEAAAAAAAAAAAAAAZQFAAApAAAACd0HAAACAAAAAgAAAAGVBQAAegEAAApYAgAAAd4HAAAMAgAAAgAAAAHfBwAADQIAAAEAAAAB4AcAABYAAACqr5tDyckzQ9Aei0IilvlCAeEHAAAPAgAAAAAAAAAAoEAAAeIHAAAkAAAAhBOtQ1IvckMB4wcAAIQAAAAAAAAAAAAAAAAAAAAACeQHAAAAAAAACeUHAAAAAAAB5gcAAMQAAAAAAAAAAecHAACNAAAAAADYQQAAcEEB6AcAABYAAADYiaZDdWJrQ8T3vUGJnThBEoO+PwbpBwAAAzQ2JQoJ6gcAAAkYAgAANAMAAP////8BAQoJ6wcAAAEACgEBlgUAAB8AAAAB7AcAACQAAACqL5pDbcqZQwHtBwAAJAAAAF73v0PJyTBDCe4HAAAJ7wcAAAAAAAAKAfAHAACNAAAAAAAAAAAAAAAB8QcAAI0AAAAAAAAAAAAAAAAAAAAB8gcAABYAAAAAAAAAAAAAAAAAAAAAAAAApAEAAP////8BAQoJ8wcAAAEACgEHlwUAAAABAAAAAgAAAAQaQXBsb3Jpcy5CYXNlLlVJLlZpc3VhbExpbmUDAAAACgoHmAUAAAABAAAAAwAAAAQVU3lzdGVtLkRyYXdpbmcuUG9pbnRGBAAAAAH0BwAAJAAAAIQTrUNSL3JDAfUHAAAkAAAAqq+YQ1IvckMB9gcAACQAAABed8FDUi9yQweZBQAAAAEAAAADAAAABBdBcGxvcmlzLkJhc2UuQW5jaG9yTW9kZQMAAAAB9wcAAIQAAAAAAAAAAfgHAACEAAAAAgAAAAH5BwAAhAAAAAQAAAABmgUAACgAAAAJHwEAAAAAAAAAAAAAAZsFAAApAAAACfoHAAACAAAAAgAAAAGcBQAAegEAAApYAgAAAfsHAAAMAgAAAgAAAAH8BwAADQIAAAEAAAAB/QcAABYAAABlIthD2GcwQ9Aei0ICLQBDAf4HAAAPAgAAAAAAAAAAoEAAAf8HAAAkAAAAP4bpQ1l+cEMBAAgAAIQAAAAAAAAAAAAAAAAAAAAACQEIAAAAAAAACQIIAAAAAAABAwgAAMQAAAAAAAAAAQQIAACNAAAAAADYQQAAcEEBBQgAABYAAABO7OJDndhpQ8T3vUGJnThBEoO+PwYGCAAAAzQ4JQoJBwgAAAkYAgAANAMAAP////8BAQoJCAgAAAEACgEBnQUAAB8AAAABCQgAACQAAABlotZDbcqZQwEKCAAAJAAAABlq/EPYZy1DCQsIAAAJDAgAAAAAAAAKAQ0IAACNAAAAAAAAAAAAAAABDggAAI0AAAAAAAAAAAAAAAAAAAABDwgAABYAAAAAAAAAAAAAAAAAAAAAAAAApAEAAP////8BAQoJEAgAAAEACgEHngUAAAABAAAAAgAAAAQaQXBsb3Jpcy5CYXNlLlVJLlZpc3VhbExpbmUDAAAACgoHnwUAAAABAAAAAwAAAAQVU3lzdGVtLkRyYXdpbmcuUG9pbnRGBAAAAAERCAAAJAAAAD+G6UNZfnBDARIIAAAkAAAAZSLVQ1l+cEMBEwgAACQAAAAZ6v1DWX5wQwegBQAAAAEAAAADAAAABBdBcGxvcmlzLkJhc2UuQW5jaG9yTW9kZQMAAAABFAgAAIQAAAAAAAAAARUIAACEAAAAAgAAAAEWCAAAhAAAAAQAAAABoQUAACgAAAAJHwEAAAAAAAAAAAAAAaIFAAApAAAACRcIAAACAAAAAgAAAAGjBQAAegEAAApYAgAAARgIAAAMAgAAAgAAAAEZCAAADQIAAAEAAAABGggAABYAAACQSgpEU+oKQ9Aei0KHqiVDARsIAAAPAgAAAAAAAAAAoEAAARwIAAAkAAAAffwSRJa/XUMBHQgAAIQAAAAAAAAAAAAAAAAAAAAACR4IAAAAAAAACR8IAAAAAAABIAgAAMQAAAAAAAAAASEIAACNAAAAAADYQQAAcEEBIggAABYAAACd2A9EiZ1WQ8T3vUGJnThBEoO+PwYjCAAAAzYxJQoJJAgAAAkYAgAANAMAAP////8BAQoJJQgAAAEACgEBpAUAAB8AAAABJggAACQAAACQiglEbcqZQwEnCAAAJAAAAGpuHERT6gdDCSgIAAAJKQgAAAAAAAAKASoIAACNAAAAAAAAAAAAAAABKwgAAI0AAAAAAAAAAAAAAAAAAAABLAgAABYAAAAAAAAAAAAAAAAAAAAAAAAApAEAAP////8BAQoJLQgAAAEACgEHpQUAAAABAAAAAgAAAAQaQXBsb3Jpcy5CYXNlLlVJLlZpc3VhbExpbmUDAAAACgoHpgUAAAABAAAAAwAAAAQVU3lzdGVtLkRyYXdpbmcuUG9pbnRGBAAAAAEuCAAAJAAAAH38EkSWv11DAS8IAAAkAAAAkMoIRJa/XUMBMAgAACQAAABqLh1Elr9dQwenBQAAAAEAAAADAAAABBdBcGxvcmlzLkJhc2UuQW5jaG9yTW9kZQMAAAABMQgAAIQAAAAAAAAAATIIAACEAAAAAgAAAAEzCAAAhAAAAAQAAAABqAUAACgAAAAJHwEAAAAAAAAAAAAAAakFAAApAAAACTQIAAACAAAAAgAAAAGqBQAAegEAAApYAgAAATUIAAAMAgAAAQAAAAE2CAAADQIAAAEAAAABNwgAABYAAAA+uNBCUYRdQwAAAAAAAAAAATgIAAAPAgAAAAAAAAAAoEAAATkIAAAkAAAAPrjQQlGEXUMBOggAAIQAAAABAAAAAAAAAAAAAAAACTsIAAAAAAAACTwIAAAAAAABPQgAAMQAAAAAAAAAAT4IAACNAAAAAAD4QQAAiEEBPwgAABYAAAAAAAAAAAAAAAAAAAAAAAAAXrrZPwZACAAAAzEyJQoJQQgAAAkYAgAANAMAAP////8AAQoJQggAAAEACgEHqwUAAAABAAAAAgAAAAQaQXBsb3Jpcy5CYXNlLlVJLlZpc3VhbExpbmUDAAAACgoFrAUAABpBcGxvcmlzLkNoYXJ0LlZpc3VhbE1hcmtlcg4AAAAMbUNlbnRlclBvaW50DW1NYXJrZXJGb3JtYXQLbUxpbmVGb3JtYXQ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AAAAHAgAAAwAVU3lzdGVtLkRyYXdpbmcuUG9pbnRGBAAAABpBcGxvcmlzLkNoYXJ0Lk1hcmtlckZvcm1hdAIAAAAfQXBsb3Jpcy5CYXNlLk9iamVjdHMuTGluZUZvcm1hdAMAAAAZU3lzdGVtLkRyYXdpbmcuUmVjdGFuZ2xlRgQAAAAICAEBCAEBD1N5c3RlbS5JbnRQdHJbXQECAAAAAUMIAAAkAAAAPrjQQlEEX0MJRAgAAAoBRQgAABYAAAA+uMZCUQRaQwAAAEEAAABBMAIAAP////8BAQoJRggAAAEBCgEHrQUAAAABAAAABAAAAAQVU3lzdGVtLkRyYXdpbmcuUG9pbnRGBAAAAAFHCAAAJAAAAD640EJRhF1DAUgIAAAkAAAAPrjQQlGEYEMBSQgAACQAAAA+uM1CUQRfQwFKCAAAJAAAAD6400JRBF9DB64FAAAAAQAAAAQAAAAEF0FwbG9yaXMuQmFzZS5BbmNob3JNb2RlAwAAAAFLCAAAhAAAAAEAAAABTAgAAIQAAAADAAAAAU0IAACEAAAAAgAAAAFOCAAAhAAAAAQAAAABrwUAACgAAAAJTwgAAAEAAAABAAAAAbAFAAApAAAACVAIAAACAAAABAAAAAGxBQAAegEAAApYAgAAAVEIAAAMAgAAAQAAAAFSCAAADQIAAAEAAAABUwgAABYAAACUQWFDUYRdQwAAAAAAAAAAAVQIAAAPAgAAAAAAAAAAoEAAAVUIAAAkAAAAlEFhQ1GEXUMBVggAAIQAAAABAAAAAAAAAAAAAAAACVcIAAAAAAAACVgIAAABAAABWQgAAMQAAAAAAAAAAVoIAACNAAAAAAD4QQAAiEEBWwgAABYAAAAAAAAAAAAAAAAAAAAAAAAAXrrZPwZcCAAAAzEyJQoJXQgAAAkYAgAANAMAAP////8AAQoJXggAAAEACgEHsgUAAAABAAAAAgAAAAQaQXBsb3Jpcy5CYXNlLlVJLlZpc3VhbExpbmUDAAAACgoBswUAAKwFAAABXwgAACQAAACUQWFDUQRfQwlgCAAACgFhCAAAFgAAAJRBXENRBFpDAAAAQQAAAEEwAgAA/////wEBCgliCAAAAQEKAQe0BQAAAAEAAAAEAAAABBVTeXN0ZW0uRHJhd2luZy5Qb2ludEYEAAAAAWMIAAAkAAAAlEFhQ1GEXUMBZAgAACQAAACUQWFDUYRgQwFlCAAAJAAAAJTBX0NRBF9DAWYIAAAkAAAAlMFiQ1EEX0MHtQUAAAABAAAABAAAAAQXQXBsb3Jpcy5CYXNlLkFuY2hvck1vZGUDAAAAAWcIAACEAAAAAQAAAAFoCAAAhAAAAAMAAAABaQgAAIQAAAACAAAAAWoIAACEAAAABAAAAAG2BQAAKAAAAAlrCAAAAQAAAAEAAAABtwUAACkAAAAJbAgAAAIAAAAEAAAAAbgFAAB6AQAAClgCAAABbQgAAAwCAAABAAAAAW4IAAANAgAAAQAAAAFvCAAAFgAAAIQTrUNMn+dCAAAAAAAAAAABcAgAAA8CAAAAAAAAAACgQAABcQgAACQAAACEE61DTJ/nQgFyCAAAhAAAAAEAAAAAAAAAAAAAAAAJcwgAAAAAAAAJdAgAAAEAAAF1CAAAxAAAAAAAAAABdggAAI0AAAAAAPhBAACIQQF3CAAAFgAAAAAAAAAAAAAAAAAAAAAAAABeutk/BngIAAADMjclCgl5CAAACRgCAAA0AwAA/////wABCgl6CAAAAQAKAQe5BQAAAAEAAAACAAAABBpBcGxvcmlzLkJhc2UuVUkuVmlzdWFsTGluZQMAAAAKCgG6BQAArAUAAAF7CAAAJAAAAIQTrUNMn+pCCXwIAAAKAX0IAAAWAAAAhJOqQ0yf4EIAAABBAAAAQTACAAD/////AQEKCX4IAAABAQoBB7sFAAAAAQAAAAQAAAAEFVN5c3RlbS5EcmF3aW5nLlBvaW50RgQAAAABfwgAACQAAACEE61DTJ/nQgGACAAAJAAAAIQTrUNMn+1CAYEIAAAkAAAAhFOsQ0yf6kIBgggAACQAAACE061DTJ/qQge8BQAAAAEAAAAEAAAABBdBcGxvcmlzLkJhc2UuQW5jaG9yTW9kZQMAAAABgwgAAIQAAAABAAAAAYQIAACEAAAAAwAAAAGFCAAAhAAAAAIAAAABhggAAIQAAAAEAAAAAb0FAAAoAAAACYcIAAABAAAAAQAAAAG+BQAAKQAAAAmICAAAAgAAAAQAAAABvwUAAHoBAAAKWAIAAAGJCAAADAIAAAEAAAABiggAAA0CAAABAAAAAYsIAAAWAAAAP4bpQzWH2UIAAAAAAAAAAAGMCAAADwIAAAAAAAAAAKBAAAGNCAAAJAAAAD+G6UM1h9lCAY4IAACEAAAAAQAAAAAAAAAAAAAAAAmPCAAAAAAAAAmQCAAAAQAAAZEIAADEAAAAAAAAAAGSCAAAjQAAAAAA+EEAAIhBAZMIAAAWAAAAAAAAAAAAAAAAAAAAAAAAAF662T8GlAgAAAMyOCUKCZUIAAAJGAIAADQDAAD/////AAEKCZYIAAABAAoBB8AFAAAAAQAAAAIAAAAEGkFwbG9yaXMuQmFzZS5VSS5WaXN1YWxMaW5lAwAAAAoKAcEFAACsBQAAAZcIAAAkAAAAP4bpQzWH3EIJmAgAAAoBmQgAABYAAAA/BudDNYfSQgAAAEEAAABBMAIAAP////8BAQoJmggAAAEBCgEHwgUAAAABAAAABAAAAAQVU3lzdGVtLkRyYXdpbmcuUG9pbnRGBAAAAAGbCAAAJAAAAD+G6UM1h9lCAZwIAAAkAAAAP4bpQzWH30IBnQgAACQAAAA/xuhDNYfcQgGeCAAAJAAAAD9G6kM1h9xCB8MFAAAAAQAAAAQAAAAEF0FwbG9yaXMuQmFzZS5BbmNob3JNb2RlAwAAAAGfCAAAhAAAAAEAAAABoAgAAIQAAAADAAAAAaEIAACEAAAAAgAAAAGiCAAAhAAAAAQAAAABxAUAACgAAAAJowgAAAEAAAABAAAAAcUFAAApAAAACaQIAAACAAAABAAAAAHGBQAAegEAAApYAgAAAaUIAAAMAgAAAQAAAAGmCAAADQIAAAEAAAABpwgAABYAAAB9/BJEK71tQgAAAAAAAAAAAagIAAAPAgAAAAAAAAAAoEAAAakIAAAkAAAAffwSRCu9bUIBqggAAIQAAAABAAAAAAAAAAAAAAAACasIAAAAAAAACawIAAAAAAABrQgAAMQAAAAAAAAAAa4IAACNAAAAAAD4QQAAiEEBrwgAABYAAAAAAAAAAAAAAAAAAAAAAAAAXrrZPwawCAAAAzM1JQoJsQgAAAkYAgAANAMAAP////8AAQoJsggAAAEACgEHxwUAAAABAAAAAgAAAAQaQXBsb3Jpcy5CYXNlLlVJLlZpc3VhbExpbmUDAAAACgoByAUAAKwFAAABswgAACQAAAB9/BJEK71zQgm0CAAACgG1CAAAFgAAAH28EUQrvV9CAAAAQQAAAEEwAgAA/////wEBCgm2CAAAAQEKAQfJBQAAAAEAAAAEAAAABBVTeXN0ZW0uRHJhd2luZy5Qb2ludEYEAAAAAbcIAAAkAAAAffwSRCu9bUIBuAgAACQAAAB9/BJEK715QgG5CAAAJAAAAH2cEkQrvXNCAboIAAAkAAAAfVwTRCu9c0IHygUAAAABAAAABAAAAAQXQXBsb3Jpcy5CYXNlLkFuY2hvck1vZGUDAAAAAbsIAACEAAAAAQAAAAG8CAAAhAAAAAMAAAABvQgAAIQAAAACAAAAAb4IAACEAAAABAAAAAHLBQAAKAAAAAm/CAAAAQAAAAEAAAABzAUAACkAAAAJwAgAAAIAAAAEAAAAAfcFAAAmAAAACgoAAAAAAChBCZEAAAAJkgAAAAnBCAAAAAAJwggAAAH4BQAAkwAAAAoKAAAAADZshwAFAAAAAAAB/QUAAMgAAAAJwwgAAAEAAAADAAAAAf4FAACQAAAACcQIAAAKAQEGAACLAAAACgoAAABAPwnFCAAACcYIAAABAAAA/v///wAAAAABAAAAAAAAAAAAAAABAAAAAAAAAAAAAAECBgAAjAAAAAoKCccIAAAJyAgAAAEAAAD+////AAAAAP////8BAAEGBgAAkAAAAAnJCAAACgcNBgAAAAEAAAAEAAAABBxBcGxvcmlzLkJhc2UuVUkuVmlzdWFsT2JqZWN0AwAAAAkfBQAACR4FAAAKCgEUBgAAJgAAAAoKAAAAAAAoQQmRAAAACZIAAAAJyggAAAAACcsIAAABFQYAAJMAAAAKCgAAAAA2bIcABQAAAAABARoGAADIAAAACcwIAAABAAAAAwAAAAEbBgAAkAAAAAnNCAAACgEeBgAAiwAAAAoKAAAAQD8JzggAAAnPCAAAAQAAAP7///8AAAAAAQAAAAAAAAAAAAAAAQAAAAAAAAAAAAABHwYAAIwAAAAKCgnQCAAACdEIAAABAAAA/v///wAAAAD/////AQABIwYAAJAAAAAJ0ggAAAoHKgYAAAABAAAABAAAAAQcQXBsb3Jpcy5CYXNlLlVJLlZpc3VhbE9iamVjdAMAAAAJJgUAAAklBQAACgoBMQYAACYAAAAKCgAAAAAAKEEJkQAAAAmSAAAACdMIAAAAAAnUCAAAATIGAACTAAAACgoAAAAANmyHAAUAAAAAAQE3BgAAyAAAAAnVCAAAAQAAAAMAAAABOAYAAJAAAAAJ1ggAAAoBOwYAAIsAAAAKCgAAAEA/CdcIAAAJ2AgAAAEAAAD+////AAAAAAEAAAAAAAAAAAAAAAEAAAAAAAAAAAAAATwGAACMAAAACgoJ2QgAAAnaCAAAAQAAAP7///8AAAAA/////wEAAUAGAACQAAAACdsIAAAKB0cGAAAAAQAAAAQAAAAEHEFwbG9yaXMuQmFzZS5VSS5WaXN1YWxPYmplY3QDAAAACS0FAAAJLAUAAAoKAU4GAAAmAAAACgoAAAAAAChBCZEAAAAJkgAAAAncCAAAAAAJ3QgAAAFPBgAAkwAAAAoKAAAAADZshwAFAAAAAAEBVAYAAMgAAAAJ3ggAAAEAAAADAAAAAVUGAACQAAAACd8IAAAKAVgGAACLAAAACgoAAABAPwngCAAACeEIAAABAAAA/v///wAAAAABAAAAAAAAAAAAAAABAAAAAAAAAAAAAAFZBgAAjAAAAAoKCeIIAAAJ4wgAAAEAAAD+////AAAAAP////8BAAFdBgAAkAAAAAnkCAAACgdkBgAAAAEAAAAEAAAABBxBcGxvcmlzLkJhc2UuVUkuVmlzdWFsT2JqZWN0AwAAAAk0BQAACTMFAAAKCgFrBgAAJgAAAAoKAAAAAAAoQQmRAAAACZIAAAAJ5QgAAAAACeYIAAABbAYAAJMAAAAKCgAAAAA2bIcABQAAAAABAXEGAADIAAAACecIAAABAAAAAwAAAAFyBgAAkAAAAAnoCAAACgF1BgAAiwAAAAoKAAAAQD8J6QgAAAnqCAAAAQAAAP7///8AAAAAAQAAAAAAAAAAAAAAAQAAAAAAAAAAAAABdgYAAIwAAAAKCgnrCAAACewIAAABAAAA/v///wAAAAD/////AQABegYAAJAAAAAJ7QgAAAoHgQYAAAABAAAABAAAAAQcQXBsb3Jpcy5CYXNlLlVJLlZpc3VhbE9iamVjdAMAAAAJOwUAAAk6BQAACgoBiAYAACYAAAAKCgAAAAAAKEEJkQAAAAmSAAAACe4IAAAAAAnvCAAAAYkGAACTAAAACgoAAAAAcoSMAAYAAAAAAQGOBgAAyAAAAAnwCAAAAQAAAAEAAAABjwYAAJAAAAAJ8QgAAAoBkgYAAIsAAAAKCgAAAEA/CfIIAAAJ8wgAAAEAAAD+////AAAAAAEAAAAAAAAAAAAAAAEAAAAAAAAAAAAAAZMGAACMAAAACgoJ9AgAAAn1CAAAAQAAAP7///8AAAAA/////wEAAZcGAACQAAAACfYIAAAKB54GAAAAAQAAAAQAAAAEHEFwbG9yaXMuQmFzZS5VSS5WaXN1YWxPYmplY3QDAAAACUIFAAAJQQUAAAoKAaUGAAAmAAAACgoAAAAAAChBCZEAAAAJkgAAAAn3CAAAAAAJ+AgAAAGmBgAAkwAAAAoKAAAAAHKEjAAGAAAAAAEBqwYAAMgAAAAJ+QgAAAEAAAADAAAAAawGAACQAAAACfoIAAAKAa8GAACLAAAACgoAAABAPwn7CAAACfwIAAABAAAA/v///wAAAAABAAAAAAAAAAAAAAABAAAAAAAAAAAAAAGwBgAAjAAAAAoKCf0IAAAJ/ggAAAEAAAD+////AAAAAP////8BAAG0BgAAkAAAAAn/CAAACge7BgAAAAEAAAAEAAAABBxBcGxvcmlzLkJhc2UuVUkuVmlzdWFsT2JqZWN0AwAAAAlJBQAACUgFAAAKCgHCBgAAJgAAAAoKAAAAAAAoQQmRAAAACZIAAAAJAAkAAAAACQEJAAABwwYAAJMAAAAKCgAAAAByhIwABgAAAAABAcgGAADIAAAACQIJAAABAAAAAwAAAAHJBgAAkAAAAAkDCQAACgHMBgAAiwAAAAoKAAAAQD8JBAkAAAkFCQAAAQAAAP7///8AAAAAAQAAAAAAAAAAAAAAAQAAAAAAAAAAAAABzQYAAIwAAAAKCgkGCQAACQcJAAABAAAA/v///wAAAAD/////AQAB0QYAAJAAAAAJCAkAAAoH2AYAAAABAAAABAAAAAQcQXBsb3Jpcy5CYXNlLlVJLlZpc3VhbE9iamVjdAMAAAAJUAUAAAlPBQAACgoB3wYAACYAAAAKCgAAAAAAKEEJkQAAAAmSAAAACQkJAAAAAAkKCQAAAeAGAACTAAAACgoAAAAAcoSMAAYAAAAAAQHlBgAAyAAAAAkLCQAAAQAAAAMAAAAB5gYAAJAAAAAJDAkAAAoB6QYAAIsAAAAKCgAAAEA/CQ0JAAAJDgkAAAEAAAD+////AAAAAAEAAAAAAAAAAAAAAAEAAAAAAAAAAAAAAeoGAACMAAAACgoJDwkAAAkQCQAAAQAAAP7///8AAAAA/////wEAAe4GAACQAAAACREJAAAKB/UGAAAAAQAAAAQAAAAEHEFwbG9yaXMuQmFzZS5VSS5WaXN1YWxPYmplY3QDAAAACVcFAAAJVgUAAAoKAfwGAAAmAAAACgoAAAAAAChBCZEAAAAJkgAAAAkSCQAAAAAJEwkAAAH9BgAAkwAAAAoKAAAAAHKEjAAGAAAAAAEBAgcAAMgAAAAJFAkAAAEAAAADAAAAAQMHAACQAAAACRUJAAAKAQYHAACLAAAACgoAAABAPwkWCQAACRcJAAABAAAA/v///wAAAAABAAAAAAAAAAAAAAABAAAAAAAAAAAAAAEHBwAAjAAAAAoKCRgJAAAJGQkAAAEAAAD+////AAAAAP////8BAAELBwAAkAAAAAkaCQAACgcSBwAAAAEAAAAEAAAABBxBcGxvcmlzLkJhc2UuVUkuVmlzdWFsT2JqZWN0AwAAAAleBQAACV0FAAAKCgEZBwAAJgAAAAoKAAAAAAAoQQmRAAAACZIAAAAJGwkAAAAACRwJAAABGgcAAJMAAAAKCgAAAADtISUABwAAAAABAR8HAADIAAAACR0JAAABAAAAAwAAAAEgBwAAkAAAAAkeCQAACgEjBwAAiwAAAAoKAAAAQD8JHwkAAAkgCQAAAQAAAP7///8AAAAAAQAAAAAAAAAAAAAAAQAAAAAAAAAAAAABJAcAAIwAAAAKCgkhCQAACSIJAAABAAAA/v///wAAAAD/////AQABKAcAAJAAAAAJIwkAAAoHLwcAAAABAAAABAAAAAQcQXBsb3Jpcy5CYXNlLlVJLlZpc3VhbE9iamVjdAMAAAAJZQUAAAlkBQAACgoBNgcAACYAAAAKCgAAAAAAKEEJkQAAAAmSAAAACSQJAAAAAAklCQAAATcHAACTAAAACgoAAAAA7SElAAcAAAAAAQE8BwAAyAAAAAkmCQAAAQAAAAMAAAABPQcAAJAAAAAJJwkAAAoBQAcAAIsAAAAKCgAAAEA/CSgJAAAJKQkAAAEAAAD+////AAAAAAEAAAAAAAAAAAAAAAEAAAAAAAAAAAAAAUEHAACMAAAACgoJKgkAAAkrCQAAAQAAAP7///8AAAAA/////wEAAUUHAACQAAAACSwJAAAKB0wHAAAAAQAAAAQAAAAEHEFwbG9yaXMuQmFzZS5VSS5WaXN1YWxPYmplY3QDAAAACWwFAAAJawUAAAoKAVMHAAAmAAAACgoAAAAAAChBCZEAAAAJkgAAAAktCQAAAAAJLgkAAAFUBwAAkwAAAAoKAAAAAO0hJQAHAAAAAAABWQcAAMgAAAAJLwkAAAEAAAADAAAAAVoHAACQAAAACTAJAAAKAV0HAACLAAAACgoAAABAPwkxCQAACTIJAAABAAAA/v///wAAAAABAAAAAAAAAAAAAAABAAAAAAAAAAAAAAFeBwAAjAAAAAoKCTMJAAAJNAkAAAEAAAD+////AAAAAP////8BAAFiBwAAkAAAAAk1CQAACgdpBwAAAAEAAAAEAAAABBxBcGxvcmlzLkJhc2UuVUkuVmlzdWFsT2JqZWN0AwAAAAlzBQAACXIFAAAKCgFwBwAAJgAAAAoKAAAAAAAoQQmRAAAACZIAAAAJNgkAAAAACTcJAAABcQcAAJMAAAAKCgAAAADtISUABwAAAAABAXYHAADIAAAACTgJAAABAAAAAwAAAAF3BwAAkAAAAAk5CQAACgF6BwAAiwAAAAoKAAAAQD8JOgkAAAk7CQAAAQAAAP7///8AAAAAAQAAAAAAAAAAAAAAAQAAAAAAAAAAAAABewcAAIwAAAAKCgk8CQAACT0JAAABAAAA/v///wAAAAD/////AQABfwcAAJAAAAAJPgkAAAoHhgcAAAABAAAABAAAAAQcQXBsb3Jpcy5CYXNlLlVJLlZpc3VhbE9iamVjdAMAAAAJegUAAAl5BQAACgoBjQcAACYAAAAKCgAAAAAAKEEJkQAAAAmSAAAACT8JAAAAAAlACQAAAY4HAACTAAAACgoAAAAA7SElAAcAAAAAAQGTBwAAyAAAAAlBCQAAAQAAAAMAAAABlAcAAJAAAAAJQgkAAAoBlwcAAIsAAAAKCgAAAEA/CUMJAAAJRAkAAAEAAAD+////AAAAAAEAAAAAAAAAAAAAAAEAAAAAAAAAAAAAAZgHAACMAAAACgoJRQkAAAlGCQAAAQAAAP7///8AAAAA/////wEAAZwHAACQAAAACUcJAAAKB6MHAAAAAQAAAAQAAAAEHEFwbG9yaXMuQmFzZS5VSS5WaXN1YWxPYmplY3QDAAAACYEFAAAJgAUAAAoKAaoHAAAmAAAACgoAAAAAAChBCZEAAAAJkgAAAAlICQAAAAAJSQkAAAGrBwAAkwAAAAoKAAAAAEY7NAAIAAAAAAEBsAcAAMgAAAAJSgkAAAEAAAADAAAAAbEHAACQAAAACUsJAAAKAbQHAACLAAAACgoAAABAPwlMCQAACU0JAAABAAAA/v///wAAAAABAAAAAAAAAAAAAAABAAAAAAAAAAAAAAG1BwAAjAAAAAoKCU4JAAAJTwkAAAEAAAD+////AAAAAP////8BAAG5BwAAkAAAAAlQCQAACgfABwAAAAEAAAAEAAAABBxBcGxvcmlzLkJhc2UuVUkuVmlzdWFsT2JqZWN0AwAAAAmIBQAACYcFAAAKCgHHBwAAJgAAAAoKAAAAAAAoQQmRAAAACZIAAAAJUQkAAAAACVIJAAAByAcAAJMAAAAKCgAAAABGOzQACAAAAAABAc0HAADIAAAACVMJAAABAAAAAwAAAAHOBwAAkAAAAAlUCQAACgHRBwAAiwAAAAoKAAAAQD8JVQkAAAlWCQAAAQAAAP7///8AAAAAAQAAAAAAAAAAAAAAAQAAAAAAAAAAAAAB0gcAAIwAAAAKCglXCQAACVgJAAABAAAA/v///wAAAAD/////AQAB1gcAAJAAAAAJWQkAAAoH3QcAAAABAAAABAAAAAQcQXBsb3Jpcy5CYXNlLlVJLlZpc3VhbE9iamVjdAMAAAAJjwUAAAmOBQAACgoB5AcAACYAAAAKCgAAAAAAKEEJkQAAAAmSAAAACVoJAAAAAAlbCQAAAeUHAACTAAAACgoAAAAARjs0AAgAAAAAAQHqBwAAyAAAAAlcCQAAAQAAAAMAAAAB6wcAAJAAAAAJXQkAAAoB7gcAAIsAAAAKCgAAAEA/CV4JAAAJXwkAAAEAAAD+////AAAAAAEAAAAAAAAAAAAAAAEAAAAAAAAAAAAAAe8HAACMAAAACgoJYAkAAAlhCQAAAQAAAP7///8AAAAA/////wEAAfMHAACQAAAACWIJAAAKB/oHAAAAAQAAAAQAAAAEHEFwbG9yaXMuQmFzZS5VSS5WaXN1YWxPYmplY3QDAAAACZYFAAAJlQUAAAoKAQEIAAAmAAAACgoAAAAAAChBCZEAAAAJkgAAAAljCQAAAAAJZAkAAAECCAAAkwAAAAoKAAAAAEY7NAAIAAAAAAEBBwgAAMgAAAAJZQkAAAEAAAADAAAAAQgIAACQAAAACWYJAAAKAQsIAACLAAAACgoAAABAPwlnCQAACWgJAAABAAAA/v///wAAAAABAAAAAAAAAAAAAAABAAAAAAAAAAAAAAEMCAAAjAAAAAoKCWkJAAAJagkAAAEAAAD+////AAAAAP////8BAAEQCAAAkAAAAAlrCQAACgcXCAAAAAEAAAAEAAAABBxBcGxvcmlzLkJhc2UuVUkuVmlzdWFsT2JqZWN0AwAAAAmdBQAACZwFAAAKCgEeCAAAJgAAAAoKAAAAAAAoQQmRAAAACZIAAAAJbAkAAAAACW0JAAABHwgAAJMAAAAKCgAAAABGOzQACAAAAAABASQIAADIAAAACW4JAAABAAAAAwAAAAElCAAAkAAAAAlvCQAACgEoCAAAiwAAAAoKAAAAQD8JcAkAAAlxCQAAAQAAAP7///8AAAAAAQAAAAAAAAAAAAAAAQAAAAAAAAAAAAABKQgAAIwAAAAKCglyCQAACXMJAAABAAAA/v///wAAAAD/////AQABLQgAAJAAAAAJdAkAAAoHNAgAAAABAAAABAAAAAQcQXBsb3Jpcy5CYXNlLlVJLlZpc3VhbE9iamVjdAMAAAAJpAUAAAmjBQAACgoFOwg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mdBAAACgAAAAAAKEEJkQAAAAmSAAAACXUJAAABAAl2CQAAATwIAACTAAAACgoAAAAA////AA4AAAAAAQFBCAAAyAAAAAl3CQAAAQAAAAMAAAABQggAAJAAAAAJeAkAAAoFRAgAABpBcGxvcmlzLkNoYXJ0Lk1hcmtlckZvcm1hdAoAAAASRGF0YU9iamVjdCttUGFyZW50FURhdGFPYmplY3QrbUNvbnRhaW5lcgZtQ29sb3IGbVN0eWxlBW1TaXplDW1UcmFuc3BhcmVuY3kIbVZpc2libGULbUZvcm1hdFR5cGUUbURlZmF1bHRTY2hlbWVGb3JtYXQJbU1vZGlmaWVkBAQEAAAAAAAAAB5BcGxvcmlzLkNoYXJ0LkNoYXJ0RGF0YUVsZW1lbnQCAAAAIUFwbG9yaXMuQ2hhcnQuQ29sdW1uT3JpZW50ZWRDaGFydAIAAAAaQXBsb3Jpcy5CYXNlLk9iamVjdHMuQ29sb3IDAAAACAsLCAgBAQIAAAAJnQQAAAkBAAAACXkJAAABAAAAAAAAQQAAAAAAAAAABwAAAAABAUYIAACQAAAACXoJAAAKB08IAAAAAQAAAAQAAAAEH0FwbG9yaXMuQmFzZS5PYmplY3RzLkRhdGFPYmplY3QDAAAACUQIAAANAwdQCAAAAAEAAAAEAAAABBxBcGxvcmlzLkJhc2UuVUkuVmlzdWFsT2JqZWN0AwAAAAmqBQAACawFAAAKCgVXC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Z4EAAAKAAAAAAAoQQmRAAAACZIAAAAJewkAAAEACXwJAAABWAgAAJMAAAAKCgAAAAD///8ADgAAAAABAV0IAADIAAAACX0JAAABAAAAAwAAAAFeCAAAkAAAAAl+CQAACgFgCAAARAgAAAmeBAAACQEAAAAJfwkAAAEAAAAAAABBAAAAAAAAAAAHAAAAAAEBYggAAJAAAAAJgAkAAAoHawgAAAABAAAABAAAAAQfQXBsb3Jpcy5CYXNlLk9iamVjdHMuRGF0YU9iamVjdAMAAAAJYAgAAA0DB2wIAAAAAQAAAAQAAAAEHEFwbG9yaXMuQmFzZS5VSS5WaXN1YWxPYmplY3QDAAAACbEFAAAJswUAAAoKBXMI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nwQAAAoAAAAAAChBCZEAAAAJkgAAAAmBCQAAAQAJggkAAAF0CAAAkwAAAAoKAAAAAP///wAOAAAAAAEBeQgAAMgAAAAJgwkAAAEAAAADAAAAAXoIAACQAAAACYQJAAAKAXwIAABECAAACZ8EAAAJAQAAAAmFCQAAAQAAAAAAAEEAAAAAAAAAAAcAAAAAAQF+CAAAkAAAAAmGCQAACgeHCAAAAAEAAAAEAAAABB9BcGxvcmlzLkJhc2UuT2JqZWN0cy5EYXRhT2JqZWN0AwAAAAl8CAAADQMHiAgAAAABAAAABAAAAAQcQXBsb3Jpcy5CYXNlLlVJLlZpc3VhbE9iamVjdAMAAAAJuAUAAAm6BQAACgoFjwg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mgBAAACgAAAAAAKEEJkQAAAAmSAAAACYcJAAABAAmICQAAAZAIAACTAAAACgoAAAAA////AA4AAAAAAQGVCAAAyAAAAAmJCQAAAQAAAAMAAAABlggAAJAAAAAJigkAAAoBmAgAAEQIAAAJoAQAAAkBAAAACYsJAAABAAAAAAAAQQAAAAAAAAAABwAAAAABAZoIAACQAAAACYwJAAAKB6MIAAAAAQAAAAQAAAAEH0FwbG9yaXMuQmFzZS5PYmplY3RzLkRhdGFPYmplY3QDAAAACZgIAAANAwekCAAAAAEAAAAEAAAABBxBcGxvcmlzLkJhc2UuVUkuVmlzdWFsT2JqZWN0AwAAAAm/BQAACcEFAAAKCgWrC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aEEAAAKAAAAAAAoQQmRAAAACZIAAAAJjQkAAAEACY4JAAABrAgAAJMAAAAKCgAAAAD///8ADgAAAAABAbEIAADIAAAACY8JAAABAAAAAwAAAAGyCAAAkAAAAAmQCQAACgG0CAAARAgAAAmhBAAACQEAAAAJkQkAAAEAAAAAAABBAAAAAAAAAAAHAAAAAAEBtggAAJAAAAAJkgkAAAoHvwgAAAABAAAABAAAAAQfQXBsb3Jpcy5CYXNlLk9iamVjdHMuRGF0YU9iamVjdAMAAAAJtAgAAA0DB8AIAAAAAQAAAAQAAAAEHEFwbG9yaXMuQmFzZS5VSS5WaXN1YWxPYmplY3QDAAAACcYFAAAJyAUAAAoKAcEIAACTAAAACgoAAAAA////AA4AAAAAAAHCCAAAkwAAAAoKAAAAAP///wAOAAAAAAEHwwgAAAABAAAABAAAAAQdQXBsb3Jpcy5CYXNlLk9iamVjdHMuVmFyaWFibGUDAAAAAZMJAAB+BAAAAQAAAAAAAAABlAkAAH4EAAAAAAAAAAAAAAGVCQAAfgQAAAAAAAAAAAAAAZYJAAB+BAAAAAAAAAAAAAAPxAgAAAEAAAAIOAAAAAXFCAAAGkFwbG9yaXMuQmFzZS5PYmplY3RzLkNvbG9yBwAAABJEYXRhT2JqZWN0K21QYXJlbnQVRGF0YU9iamVjdCttQ29udGFpbmVyBW1UeXBlBG1SR0IQbVRoZW1lQ29sb3JJbmRleAxtQXV0b1VwZGF0ZWQJbU1vZGlmaWVkBAIAAAAAAB9BcGxvcmlzLkJhc2UuT2JqZWN0cy5MaW5lRm9ybWF0AwAAAAgICAEBAwAAAAkBBgAACgAAAAD///8ADgAAAAAABcYIAAAaQXBsb3Jpcy5CYXNlLk9iamVjdHMuQ29sb3IHAAAAEkRhdGFPYmplY3QrbVBhcmVudBVEYXRhT2JqZWN0K21Db250YWluZXIFbVR5cGUEbVJHQhBtVGhlbWVDb2xvckluZGV4DG1BdXRvVXBkYXRlZAltTW9kaWZpZWQEAgAAAAAAH0FwbG9yaXMuQmFzZS5PYmplY3RzLkxpbmVGb3JtYXQDAAAACAgIAQEDAAAACQEGAAAKAQAAAAAAAAD/////AAEBxwgAAJMAAAAKCgAAAAA2bIcABQAAAAAAAcgIAACTAAAACgoBAAAA////AP////8AAA/JCAAAAQAAAAgMAAAAAcoIAACTAAAACgoAAAAA////AA4AAAAAAAHLCAAAkwAAAAoKAAAAAP///wAOAAAAAAEHzAgAAAABAAAABAAAAAQdQXBsb3Jpcy5CYXNlLk9iamVjdHMuVmFyaWFibGUDAAAAAZcJAAB+BAAAAQAAAAAAAAABmAkAAH4EAAAAAAAAAAAAAAGZCQAAfgQAAAAAAAAAAAAAAZoJAAB+BAAAAAAAAAAAAAAPzQgAAAEAAAAIOgAAAAXOCAAAGkFwbG9yaXMuQmFzZS5PYmplY3RzLkNvbG9yBwAAABJEYXRhT2JqZWN0K21QYXJlbnQVRGF0YU9iamVjdCttQ29udGFpbmVyBW1UeXBlBG1SR0IQbVRoZW1lQ29sb3JJbmRleAxtQXV0b1VwZGF0ZWQJbU1vZGlmaWVkBAIAAAAAAB9BcGxvcmlzLkJhc2UuT2JqZWN0cy5MaW5lRm9ybWF0AwAAAAgICAEBAwAAAAkeBgAACgAAAAD///8ADgAAAAAABc8IAAAaQXBsb3Jpcy5CYXNlLk9iamVjdHMuQ29sb3IHAAAAEkRhdGFPYmplY3QrbVBhcmVudBVEYXRhT2JqZWN0K21Db250YWluZXIFbVR5cGUEbVJHQhBtVGhlbWVDb2xvckluZGV4DG1BdXRvVXBkYXRlZAltTW9kaWZpZWQEAgAAAAAAH0FwbG9yaXMuQmFzZS5PYmplY3RzLkxpbmVGb3JtYXQDAAAACAgIAQEDAAAACR4GAAAKAQAAAAAAAAD/////AAEB0AgAAJMAAAAKCgAAAAA2bIcABQAAAAAAAdEIAACTAAAACgoBAAAA////AP////8AAA/SCAAAAQAAAAgNAAAAAdMIAACTAAAACgoAAAAA////AA4AAAAAAAHUCAAAkwAAAAoKAAAAAP///wAOAAAAAAEH1QgAAAABAAAABAAAAAQdQXBsb3Jpcy5CYXNlLk9iamVjdHMuVmFyaWFibGUDAAAAAZsJAAB+BAAAAQAAAAAAAAABnAkAAH4EAAAAAAAAAAAAAAGdCQAAfgQAAAAAAAAAAAAAAZ4JAAB+BAAAAAAAAAAAAAAP1ggAAAEAAAAINQAAAAXXCAAAGkFwbG9yaXMuQmFzZS5PYmplY3RzLkNvbG9yBwAAABJEYXRhT2JqZWN0K21QYXJlbnQVRGF0YU9iamVjdCttQ29udGFpbmVyBW1UeXBlBG1SR0IQbVRoZW1lQ29sb3JJbmRleAxtQXV0b1VwZGF0ZWQJbU1vZGlmaWVkBAIAAAAAAB9BcGxvcmlzLkJhc2UuT2JqZWN0cy5MaW5lRm9ybWF0AwAAAAgICAEBAwAAAAk7BgAACgAAAAD///8ADgAAAAAABdgIAAAaQXBsb3Jpcy5CYXNlLk9iamVjdHMuQ29sb3IHAAAAEkRhdGFPYmplY3QrbVBhcmVudBVEYXRhT2JqZWN0K21Db250YWluZXIFbVR5cGUEbVJHQhBtVGhlbWVDb2xvckluZGV4DG1BdXRvVXBkYXRlZAltTW9kaWZpZWQEAgAAAAAAH0FwbG9yaXMuQmFzZS5PYmplY3RzLkxpbmVGb3JtYXQDAAAACAgIAQEDAAAACTsGAAAKAQAAAAAAAAD/////AAEB2QgAAJMAAAAKCgAAAAA2bIcABQAAAAAAAdoIAACTAAAACgoBAAAA////AP////8AAA/bCAAAAQAAAAgKAAAAAdwIAACTAAAACgoAAAAA////AA4AAAAAAAHdCAAAkwAAAAoKAAAAAP///wAOAAAAAAEH3ggAAAABAAAABAAAAAQdQXBsb3Jpcy5CYXNlLk9iamVjdHMuVmFyaWFibGUDAAAAAZ8JAAB+BAAAAQAAAAAAAAABoAkAAH4EAAAAAAAAAAAAAAGhCQAAfgQAAAAAAAAAAAAAAaIJAAB+BAAAAAAAAAAAAAAP3wgAAAEAAAAINwAAAAXgCAAAGkFwbG9yaXMuQmFzZS5PYmplY3RzLkNvbG9yBwAAABJEYXRhT2JqZWN0K21QYXJlbnQVRGF0YU9iamVjdCttQ29udGFpbmVyBW1UeXBlBG1SR0IQbVRoZW1lQ29sb3JJbmRleAxtQXV0b1VwZGF0ZWQJbU1vZGlmaWVkBAIAAAAAAB9BcGxvcmlzLkJhc2UuT2JqZWN0cy5MaW5lRm9ybWF0AwAAAAgICAEBAwAAAAlYBgAACgAAAAD///8ADgAAAAAABeEIAAAaQXBsb3Jpcy5CYXNlLk9iamVjdHMuQ29sb3IHAAAAEkRhdGFPYmplY3QrbVBhcmVudBVEYXRhT2JqZWN0K21Db250YWluZXIFbVR5cGUEbVJHQhBtVGhlbWVDb2xvckluZGV4DG1BdXRvVXBkYXRlZAltTW9kaWZpZWQEAgAAAAAAH0FwbG9yaXMuQmFzZS5PYmplY3RzLkxpbmVGb3JtYXQDAAAACAgIAQEDAAAACVgGAAAKAQAAAAAAAAD/////AAEB4ggAAJMAAAAKCgAAAAA2bIcABQAAAAAAAeMIAACTAAAACgoBAAAA////AP////8AAA/kCAAAAQAAAAgIAAAAAeUIAACTAAAACgoAAAAA////AA4AAAAAAAHmCAAAkwAAAAoKAAAAAP///wAOAAAAAAEH5wgAAAABAAAABAAAAAQdQXBsb3Jpcy5CYXNlLk9iamVjdHMuVmFyaWFibGUDAAAAAaMJAAB+BAAAAQAAAAAAAAABpAkAAH4EAAAAAAAAAAAAAAGlCQAAfgQAAAAAAAAAAAAAAaYJAAB+BAAAAAAAAAAAAAAP6AgAAAEAAAAINgAAAAXpCAAAGkFwbG9yaXMuQmFzZS5PYmplY3RzLkNvbG9yBwAAABJEYXRhT2JqZWN0K21QYXJlbnQVRGF0YU9iamVjdCttQ29udGFpbmVyBW1UeXBlBG1SR0IQbVRoZW1lQ29sb3JJbmRleAxtQXV0b1VwZGF0ZWQJbU1vZGlmaWVkBAIAAAAAAB9BcGxvcmlzLkJhc2UuT2JqZWN0cy5MaW5lRm9ybWF0AwAAAAgICAEBAwAAAAl1BgAACgAAAAD///8ADgAAAAAABeoIAAAaQXBsb3Jpcy5CYXNlLk9iamVjdHMuQ29sb3IHAAAAEkRhdGFPYmplY3QrbVBhcmVudBVEYXRhT2JqZWN0K21Db250YWluZXIFbVR5cGUEbVJHQhBtVGhlbWVDb2xvckluZGV4DG1BdXRvVXBkYXRlZAltTW9kaWZpZWQEAgAAAAAAH0FwbG9yaXMuQmFzZS5PYmplY3RzLkxpbmVGb3JtYXQDAAAACAgIAQEDAAAACXUGAAAKAQAAAAAAAAD/////AAEB6wgAAJMAAAAKCgAAAAA2bIcABQAAAAAAAewIAACTAAAACgoBAAAA////AP////8AAA/tCAAAAQAAAAgJAAAAAe4IAACTAAAACgoAAAAA////AA4AAAAAAAHvCAAAkwAAAAoKAAAAAP///wAOAAAAAAEH8AgAAAABAAAABAAAAAQdQXBsb3Jpcy5CYXNlLk9iamVjdHMuVmFyaWFibGUDAAAAAacJAAB+BAAAAQAAAAAAAAABqAkAAH4EAAAAAAAAAAAAAAGpCQAAfgQAAAAAAAAAAAAAAaoJAAB+BAAAAAAAAAAAAAAP8QgAAAEAAAAILQAAAAXyCAAAGkFwbG9yaXMuQmFzZS5PYmplY3RzLkNvbG9yBwAAABJEYXRhT2JqZWN0K21QYXJlbnQVRGF0YU9iamVjdCttQ29udGFpbmVyBW1UeXBlBG1SR0IQbVRoZW1lQ29sb3JJbmRleAxtQXV0b1VwZGF0ZWQJbU1vZGlmaWVkBAIAAAAAAB9BcGxvcmlzLkJhc2UuT2JqZWN0cy5MaW5lRm9ybWF0AwAAAAgICAEBAwAAAAmSBgAACgAAAAD///8ADgAAAAAABfMIAAAaQXBsb3Jpcy5CYXNlLk9iamVjdHMuQ29sb3IHAAAAEkRhdGFPYmplY3QrbVBhcmVudBVEYXRhT2JqZWN0K21Db250YWluZXIFbVR5cGUEbVJHQhBtVGhlbWVDb2xvckluZGV4DG1BdXRvVXBkYXRlZAltTW9kaWZpZWQEAgAAAAAAH0FwbG9yaXMuQmFzZS5PYmplY3RzLkxpbmVGb3JtYXQDAAAACAgIAQEDAAAACZIGAAAKAQAAAAAAAAD/////AAEB9AgAAJMAAAAKCgAAAAByhIwABgAAAAAAAfUIAACTAAAACgoBAAAA////AP////8AAA/2CAAAAQAAAAgEAAAAAfcIAACTAAAACgoAAAAA////AA4AAAAAAAH4CAAAkwAAAAoKAAAAAP///wAOAAAAAAEH+QgAAAABAAAABAAAAAQdQXBsb3Jpcy5CYXNlLk9iamVjdHMuVmFyaWFibGUDAAAAAasJAAB+BAAAAQAAAAAAAAABrAkAAH4EAAAAAAAAAAAAAAGtCQAAfgQAAAAAAAAAAAAAAa4JAAB+BAAAAAAAAAAAAAAP+ggAAAEAAAAIKQAAAAX7CAAAGkFwbG9yaXMuQmFzZS5PYmplY3RzLkNvbG9yBwAAABJEYXRhT2JqZWN0K21QYXJlbnQVRGF0YU9iamVjdCttQ29udGFpbmVyBW1UeXBlBG1SR0IQbVRoZW1lQ29sb3JJbmRleAxtQXV0b1VwZGF0ZWQJbU1vZGlmaWVkBAIAAAAAAB9BcGxvcmlzLkJhc2UuT2JqZWN0cy5MaW5lRm9ybWF0AwAAAAgICAEBAwAAAAmvBgAACgAAAAD///8ADgAAAAAABfwIAAAaQXBsb3Jpcy5CYXNlLk9iamVjdHMuQ29sb3IHAAAAEkRhdGFPYmplY3QrbVBhcmVudBVEYXRhT2JqZWN0K21Db250YWluZXIFbVR5cGUEbVJHQhBtVGhlbWVDb2xvckluZGV4DG1BdXRvVXBkYXRlZAltTW9kaWZpZWQEAgAAAAAAH0FwbG9yaXMuQmFzZS5PYmplY3RzLkxpbmVGb3JtYXQDAAAACAgIAQEDAAAACa8GAAAKAQAAAAAAAAD/////AAEB/QgAAJMAAAAKCgAAAAByhIwABgAAAAAAAf4IAACTAAAACgoBAAAA////AP////8AAA//CAAAAQAAAAgBAAAAAQAJAACTAAAACgoAAAAA////AA4AAAAAAAEBCQAAkwAAAAoKAAAAAP///wAOAAAAAAEHAgkAAAABAAAABAAAAAQdQXBsb3Jpcy5CYXNlLk9iamVjdHMuVmFyaWFibGUDAAAAAa8JAAB+BAAAAQAAAAAAAAABsAkAAH4EAAAAAAAAAAAAAAGxCQAAfgQAAAAAAAAAAAAAAbIJAAB+BAAAAAAAAAAAAAAPAwkAAAEAAAAIKgAAAAUECQAAGkFwbG9yaXMuQmFzZS5PYmplY3RzLkNvbG9yBwAAABJEYXRhT2JqZWN0K21QYXJlbnQVRGF0YU9iamVjdCttQ29udGFpbmVyBW1UeXBlBG1SR0IQbVRoZW1lQ29sb3JJbmRleAxtQXV0b1VwZGF0ZWQJbU1vZGlmaWVkBAIAAAAAAB9BcGxvcmlzLkJhc2UuT2JqZWN0cy5MaW5lRm9ybWF0AwAAAAgICAEBAwAAAAnMBgAACgAAAAD///8ADgAAAAAABQUJAAAaQXBsb3Jpcy5CYXNlLk9iamVjdHMuQ29sb3IHAAAAEkRhdGFPYmplY3QrbVBhcmVudBVEYXRhT2JqZWN0K21Db250YWluZXIFbVR5cGUEbVJHQhBtVGhlbWVDb2xvckluZGV4DG1BdXRvVXBkYXRlZAltTW9kaWZpZWQEAgAAAAAAH0FwbG9yaXMuQmFzZS5PYmplY3RzLkxpbmVGb3JtYXQDAAAACAgIAQEDAAAACcwGAAAKAQAAAAAAAAD/////AAEBBgkAAJMAAAAKCgAAAAByhIwABgAAAAAAAQcJAACTAAAACgoBAAAA////AP////8AAA8ICQAAAQAAAAgCAAAAAQkJAACTAAAACgoAAAAA////AA4AAAAAAAEKCQAAkwAAAAoKAAAAAP///wAOAAAAAAEHCwkAAAABAAAABAAAAAQdQXBsb3Jpcy5CYXNlLk9iamVjdHMuVmFyaWFibGUDAAAAAbMJAAB+BAAAAQAAAAAAAAABtAkAAH4EAAAAAAAAAAAAAAG1CQAAfgQAAAAAAAAAAAAAAbYJAAB+BAAAAAAAAAAAAAAPDAkAAAEAAAAIKwAAAAUNCQAAGkFwbG9yaXMuQmFzZS5PYmplY3RzLkNvbG9yBwAAABJEYXRhT2JqZWN0K21QYXJlbnQVRGF0YU9iamVjdCttQ29udGFpbmVyBW1UeXBlBG1SR0IQbVRoZW1lQ29sb3JJbmRleAxtQXV0b1VwZGF0ZWQJbU1vZGlmaWVkBAIAAAAAAB9BcGxvcmlzLkJhc2UuT2JqZWN0cy5MaW5lRm9ybWF0AwAAAAgICAEBAwAAAAnpBgAACgAAAAD///8ADgAAAAAABQ4JAAAaQXBsb3Jpcy5CYXNlLk9iamVjdHMuQ29sb3IHAAAAEkRhdGFPYmplY3QrbVBhcmVudBVEYXRhT2JqZWN0K21Db250YWluZXIFbVR5cGUEbVJHQhBtVGhlbWVDb2xvckluZGV4DG1BdXRvVXBkYXRlZAltTW9kaWZpZWQEAgAAAAAAH0FwbG9yaXMuQmFzZS5PYmplY3RzLkxpbmVGb3JtYXQDAAAACAgIAQEDAAAACekGAAAKAQAAAAAAAAD/////AAEBDwkAAJMAAAAKCgAAAAByhIwABgAAAAAAARAJAACTAAAACgoBAAAA////AP////8AAA8RCQAAAQAAAAgDAAAAARIJAACTAAAACgoAAAAA////AA4AAAAAAAETCQAAkwAAAAoKAAAAAP///wAOAAAAAAEHFAkAAAABAAAABAAAAAQdQXBsb3Jpcy5CYXNlLk9iamVjdHMuVmFyaWFibGUDAAAAAbcJAAB+BAAAAQAAAAAAAAABuAkAAH4EAAAAAAAAAAAAAAG5CQAAfgQAAAAAAAAAAAAAAboJAAB+BAAAAAAAAAAAAAAPFQkAAAEAAAAIOQAAAAUWCQAAGkFwbG9yaXMuQmFzZS5PYmplY3RzLkNvbG9yBwAAABJEYXRhT2JqZWN0K21QYXJlbnQVRGF0YU9iamVjdCttQ29udGFpbmVyBW1UeXBlBG1SR0IQbVRoZW1lQ29sb3JJbmRleAxtQXV0b1VwZGF0ZWQJbU1vZGlmaWVkBAIAAAAAAB9BcGxvcmlzLkJhc2UuT2JqZWN0cy5MaW5lRm9ybWF0AwAAAAgICAEBAwAAAAkGBwAACgAAAAD///8ADgAAAAAABRcJAAAaQXBsb3Jpcy5CYXNlLk9iamVjdHMuQ29sb3IHAAAAEkRhdGFPYmplY3QrbVBhcmVudBVEYXRhT2JqZWN0K21Db250YWluZXIFbVR5cGUEbVJHQhBtVGhlbWVDb2xvckluZGV4DG1BdXRvVXBkYXRlZAltTW9kaWZpZWQEAgAAAAAAH0FwbG9yaXMuQmFzZS5PYmplY3RzLkxpbmVGb3JtYXQDAAAACAgIAQEDAAAACQYHAAAKAQAAAAAAAAD/////AAEBGAkAAJMAAAAKCgAAAAByhIwABgAAAAAAARkJAACTAAAACgoBAAAA////AP////8AAA8aCQAAAQAAAAgLAAAAARsJAACTAAAACgoAAAAA////AA4AAAAAAAEcCQAAkwAAAAoKAAAAAP///wAOAAAAAAEHHQkAAAABAAAABAAAAAQdQXBsb3Jpcy5CYXNlLk9iamVjdHMuVmFyaWFibGUDAAAAAbsJAAB+BAAAAQAAAAAAAAABvAkAAH4EAAAAAAAAAAAAAAG9CQAAfgQAAAAAAAAAAAAAAb4JAAB+BAAAAAAAAAAAAAAPHgkAAAEAAAAIMgAAAAUfCQAAGkFwbG9yaXMuQmFzZS5PYmplY3RzLkNvbG9yBwAAABJEYXRhT2JqZWN0K21QYXJlbnQVRGF0YU9iamVjdCttQ29udGFpbmVyBW1UeXBlBG1SR0IQbVRoZW1lQ29sb3JJbmRleAxtQXV0b1VwZGF0ZWQJbU1vZGlmaWVkBAIAAAAAAB9BcGxvcmlzLkJhc2UuT2JqZWN0cy5MaW5lRm9ybWF0AwAAAAgICAEBAwAAAAkjBwAACgAAAAD///8ADgAAAAAABSAJAAAaQXBsb3Jpcy5CYXNlLk9iamVjdHMuQ29sb3IHAAAAEkRhdGFPYmplY3QrbVBhcmVudBVEYXRhT2JqZWN0K21Db250YWluZXIFbVR5cGUEbVJHQhBtVGhlbWVDb2xvckluZGV4DG1BdXRvVXBkYXRlZAltTW9kaWZpZWQEAgAAAAAAH0FwbG9yaXMuQmFzZS5PYmplY3RzLkxpbmVGb3JtYXQDAAAACAgIAQEDAAAACSMHAAAKAQAAAAAAAAD/////AAEBIQkAAJMAAAAKCgAAAADtISUABwAAAAAAASIJAACTAAAACgoBAAAA////AP////8AAA8jCQAAAQAAAAgPAAAAASQJAACTAAAACgoAAAAA////AA4AAAAAAAElCQAAkwAAAAoKAAAAAP///wAOAAAAAAEHJgkAAAABAAAABAAAAAQdQXBsb3Jpcy5CYXNlLk9iamVjdHMuVmFyaWFibGUDAAAAAb8JAAB+BAAAAQAAAAAAAAABwAkAAH4EAAAAAAAAAAAAAAHBCQAAfgQAAAAAAAAAAAAAAcIJAAB+BAAAAAAAAAAAAAAPJwkAAAEAAAAILAAAAAUoCQAAGkFwbG9yaXMuQmFzZS5PYmplY3RzLkNvbG9yBwAAABJEYXRhT2JqZWN0K21QYXJlbnQVRGF0YU9iamVjdCttQ29udGFpbmVyBW1UeXBlBG1SR0IQbVRoZW1lQ29sb3JJbmRleAxtQXV0b1VwZGF0ZWQJbU1vZGlmaWVkBAIAAAAAAB9BcGxvcmlzLkJhc2UuT2JqZWN0cy5MaW5lRm9ybWF0AwAAAAgICAEBAwAAAAlABwAACgAAAAD///8ADgAAAAAABSkJAAAaQXBsb3Jpcy5CYXNlLk9iamVjdHMuQ29sb3IHAAAAEkRhdGFPYmplY3QrbVBhcmVudBVEYXRhT2JqZWN0K21Db250YWluZXIFbVR5cGUEbVJHQhBtVGhlbWVDb2xvckluZGV4DG1BdXRvVXBkYXRlZAltTW9kaWZpZWQEAgAAAAAAH0FwbG9yaXMuQmFzZS5PYmplY3RzLkxpbmVGb3JtYXQDAAAACAgIAQEDAAAACUAHAAAKAQAAAAAAAAD/////AAEBKgkAAJMAAAAKCgAAAADtISUABwAAAAAAASsJAACTAAAACgoBAAAA////AP////8AAA8sCQAAAQAAAAgOAAAAAS0JAACTAAAACgoAAAAA////AA4AAAAAAAEuCQAAkwAAAAoKAAAAAP///wAOAAAAAAEHLwkAAAABAAAABAAAAAQdQXBsb3Jpcy5CYXNlLk9iamVjdHMuVmFyaWFibGUDAAAAAcMJAAB+BAAAAQAAAAAAAAABxAkAAH4EAAAAAAAAAAAAAAHFCQAAfgQAAAAAAAAAAAAAAcYJAAB+BAAAAAAAAAAAAAAPMAkAAAEAAAAILgAAAAUxCQAAGkFwbG9yaXMuQmFzZS5PYmplY3RzLkNvbG9yBwAAABJEYXRhT2JqZWN0K21QYXJlbnQVRGF0YU9iamVjdCttQ29udGFpbmVyBW1UeXBlBG1SR0IQbVRoZW1lQ29sb3JJbmRleAxtQXV0b1VwZGF0ZWQJbU1vZGlmaWVkBAIAAAAAAB9BcGxvcmlzLkJhc2UuT2JqZWN0cy5MaW5lRm9ybWF0AwAAAAgICAEBAwAAAAldBwAACgAAAAD///8ADgAAAAAABTIJAAAaQXBsb3Jpcy5CYXNlLk9iamVjdHMuQ29sb3IHAAAAEkRhdGFPYmplY3QrbVBhcmVudBVEYXRhT2JqZWN0K21Db250YWluZXIFbVR5cGUEbVJHQhBtVGhlbWVDb2xvckluZGV4DG1BdXRvVXBkYXRlZAltTW9kaWZpZWQEAgAAAAAAH0FwbG9yaXMuQmFzZS5PYmplY3RzLkxpbmVGb3JtYXQDAAAACAgIAQEDAAAACV0HAAAKAQAAAAAAAAD/////AAEBMwkAAJMAAAAKCgAAAADtISUABwAAAAAAATQJAACTAAAACgoBAAAA////AP////8AAA81CQAAAQAAAAgFAAAAATYJAACTAAAACgoAAAAA////AA4AAAAAAAE3CQAAkwAAAAoKAAAAAP///wAOAAAAAAEHOAkAAAABAAAABAAAAAQdQXBsb3Jpcy5CYXNlLk9iamVjdHMuVmFyaWFibGUDAAAAAccJAAB+BAAAAQAAAAAAAAAByAkAAH4EAAAAAAAAAAAAAAHJCQAAfgQAAAAAAAAAAAAAAcoJAAB+BAAAAAAAAAAAAAAPOQkAAAEAAAAILwAAAAU6CQAAGkFwbG9yaXMuQmFzZS5PYmplY3RzLkNvbG9yBwAAABJEYXRhT2JqZWN0K21QYXJlbnQVRGF0YU9iamVjdCttQ29udGFpbmVyBW1UeXBlBG1SR0IQbVRoZW1lQ29sb3JJbmRleAxtQXV0b1VwZGF0ZWQJbU1vZGlmaWVkBAIAAAAAAB9BcGxvcmlzLkJhc2UuT2JqZWN0cy5MaW5lRm9ybWF0AwAAAAgICAEBAwAAAAl6BwAACgAAAAD///8ADgAAAAAABTsJAAAaQXBsb3Jpcy5CYXNlLk9iamVjdHMuQ29sb3IHAAAAEkRhdGFPYmplY3QrbVBhcmVudBVEYXRhT2JqZWN0K21Db250YWluZXIFbVR5cGUEbVJHQhBtVGhlbWVDb2xvckluZGV4DG1BdXRvVXBkYXRlZAltTW9kaWZpZWQEAgAAAAAAH0FwbG9yaXMuQmFzZS5PYmplY3RzLkxpbmVGb3JtYXQDAAAACAgIAQEDAAAACXoHAAAKAQAAAAAAAAD/////AAEBPAkAAJMAAAAKCgAAAADtISUABwAAAAAAAT0JAACTAAAACgoBAAAA////AP////8AAA8+CQAAAQAAAAgGAAAAAT8JAACTAAAACgoAAAAA////AA4AAAAAAAFACQAAkwAAAAoKAAAAAP///wAOAAAAAAEHQQkAAAABAAAABAAAAAQdQXBsb3Jpcy5CYXNlLk9iamVjdHMuVmFyaWFibGUDAAAAAcsJAAB+BAAAAQAAAAAAAAABzAkAAH4EAAAAAAAAAAAAAAHNCQAAfgQAAAAAAAAAAAAAAc4JAAB+BAAAAAAAAAAAAAAPQgkAAAEAAAAIMAAAAAVDCQAAGkFwbG9yaXMuQmFzZS5PYmplY3RzLkNvbG9yBwAAABJEYXRhT2JqZWN0K21QYXJlbnQVRGF0YU9iamVjdCttQ29udGFpbmVyBW1UeXBlBG1SR0IQbVRoZW1lQ29sb3JJbmRleAxtQXV0b1VwZGF0ZWQJbU1vZGlmaWVkBAIAAAAAAB9BcGxvcmlzLkJhc2UuT2JqZWN0cy5MaW5lRm9ybWF0AwAAAAgICAEBAwAAAAmXBwAACgAAAAD///8ADgAAAAAABUQJAAAaQXBsb3Jpcy5CYXNlLk9iamVjdHMuQ29sb3IHAAAAEkRhdGFPYmplY3QrbVBhcmVudBVEYXRhT2JqZWN0K21Db250YWluZXIFbVR5cGUEbVJHQhBtVGhlbWVDb2xvckluZGV4DG1BdXRvVXBkYXRlZAltTW9kaWZpZWQEAgAAAAAAH0FwbG9yaXMuQmFzZS5PYmplY3RzLkxpbmVGb3JtYXQDAAAACAgIAQEDAAAACZcHAAAKAQAAAAAAAAD/////AAEBRQkAAJMAAAAKCgAAAADtISUABwAAAAAAAUYJAACTAAAACgoBAAAA////AP////8AAA9HCQAAAQAAAAgHAAAAAUgJAACTAAAACgoAAAAA////AA4AAAAAAAFJCQAAkwAAAAoKAAAAAP///wAOAAAAAAEHSgkAAAABAAAABAAAAAQdQXBsb3Jpcy5CYXNlLk9iamVjdHMuVmFyaWFibGUDAAAAAc8JAAB+BAAAAQAAAAAAAAAB0AkAAH4EAAAAAAAAAAAAAAHRCQAAfgQAAAAAAAAAAAAAAdIJAAB+BAAAAAAAAAAAAAAPSwkAAAEAAAAINAAAAAVMCQAAGkFwbG9yaXMuQmFzZS5PYmplY3RzLkNvbG9yBwAAABJEYXRhT2JqZWN0K21QYXJlbnQVRGF0YU9iamVjdCttQ29udGFpbmVyBW1UeXBlBG1SR0IQbVRoZW1lQ29sb3JJbmRleAxtQXV0b1VwZGF0ZWQJbU1vZGlmaWVkBAIAAAAAAB9BcGxvcmlzLkJhc2UuT2JqZWN0cy5MaW5lRm9ybWF0AwAAAAgICAEBAwAAAAm0BwAACgAAAAD///8ADgAAAAAABU0JAAAaQXBsb3Jpcy5CYXNlLk9iamVjdHMuQ29sb3IHAAAAEkRhdGFPYmplY3QrbVBhcmVudBVEYXRhT2JqZWN0K21Db250YWluZXIFbVR5cGUEbVJHQhBtVGhlbWVDb2xvckluZGV4DG1BdXRvVXBkYXRlZAltTW9kaWZpZWQEAgAAAAAAH0FwbG9yaXMuQmFzZS5PYmplY3RzLkxpbmVGb3JtYXQDAAAACAgIAQEDAAAACbQHAAAKAQAAAAAAAAD/////AAEBTgkAAJMAAAAKCgAAAABGOzQACAAAAAAAAU8JAACTAAAACgoBAAAA////AP////8AAA9QCQAAAQAAAAgSAAAAAVEJAACTAAAACgoAAAAA////AA4AAAAAAAFSCQAAkwAAAAoKAAAAAP///wAOAAAAAAEHUwkAAAABAAAABAAAAAQdQXBsb3Jpcy5CYXNlLk9iamVjdHMuVmFyaWFibGUDAAAAAdMJAAB+BAAAAQAAAAAAAAAB1AkAAH4EAAAAAAAAAAAAAAHVCQAAfgQAAAAAAAAAAAAAAdYJAAB+BAAAAAAAAAAAAAAPVAkAAAEAAAAIOwAAAAVVCQAAGkFwbG9yaXMuQmFzZS5PYmplY3RzLkNvbG9yBwAAABJEYXRhT2JqZWN0K21QYXJlbnQVRGF0YU9iamVjdCttQ29udGFpbmVyBW1UeXBlBG1SR0IQbVRoZW1lQ29sb3JJbmRleAxtQXV0b1VwZGF0ZWQJbU1vZGlmaWVkBAIAAAAAAB9BcGxvcmlzLkJhc2UuT2JqZWN0cy5MaW5lRm9ybWF0AwAAAAgICAEBAwAAAAnRBwAACgAAAAD///8ADgAAAAAABVYJAAAaQXBsb3Jpcy5CYXNlLk9iamVjdHMuQ29sb3IHAAAAEkRhdGFPYmplY3QrbVBhcmVudBVEYXRhT2JqZWN0K21Db250YWluZXIFbVR5cGUEbVJHQhBtVGhlbWVDb2xvckluZGV4DG1BdXRvVXBkYXRlZAltTW9kaWZpZWQEAgAAAAAAH0FwbG9yaXMuQmFzZS5PYmplY3RzLkxpbmVGb3JtYXQDAAAACAgIAQEDAAAACdEHAAAKAQAAAAAAAAD/////AAEBVwkAAJMAAAAKCgAAAABGOzQACAAAAAAAAVgJAACTAAAACgoBAAAA////AP////8AAA9ZCQAAAQAAAAgTAAAAAVoJAACTAAAACgoAAAAA////AA4AAAAAAAFbCQAAkwAAAAoKAAAAAP///wAOAAAAAAEHXAkAAAABAAAABAAAAAQdQXBsb3Jpcy5CYXNlLk9iamVjdHMuVmFyaWFibGUDAAAAAdcJAAB+BAAAAQAAAAAAAAAB2AkAAH4EAAAAAAAAAAAAAAHZCQAAfgQAAAAAAAAAAAAAAdoJAAB+BAAAAAAAAAAAAAAPXQkAAAEAAAAIMwAAAAVeCQAAGkFwbG9yaXMuQmFzZS5PYmplY3RzLkNvbG9yBwAAABJEYXRhT2JqZWN0K21QYXJlbnQVRGF0YU9iamVjdCttQ29udGFpbmVyBW1UeXBlBG1SR0IQbVRoZW1lQ29sb3JJbmRleAxtQXV0b1VwZGF0ZWQJbU1vZGlmaWVkBAIAAAAAAB9BcGxvcmlzLkJhc2UuT2JqZWN0cy5MaW5lRm9ybWF0AwAAAAgICAEBAwAAAAnuBwAACgAAAAD///8ADgAAAAAABV8JAAAaQXBsb3Jpcy5CYXNlLk9iamVjdHMuQ29sb3IHAAAAEkRhdGFPYmplY3QrbVBhcmVudBVEYXRhT2JqZWN0K21Db250YWluZXIFbVR5cGUEbVJHQhBtVGhlbWVDb2xvckluZGV4DG1BdXRvVXBkYXRlZAltTW9kaWZpZWQEAgAAAAAAH0FwbG9yaXMuQmFzZS5PYmplY3RzLkxpbmVGb3JtYXQDAAAACAgIAQEDAAAACe4HAAAKAQAAAAAAAAD/////AAEBYAkAAJMAAAAKCgAAAABGOzQACAAAAAAAAWEJAACTAAAACgoBAAAA////AP////8AAA9iCQAAAQAAAAgQAAAAAWMJAACTAAAACgoAAAAA////AA4AAAAAAAFkCQAAkwAAAAoKAAAAAP///wAOAAAAAAEHZQkAAAABAAAABAAAAAQdQXBsb3Jpcy5CYXNlLk9iamVjdHMuVmFyaWFibGUDAAAAAdsJAAB+BAAAAQAAAAAAAAAB3AkAAH4EAAAAAAAAAAAAAAHdCQAAfgQAAAAAAAAAAAAAAd4JAAB+BAAAAAAAAAAAAAAPZgkAAAEAAAAIKAAAAAVnCQAAGkFwbG9yaXMuQmFzZS5PYmplY3RzLkNvbG9yBwAAABJEYXRhT2JqZWN0K21QYXJlbnQVRGF0YU9iamVjdCttQ29udGFpbmVyBW1UeXBlBG1SR0IQbVRoZW1lQ29sb3JJbmRleAxtQXV0b1VwZGF0ZWQJbU1vZGlmaWVkBAIAAAAAAB9BcGxvcmlzLkJhc2UuT2JqZWN0cy5MaW5lRm9ybWF0AwAAAAgICAEBAwAAAAkLCAAACgAAAAD///8ADgAAAAAABWgJAAAaQXBsb3Jpcy5CYXNlLk9iamVjdHMuQ29sb3IHAAAAEkRhdGFPYmplY3QrbVBhcmVudBVEYXRhT2JqZWN0K21Db250YWluZXIFbVR5cGUEbVJHQhBtVGhlbWVDb2xvckluZGV4DG1BdXRvVXBkYXRlZAltTW9kaWZpZWQEAgAAAAAAH0FwbG9yaXMuQmFzZS5PYmplY3RzLkxpbmVGb3JtYXQDAAAACAgIAQEDAAAACQsIAAAKAQAAAAAAAAD/////AAEBaQkAAJMAAAAKCgAAAABGOzQACAAAAAAAAWoJAACTAAAACgoBAAAA////AP////8AAA9rCQAAAQAAAAgRAAAAAWwJAACTAAAACgoAAAAA////AA4AAAAAAAFtCQAAkwAAAAoKAAAAAP///wAOAAAAAAEHbgkAAAABAAAABAAAAAQdQXBsb3Jpcy5CYXNlLk9iamVjdHMuVmFyaWFibGUDAAAAAd8JAAB+BAAAAQAAAAAAAAAB4AkAAH4EAAAAAAAAAAAAAAHhCQAAfgQAAAAAAAAAAAAAAeIJAAB+BAAAAAAAAAAAAAAPbwkAAAEAAAAIMQAAAAVwCQAAGkFwbG9yaXMuQmFzZS5PYmplY3RzLkNvbG9yBwAAABJEYXRhT2JqZWN0K21QYXJlbnQVRGF0YU9iamVjdCttQ29udGFpbmVyBW1UeXBlBG1SR0IQbVRoZW1lQ29sb3JJbmRleAxtQXV0b1VwZGF0ZWQJbU1vZGlmaWVkBAIAAAAAAB9BcGxvcmlzLkJhc2UuT2JqZWN0cy5MaW5lRm9ybWF0AwAAAAgICAEBAwAAAAkoCAAACgAAAAD///8ADgAAAAAABXEJAAAaQXBsb3Jpcy5CYXNlLk9iamVjdHMuQ29sb3IHAAAAEkRhdGFPYmplY3QrbVBhcmVudBVEYXRhT2JqZWN0K21Db250YWluZXIFbVR5cGUEbVJHQhBtVGhlbWVDb2xvckluZGV4DG1BdXRvVXBkYXRlZAltTW9kaWZpZWQEAgAAAAAAH0FwbG9yaXMuQmFzZS5PYmplY3RzLkxpbmVGb3JtYXQDAAAACAgIAQEDAAAACSgIAAAKAQAAAAAAAAD/////AAEBcgkAAJMAAAAKCgAAAABGOzQACAAAAAAAAXMJAACTAAAACgoBAAAA////AP////8AAA90CQAAAQAAAAgUAAAAAXUJAACTAAAACgoAAAAAAAAAAA0AAAAAAQF2CQAAkwAAAAoKAQAAAAAAAAD/////AAEHdwkAAAABAAAABAAAAAQdQXBsb3Jpcy5CYXNlLk9iamVjdHMuVmFyaWFibGUDAAAAAeMJAAB+BAAAAQAAAAAAAAAB5AkAAH4EAAAAAAAAAAAAAAHlCQAAfgQAAAAAAAAAAAAAAeYJAAB+BAAAAAAAAAAAAAAPeAkAAAEAAAAIAAAAAAF5CQAAkwAAAAoKAAAAAMOYdAAJAAAAAAEPegkAAAAAAAAIAXsJAACTAAAACgoAAAAAAAAAAA0AAAAAAQF8CQAAkwAAAAoKAQAAAAAAAAD/////AAEHfQkAAAABAAAABAAAAAQdQXBsb3Jpcy5CYXNlLk9iamVjdHMuVmFyaWFibGUDAAAAAecJAAB+BAAAAQAAAAAAAAAB6AkAAH4EAAAAAAAAAAAAAAHpCQAAfgQAAAAAAAAAAAAAAeoJAAB+BAAAAAAAAAAAAAAPfgkAAAEAAAAIAAAAAAF/CQAAkwAAAAoKAAAAAMOYdAAJAAAAAAEPgAkAAAAAAAAIAYEJAACTAAAACgoAAAAAAAAAAA0AAAAAAQGCCQAAkwAAAAoKAQAAAAAAAAD/////AAEHgwkAAAABAAAABAAAAAQdQXBsb3Jpcy5CYXNlLk9iamVjdHMuVmFyaWFibGUDAAAAAesJAAB+BAAAAQAAAAAAAAAB7AkAAH4EAAAAAAAAAAAAAAHtCQAAfgQAAAAAAAAAAAAAAe4JAAB+BAAAAAAAAAAAAAAPhAkAAAEAAAAIAAAAAAGFCQAAkwAAAAoKAAAAAMOYdAAJAAAAAAEPhgkAAAAAAAAIAYcJAACTAAAACgoAAAAAAAAAAA0AAAAAAQGICQAAkwAAAAoKAQAAAAAAAAD/////AAEHiQkAAAABAAAABAAAAAQdQXBsb3Jpcy5CYXNlLk9iamVjdHMuVmFyaWFibGUDAAAAAe8JAAB+BAAAAQAAAAAAAAAB8AkAAH4EAAAAAAAAAAAAAAHxCQAAfgQAAAAAAAAAAAAAAfIJAAB+BAAAAAAAAAAAAAAPigkAAAEAAAAIAAAAAAGLCQAAkwAAAAoKAAAAAMOYdAAJAAAAAAEPjAkAAAAAAAAIAY0JAACTAAAACgoAAAAAAAAAAA0AAAAAAQGOCQAAkwAAAAoKAQAAAAAAAAD/////AAEHjwkAAAABAAAABAAAAAQdQXBsb3Jpcy5CYXNlLk9iamVjdHMuVmFyaWFibGUDAAAAAfMJAAB+BAAAAQAAAAAAAAAB9AkAAH4EAAAAAAAAAAAAAAH1CQAAfgQAAAAAAAAAAAAAAfYJAAB+BAAAAAAAAAAAAAAPkAkAAAEAAAAIAAAAAAGRCQAAkwAAAAoKAAAAAMOYdAAJAAAAAAEPkgkAAAAAAAAICw=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7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9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6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9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2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3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7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16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17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18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19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3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6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8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129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29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3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6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87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9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7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AYALkECAC5BUT+OQy3bjkMABB0AAAALU3lzdGVtLkd1aWQLAAAAAl9hAl9iAl9jAl9kAl9lAl9mAl9nAl9oAl9pAl9qAl9rAAAAAAAAAAAAAAAIBwcCAgICAgICAgAAAAAAAAAAAAAAAAAAAAAACgoJHgAAAAAKCgoBAAAAAAAAAP////8AAAEfAAAAFAAAABM7PUNO7MRCtcyLQomduEGcFbZDEL0JQ1EfmUPYiaFDBSAAAAAVU3lzdGVtLkRyYXdpbmcuUG9pbnRGAgAAAAF4AXkAAAsLBAAAAIzbyENWTrhDBiEAAAAQN1YzRGRJNFhYczBDWWE0O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AGAC5BLUuUQwEuAAAAIAAAAFGvk0MtS5RDCS8AAAAJMAAAAAkxAAAACTIAAAAAAAAAAAAAAAAAAAAJMwAAAAAAAAAAAAk0AAAACQEAAAAJAQAAAAk1AAAAAQcAAAAGAAAACQEAAAABNgAAACYAAAAAAAAAzcxMPwAAAAgBAAkBAAAACTcAAAAJOAAAAAEAAAAAAAAAAAAAAAAAAADwPwCamZmZmZnJPwAAACBBAAAJOQAAAAoJOgAAAAk7AAAACTwAAAABPQAAACAAAAAGAC5BLUuUQwE+AAAAIAAAAAYALkECAC5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AwAAAAgBAAAAAgAAAAM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BgAuQQIALkEBaQAAACAAAABRr5NDLUuUQwlqAAAACWsAAAAAAAAACgVsAAAAFFN5c3RlbS5EcmF3aW5nLlNpemVGAgAAAAV3aWR0aAZoZWlnaHQAAAsLBAAAAAAAAAAAAAAAAW0AAABsAAAAAAAAAAAAAAAAAAAAAW4AAAAUAAAAAAAAAAAAAAAAAAAAAAAAABQAAAD/////AQEKCW8AAAABAAoADx4AAABGJwAAAlBLAwQUAAYACAAAACEAkleNNXI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8MwDL4j8R+qXFGbjQNCaN0ODI4wifEDQuKu0ZqH4uz173GzDSE0WtB2adQk38N27NFka5psDQG1syUbFgOWgZVOabso2fv8Ob9nGUZhlWichZLtANlkfH01mu88YEZoiyWrY/QPnKOswQgsnAdLJ5ULRkT6DQvuhVyKBfDbweCOS2cj2JjHloONR1OoxKqJ2dOWtvdOCM6yx/29VqpkwvtGSxHJKG9P+UncuhO3tuqHudxVlZagnFwZslQQfhrEhsL/RSBAgx3OTigcQi8ImdxjrT3eHEJ4pdwHrSCbiRBfhKFA+bbhGxeWH84ti+489MeDPoBQWANE0xRpLYzQ9g/66TLytAwvbKSNLxH3+Ij0oICn7/kWEk2PIMZdA3jptCfSPuVaBFBvMdDbu7iB79w9PqQzbSfgpUt+5O2SpzacBeeRJkSA/xfh2GktOvdEBCFq6Oy1L0UaL2dXHdr5pUCd0OZpXo4/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/uTt5/JoE2hdJdcDJ+Ev+8noe3uZxzEFybqg1dQFSUI9CbY3ncKPprXuycQxNpbPQSPCiYk2NW3N9s3HDTnT+T6SCK7eFLgmOOzlGQcjpqKENHnThvSqDnL1MmozUF3KDdl+SjT0gPqM0+xtwrS3t6DaKaYk//3Dm3bG3wJ5nNEzxciJPE05AFEo1OHrOBPF5kR5OX4h1XjnU5o3znl7S4pluVrMNWaMN8hHcgh8mkdxxLJuVNdg9msCcP5YPAEMks5v0cGeXZx9S8AAAD//wMAUEsDBBQABgAIAAAAIQAQ5vwFogIAAEkFAAAPAAAAeGwvd29ya2Jvb2sueG1spFRdb5swFH2ftP+AeCcGgwmJAlWaDy3SNFVT1z5OjnGCVX9QY5p00/77LjDabn3pNh6wr22Ozz3nXhYXZyW9B24bYXTuR5PQ97hmphT6mPtfrrdB5nuNo7qk0mie+4+88S+K9+8WJ2Pv9sbceQCgm9yvnKvnCDWs4oo2E1NzDTsHYxV1ENojamrLadlUnDslEQ7DFCkqtD8gzO1bMMzhIBhfG9Yqrt0AYrmkDug3laibEU2xt8Apau/aOmBG1QCxF1K4xx7U9xSb747aWLqXkPY5IiMyTF9BK8GsaczBTQAKDSRf5RuFKIqGlIvFQUh+M8ju0br+RFV3i/Q9SRu3KYXjZe6nEJoTf14AEratL1shYRdnJMS+h4onL65sFwHzpXTcaur4ymgHQv2S+H9F6bFXlQELvM/8vhWWg/OdNsUC3pTN6b65oq7yWitzHz1Qiw5GlpAnuj8hXM1w9Y2VOI5iG5UPLtG1/hpmITxHja6RUzWOMl5mhExgjl5ITl/7+ReiU9brhECagX6x6OZ/ylQsuoq+EfzUPIvahd75VujSnKBDCEmhRx7HOOmiU795K0pXwYkZSZ7WPnBxrBwsJimGRXAHvbii7wW4qh893dfAspbGimZNHYXO65plB15HYPxcwMTuSph3OOPHjEoGxndDfzIhKYYjzGjWWgvmr2An94fb+dl9bFyxgBE8Ern/fTrbkmQ2TYNovSRBkkZZcBkl0yBZrTfJ5YzEyzj78WxE8m+1H87QbCz9c5TMx78HEC/5gbbS7RQ98nUNlGI8TadDjkDzN64ExxuyjgNMtnGwJJswiNIYB2myxSRZYZwQ/MRVnd9GVVGG+Jnx/peUjSTVeb60rNqtva2kR6jyodPgJDDq3r2MaMyj+AkAAP//AwBQSwMEFAAGAAgAAAAhAI9IddvKAAAAXAEAABQAAAB4bC9zaGFyZWRTdHJpbmdzLnhtbHyQQWsCMRCF74L/Icxds2qrRZJ4EAo9a39A2J26gc1kzcxK9dc3hZZSRY/vmze8eWM2n7FTJ8wcElmYTStQSHVqAh0svO9fJy+gWDw1vkuEFs7IsHHjkWEWVXaJLbQi/VprrluMnqepRyqTj5SjlyLzQXOf0TfcIkrs9Lyqljr6QKDqNJBYWIEaKBwH3P5qZzg4I26HOSCrmdHijP5m//j8Dl9c8zdiCTJIqek7tQsXfOzYn/sbx88tT3cyn/+4Lt9xXwAAAP//AwBQSwMEFAAGAAgAAAAhAOdldbjWAAAAuAEAACMAAAB4bC93b3Jrc2hlZXRzL19yZWxzL3NoZWV0MS54bWwucmVsc6yQyWoDMQxA74X+g9E91kwOoZR4cgmFXEP6AcLWLHS8YLlp8vd1KIUMBHrpUdvTk7a7i5/VmbNMMRhodQOKg41uCoOB99Pb6gWUFAqO5hjYwJUFdt3z0/bIM5U6JOOURFVKEANjKekVUezInkTHxKFW+pg9lRrmARPZDxoY102zwXzPgG7BVAdnIB9cC+p0TXXz3+zY95PlfbSfnkN5sALPft5n+qrHVSrlgYsBrdH95OSu3uraC/jYaf2fTjb6m64sjH6Tra7/u2ng4t/dNwAAAP//AwBQSwMEFAAGAAgAAAAhANwGB756BgAA2RsAABMAAAB4bC90aGVtZS90aGVtZTEueG1s7FnLbhs3FN0X6D8Qs0+sp2MZkQNLluw2dmLYStosqRE1w4gzHJCUHe36BQUKpEU3BbrropsA7TelaNOP6CU5kkiL8iN20FdswJY4h/de3sfhJefho1cZQ2dESMrzdlS9X4kQyWM+onnSjp4N+ve2IiQVzkeY8Zy0oxmR0aOdTz95iLdVSjKCYH4ut3E7SpUqtjc2ZAzDWN7nBcnh2ZiLDCv4KpKNkcDnIDdjG7VKZXMjwzSPUI4zEPt0PKYxQQMtMtqZC+8x+JorqQdiJk61aOLNMNjRpKoRcia7TKAzzNoR6Bnx8wF5pSLEsFTwoB1VzE+0sfNwA2+Xk5haM9eZ1zc/5bxywmhSMzpFMlworfYbrQd7C/kGwNQqrtfrdXvVhTwDwHEMK7W2uDIb/a1qZy7TAdmPq7K7lWal4eMd+fUVm1udTqfZKm2xQg3Ifmys4Lcqm43dmoc3IItvruAbnd1ud9PDG5DFb67g+w9amw0fb0Apo/lkBa0D2u+X0heQMWcHQfgWwLcqJXyJgmxYZJdWMea5WpdrGX7JRR8AGsiwojlSs4KMcQxZ3MXZUFAcoQLnXMJApVbpV+rwV/82zKeGVo+3CXbm2aFYrgxpS5CMBS1UO/ocpEYO5MUU7XOV0hgd0iRVVog34wDniTvj3U/f/PnDV+iPX3589/rbMF66+D2SJ19SnF+mAAps6YC337357dc3b7//+vefXwfk7wo8dOEDmhGJnpBzdMIzWJzxjL8CMhQ3mzFIMfVm4BRkB0T3wHUu8MkMsxCuA05wcc8FcEsIuD996dl6moqpogHNj9PMAx5xzjpcBB3wWOtyPDyY5klYuZi6uBOMz0K6uzj3QtybFkCqkLOrvu+mxDPzmOFc4YTkRCH9jE8ICUx7Qann1yMaCy75WKEXFHUwDbpkQIdeIi0nHdAM4jILGQih9nxz9Bx1OAuteo+c+UgoDMwCxg8I89y4j6cKZyGRA5wx1+GHWKUhI09nInZxPakg0glhHPVGRMrQnKcC1usE/TEGOguG/YjNMh8pFJ2EZB5izr3a5pNuirMiaDPNUxf7mZxAimJ0zFUIfsT9CtHfIQ7AG+vC/ZwSL9xXE8EzoDjXpGWC6CdTEYjlPuF+Pc7YGBPDMsD4HpFnNL+M1RkFWr/A6s0PzeofkM/Dom/D5Luw7YXq6eACf6/D/QtZew9P82MChbLKnB9J+yNpR/950l5Xy3dP1Ut2BuJeduemV8/WtupjytipmjFyKE23LmFPGvVh0BwjzFlycXQrUvhYHgw8XCKwmYMEV19QlZ6muIDGvmoOnoksRScSFVxCv2+GzRGYXJBtDrUU2nlzPm3qk4tlDonVER/Z4bp7Ql2IMefVxJyC54rqWsB1ldUf3E5Z1Vq11m3+0qrGNEOK3tIWS4YYri4NBhfehGYHQYsEXt6EiwJtO5yBMCMj7Xd7ep+HRau+0xDJFI9IGSO97tUYVU2Q5rkyT6NAjPRp84oYOdpaWuwttF0nSK66xhp18+jdJkrzI/YySrpuL5Qjy93iZDk6b0etZq0ZoRgX7WgMh2v4mBUQdan7S8wSuKGKlbBpf2Uxm3RdRrMVTssq3JdYv68s2OOBQki1h2VqU8M8KlOA5eYqwNhfa4Jb72oBNtPfw4r6FiTD32YF+NEPLRmPSazcYDsj5i7EAEoq5VNFxGk6OkdDNhUnGMKvUxXWM6ISbkEMI+gvcKGnvW0e+eRcFp17jWZwdhyzIsUl3eoSnVeyhZs6XthgvllrjXmwtqDtZnE3X4op+TtaipvG/7Ol6P0EbiXqIx2BGO6TBUa6XtsRFyrlwEIF3JL1BVymGe6AbIFLYXgMSQW32ua/IGf6v605K8OUtb5ZO6EJEhT2I5UKQo6Blkz2XSGsWu5dViQrBZmMcsyVhTV7SM4IG2gO3NR7e4RSSHXDJiUNGNzF/PO/lxU0THST80/tfGwx37Q90N2BbbHs/Gv2Ig2H9J2toBXc+0xPtaCDSzb2G261lrFWVlxrXnurLeBuCe6UFeRETEXM7CsSvaEO+AlwK4I3Hra9QpDV92zjgTRBWnocQuNkB20yaVG2YSm72ztvo+BevOx0F3qhSt+n072hsxfNma/Oq8XLu8+bObv0sOdrt9MNuBqK9mKJ6vZofpAxgTHv1tzXX3z4EgK9By8apkxJ+wrhFdwkwinDvqqA4rfBNVN3/gIAAP//AwBQSwMEFAAGAAgAAAAhADR8c2G+AgAAXQcAAA0AAAB4bC9zdHlsZXMueG1sxFXJbtswEL0X6D8IvDuyHTuxDEkBvAgIkBYF7AK9UhIlE+EikFRqtei/d0hJttI0yNJDffFwOHzvcWY4Cm+OnHkPRGkqRYQmF2PkEZHJnIoyQl/3yWiBPG2wyDGTgkSoIRrdxB8/hNo0jOwOhBgPIISO0MGYaun7OjsQjvWFrIiAnUIqjg0sVenrShGca3uIM386Hl/5HFOBWoQlz14DwrG6r6tRJnmFDU0po6ZxWMjj2fK2FFLhlIHU42SGsx7bLZ7Ac5opqWVhLgDOl0VBM/JUZeAHPiDFYSGF0V4ma2EiNAVoy7C8F/K7SOwWJLCLikP9w3vADDwT5PlxmEkmlWcgNaCsdQnMSRuzxoymirrAAnPKmtYPFHDUJbSL5BSu57y+FdNKisPUxXWMwYCQipwcSR6hxZ+ce3yQHD9D2YG7Pw0klLHTvWf2iuCIQ8i/IUoksPA6e99UcD8BrdKJdIEvhJcKN5Pp/A0ntGQ0tzrKtcurKtMIJfBbbzuctNs5JeBq1uIPRMeh3yp7Qd+zbNvrIHGob2JzpJDVVKocHl7fT7Z1WlccMlIYW1JFy4MzjKzsOpXGSG6tnOJSCsys7ffHOgOwM8LYzr7Qb8UjgmPhiZon3NxCT8Bbt03Um1CqzmzxuoUlGMK14APcOQh/B+6xOBP8x+O4qlhjW7h/lq/QAu/yUYpOV3kP2OWrwVwZIPGD8j4q7qlKnh0tEfpsRy+DMdVnOq0pM1T8rbAAmh/PvQKtAXU3dpC6NjrxwEZOClwzsz9tRuhsfyI5rTkkqIv6Qh+kcRAROtt3tq8nV46EHM2dhkkG/16taIR+blfXwWabTEeL8Woxml2S+SiYrzaj+Wy92mySYDwdr38NBvs/jHX3+YH2ncyWmsHwV91tO/W7sy9Cg0Wrvx0ooBteSH8L//xdjH8DAAD//wMAUEsDBBQABgAIAAAAIQC9ZpfK5gIAALwHAAAYAAAAeGwvd29ya3NoZWV0cy9zaGVldDEueG1sjFXbjtowEH2v1H+w/L65ABvYiLBaoKvuQ6Wq12fjOMHaJE5tc/v7jm0ISUCr8BAce+bMmTPjyfz5WBZoz6Tiokpw6AUYsYqKlFd5gn//en2YYaQ0qVJSiIol+MQUfl58/jQ/CPmutoxpBAiVSvBW6zr2fUW3rCTKEzWr4CQTsiQaXmXuq1oyklqnsvBHQRD5JeEVdgixHIIhsoxTthZ0V7JKOxDJCqKBv9ryWl3QjukgvFSSA+R64dOiuHYnDV44ueFXciqFEpn2qCh9R+02yyf/qZNnSYckWhL5vqsfALiG5Da84Ppk08WopPFbXglJNgVU5BhOCG2xJLfww3kC0mKectDWNASSLEvwSxivIoz8xdyW7g9nB9VaI002P1nBqGYpdBBGpjM2QrwbwzfYCgBSWQMDSajme7ZiRZHgVQjm6p+NYtcQw2+CtNeXgK+2nb5LtCGKrUTxl6d6C1GhbVOWkV2hr5szbzYeBeNw9Ngc/hCHr4znWw0usGuli9PTmikK3QRUvZFNlIoCIsITldxcC9CcHF1yLmAbW+mTqcPk4ul8AMj6wP/hTHLiRdEkiAwfulNalBf21tN3QW36a6LJYi7FAUETG41qYq5YGI9hnWB4OgAnhzW5mwvkYBBeDESCz7mZnaXbASDIWkGB9ovx3N+D5PTss7q1mDQWPlBr+AFsm9+HRIytlaoJG3TDLp1FaCkFXjjqseodR+HjfVJGqJZoH5JyokL9GlJhj5SzuJCKrjGtvKvu8XgaRk+t3/Q+Q4g3mKGx7crW02XpLBrZegmsuseTKJq1Gc7uM4Q+HczQ2HYZ9kRaPtqSTr2g+5t+eejX2FleG6PTbTCJBpMytl1SUa+w0bnPgn5Jzwc9YdxwcrezJjn7RmTOK4UKltnpMcVIuvESeLDWojYzZQribISGC39528J3kME1DDxonUwI3bzABCxYTujp/PlBMuYwQ+VbCvfRjMfmu7v4DwAA//8DAFBLAwQUAAYACAAAACEAOtCFH5sCAAA8BwAAGwAAAHhsL2RyYXdpbmdzL3ZtbERyYXdpbmcxLnZtbOxVy27bMBC8F+g/EMrBFxt6IDFSRjIQpMitLdD0cQxoibaYkFxBXMtyvr5LSnbsIi0C5NJDBUsid5fLmeEIznujGd3W8a6INq3lrqylEW5mVNmCgxXOSjC8Mzp6/26shL9VwmqlSsmH1/Oa/hVrZF/Ko20MIaoRGx7HRpQ/jL4L0L63KloQlhy4q0UjtdjBBlnHZY9FJCuFIe3zqjKiOcmwSqAoojSKQ4v4pMci74aWuGskU1UR3fcJXfeYJVnESoC2cupJFlGWzpNkGp4Rox4N7exrCBZrBNZFZJJposeSofDkmfRyRElbYguPkj2Asg53mtobhbIdIDLC5DuydSsqJS0GzvBYROh3LsFaWaIHXEQtjfbEjpgcaB1TcmmSXURsWHh2wnMAMWnAKVRguVg60BuUV56dEe1a2ZmWK+TzywavxgBCw9OE5ltVYc3T7JzGtVTrGnnm408zZSvZ8zS06ZRTS6UV7nitqkraK+Ngtm1FMwvbc/QrJ2yltC5BQ1tEZyu6ZOpZk1ASDVTEWWwQDkr6ajomKs+e68NJexlJuQq2DOyg3dKVm1bSIY+aHZT+TVULVj6fBZLLltCzUSSPulJeeFJqJjRyD2jizcVYXqluX+jXUV6tLffaTRZ5TNlQl8cdH9sO857faH/UH8mr7Mvygbp/Cwf8GXC0Dct7/gk6+VNhfSO1dgNLH74jh74QvrZlDe0AjKVTll5MWUIvurMpu/AR+n3I454fl1LDa2J0S8ouboV2MhTsIwPNnn+F7SL1GT/YB2/INcYuEh8fxz4Vpgd+w2c4uvWPTp2/0alplp5aNTtyqnfx3qk+vndq9t+p/4RT55fBqeTS8+BV8ukbbBrs+IJNg31fa9OY/jIXvwAAAP//AwBQSwMEFAAGAAgAAAAhAPOSth0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/Q8h7m6ZDnaHtQGVPDgU3FN9CcrsFmz8k0W7f3qybdTIfL+fcH+fcW822ukNf4IOypsY0LzACI6xUZl3j1XKeTTEKkRvJO2ugxjsIeNZcXlTCMWE9PHvrwEcFASWSCUy4Gm9idIyQIDageciTwySxtV7zmEa/Jo6LD74GUhbFNdEQueSRkz0wcyMRH5FSjEj36bsBIAWBDjSYGAjNKfn1RvA6/LswKCdOreLOpU7HuKdsKQ7i6N4GNRr7vs/7yRAj5afkbfH4MlTNlNnfSgBuKimY8MCj9U1FTod0uI6HuEg3bhXIu12zUMLbYNuIntpWCUCrAL4i58YEHTowfVxGKRY7lPiRXif3D8s5bsqC3mTFbVbQZUnZ1ZRNyvd9kL+AlO3skc03AAAA//8DAFBLAwQUAAYACAAAACEA31I7ohIBAAAtAgAAEAAAAHhsL2NvbW1lbnRzMS54bWzEUMtOwzAQvCPxD9beqdMeUEGxq3IoQuKARPkAE28aS35EXrdK+Xq2ScOBEzcky/KMZ2dGW2+G4MUJM7kUFSwXFQiMTbIuHhR87Hd3axBUTLTGp4gKzkiw0bc3dZNCwFhIsEEkBV0p/aOU1HQYDC1Sj5F/2pSDKQzzQVKf0VjqEEvwclVV9zIYF0HX5li6lGl+CKlr+cNdg14dFT2nioytgqcliEn2YhVUbFRwYFHm88bX58WIvsTJeAUPcEFN8ikLFy0OyDNrdmA271Isk2xvuhTMyLYmOH+e6NXIyNG26Oecjr2wSE12feHNUS05V3KmnCrIa+tfjbfs8y+N3zE7pD9WnstPK58R6W8AAAD//wMAUEsDBBQABgAIAAAAIQBepPUAiwEAAA0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W/bMAyG7wP2HwzdGzndB4ZAVlG0G3pYsQBJuzMn07FQRTJE1kj260fbaOqsO+3Gj1fko1cyV4d9KHrM5FOs1HJRqgKjS7WPu0o9bL9dfFEFMcQaQopYqSOSurLv35l1Th1m9kiFjIhUqZa5W2lNrsU90ELaUTpNyntgSfNOp6bxDm+Te95jZH1Zlp81HhhjjfVFdxqopomrnv93aJ3cwEeP22MnwNZcd13wDlhuae+9y4lSw8U9OB85UVt8PTgMRs9lRjg36J6z56MtjZ6nZuMg4I2ssA0EQqNfC+YOYbBvDT6TNT2venScckH+txh4qYpfQDiAVaqH7CGyAA6yKRnj0BFn+zPlJ2oRmYwWwVQcw7l2HvuPdjkKJDgXDgMmEGmcI249B6QfzRoy/4N4OSceGSbeCee6Cyl7ugWGN5DjvWXdXwu++/hED902ySF8MfC8aDYtZKzF85PBp4K5E+9yGIbctBB3WL9o3jaGh3+cfrddflqUH0p5yVnN6Nd/bP8AAAD//wMAUEsBAi0AFAAGAAgAAAAhAJJXjTVyAQAAcAUAABMAAAAAAAAAAAAAAAAAAAAAAFtDb250ZW50X1R5cGVzXS54bWxQSwECLQAUAAYACAAAACEAUHxOwfMAAABMAgAACwAAAAAAAAAAAAAAAACrAwAAX3JlbHMvLnJlbHNQSwECLQAUAAYACAAAACEAjJbFbvMAAAC6AgAAGgAAAAAAAAAAAAAAAADPBgAAeGwvX3JlbHMvd29ya2Jvb2sueG1sLnJlbHNQSwECLQAUAAYACAAAACEAEOb8BaICAABJBQAADwAAAAAAAAAAAAAAAAACCQAAeGwvd29ya2Jvb2sueG1sUEsBAi0AFAAGAAgAAAAhAI9IddvKAAAAXAEAABQAAAAAAAAAAAAAAAAA0QsAAHhsL3NoYXJlZFN0cmluZ3MueG1sUEsBAi0AFAAGAAgAAAAhAOdldbjWAAAAuAEAACMAAAAAAAAAAAAAAAAAzQwAAHhsL3dvcmtzaGVldHMvX3JlbHMvc2hlZXQxLnhtbC5yZWxzUEsBAi0AFAAGAAgAAAAhANwGB756BgAA2RsAABMAAAAAAAAAAAAAAAAA5A0AAHhsL3RoZW1lL3RoZW1lMS54bWxQSwECLQAUAAYACAAAACEANHxzYb4CAABdBwAADQAAAAAAAAAAAAAAAACPFAAAeGwvc3R5bGVzLnhtbFBLAQItABQABgAIAAAAIQC9ZpfK5gIAALwHAAAYAAAAAAAAAAAAAAAAAHgXAAB4bC93b3Jrc2hlZXRzL3NoZWV0MS54bWxQSwECLQAUAAYACAAAACEAOtCFH5sCAAA8BwAAGwAAAAAAAAAAAAAAAACUGgAAeGwvZHJhd2luZ3Mvdm1sRHJhd2luZzEudm1sUEsBAi0AFAAGAAgAAAAhAPOSth04AQAAFQIAABEAAAAAAAAAAAAAAAAAaB0AAGRvY1Byb3BzL2NvcmUueG1sUEsBAi0AFAAGAAgAAAAhAN9SO6ISAQAALQIAABAAAAAAAAAAAAAAAAAA1x8AAHhsL2NvbW1lbnRzMS54bWxQSwECLQAUAAYACAAAACEAXqT1AIsBAAANAwAAEAAAAAAAAAAAAAAAAAAXIQAAZG9jUHJvcHMvYXBwLnhtbFBLBQYAAAAADQANAFgDAADYIw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KEEGcAAAAAVBcmlhbAZxAAAAFu+8re+8syDvvLDjgrTjgrfjg4Pjgq8JcgAAAAEACXMAAAAHIwAAAAABAAAAEQAAAAQUU3lzdGVtLkRyYXdpbmcuQ29sb3IEAAAABXQAAAAUU3lzdGVtLkRyYXdpbmcuQ29sb3IEAAAABXZhbHVlBXN0YXRlCmtub3duQ29sb3IEbmFtZQAAAAEJBwcEAAAAAAAAAAAAAAAAAAAACgF1AAAAdAAAAAAAAP//////AgAAAAoBdgAAAHQAAAD//////////wIAAAAKAXcAAAB0AAAATkEi//////8CAAAACgF4AAAAdAAAAN7c2///////AgAAAAoBeQAAAHQAAAB+aT///////wIAAAAKAXoAAAB0AAAAjIRy//////8CAAAACgF7AAAAdAAAACUh7f//////AgAAAAoBfAAAAHQAAAA0O0b//////wIAAAAKAX0AAAB0AAAAdJjD//////8CAAAACgF+AAAAdAAAAB6U9///////AgAAAAoBfwAAAHQAAAAelPf//////wIAAAAKAYAAAAB0AAAAJSHt//////8CAAAACgGBAAAAdAAAAAAAAP//////AgAAAAoBggAAAHQAAAD//////////wIAAAAKAYMAAAB0AAAATkEi//////8CAAAACgGEAAAAdAAAAN7c2///////AgAAAAoEJAAAAJgBU3lzdGVtLkNvbGxlY3Rpb25zLkdlbmVyaWMuTGlzdGAxW1tBcGxvcmlzLkJhc2UuT2JqZWN0cy5EYXRhT2JqZWN0LCBBcGxvcmlzLkJhc2UsIFZlcnNpb249NC4yLjAuMTkwOC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i4wLjE5MDg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i4wLjE5MDgsIEN1bHR1cmU9bmV1dHJhbCwgUHVibGljS2V5VG9rZW49MTZmYzEzYTIyNmMwZTk1MV1dAwAAAJEBU3lzdGVtLkNvbGxlY3Rpb25zLkdlbmVyaWMuTGlzdGAxW1tBcGxvcmlzLkNoYXJ0LlZhbHVlTGlu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HAAAACYgAAAAJBgAAAAkBAAAACYkAAAAFKAAAAJsBQXBsb3Jpcy5CYXNlLk9iamVjdHMuRGF0YU9iamVjdENvbGxlY3Rpb25gMVtbQXBsb3Jpcy5DaGFydC5BeGlzQnJlYWs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IuMC4xOTA4LCBDdWx0dXJlPW5ldXRyYWwsIFB1YmxpY0tleVRva2VuPTE2ZmMxM2EyMjZjMGU5NTFdXQMAAACRAVN5c3RlbS5Db2xsZWN0aW9ucy5HZW5lcmljLkxpc3RgMVtbQXBsb3Jpcy5DaGFydC5BeGlzQnJlYW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i4wLjE5MDgsIEN1bHR1cmU9bmV1dHJhbCwgUHVibGljS2V5VG9rZW49MTZmYzEzYTIyNmMwZTk1MV1dAwAAAJABU3lzdGVtLkNvbGxlY3Rpb25zLkdlbmVyaWMuTGlzdGAxW1tBcGxvcmlzLkNoYXJ0LlRpY2tNYXJ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BgAuQS1LlEMBkgAAACAAAABRr5NDLUuUQwmTAAAAuAEAAP////8BAQoJlAAAAAEACgAHMAAAAAABAAAABQAAAAQVU3lzdGVtLkRyYXdpbmcuUG9pbnRGBAAAAAGVAAAAIAAAAFEvlUMtS5RDAZYAAAAgAAAABgAuQRmQnEMBlwAAACAAAABRHxlDGZCcQwGYAAAAIAAAAFGvk0MZkJxDAZkAAAAgAAAAUS+VQy3LlkMHMQAAAAABAAAABQAAAAQXQXBsb3Jpcy5CYXNlLkFuY2hvck1vZGUDAAAABZoAAAAXQXBsb3Jpcy5CYXNlLkFuY2hvck1vZGUBAAAAB3ZhbHVlX18ACAMAAAAEAAAAAZsAAACaAAAABQAAAAGcAAAAmgAAAAMAAAABnQAAAJoAAAAGAAAAAZ4AAACaAAAABQAAAA8yAAAABQAAAAEAAAAAAQUzAAAAFUFwbG9yaXMuQmFzZS5VSS5MYWJlbB0AAAAPbUFuY2hvclBvc2l0aW9uC21BbmNob3JNb2RlD21BZGRJbm5lck1hcmdpbhZtT2Zmc2V0RGlyZWN0aW9uQW5jaG9yF21PZmZzZXRPcnRob2dvbmFsQW5jaG9yC21UZXh0Rm9ybWF0CW1Sb3RhdGlvbgptQmFja0NvbG9yDW1Vc2VCYWNrQ29sb3IObVVzZUJhY2tncm91bmQRbUN1c3Rvb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AAAAABwIAAAM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AZ8AAAAgAAAAUS+VQy1LlEMBoAAAAJoAAAAEAAAAAAAAAAAAAAAACaEAAAAAAAAACaIAAAAAAAAFowAAACpBcGxvcmlzLkJhc2UuVUkuTGFiZWwrTGluZUFsaWdubWVudE9wdGlvbnMBAAAAB3ZhbHVlX18ACAMAAAAAAAAAAaQAAABsAAAAAAAAAAAAAAABpQAAABQAAAAAAAAAAAAAAAAAAAAAAAAAAAAAAAamAAAADUNhdGVnb3J5IGF4aXMKCacAAAAJpgAAAOQCAAD/////AAEKCagAAAABAAoA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BrEAAAABJQ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xAAAA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BPAAAACwAAAAKCbIAAAAJswAAAAkHAAAACQEAAAAJtAAAAAE/AAAALwAAAAG1AAAAIAAAAAYALkEtS5RDAbYAAAAgAAAABgAuQQIALkEJtwAAALgBAAD/////AAEKCbgAAAABAAoAB0AAAAAAAQAAAAUAAAAEFVN5c3RlbS5EcmF3aW5nLlBvaW50RgQAAAABuQAAACAAAAAGAC5BBAD8QAG6AAAAIAAAAAwA/EAtS5RDAbsAAAAgAAAADAD8QC27GUMBvAAAACAAAAAMAPxAAgAuQQG9AAAAIAAAAAwA/EAEAPxAB0EAAAAAAQAAAAUAAAAEF0FwbG9yaXMuQmFzZS5BbmNob3JNb2RlAwAAAAG+AAAAmgAAAAEAAAABvwAAAJoAAAAIAAAAAcAAAACaAAAAAgAAAAHBAAAAmgAAAAYAAAABwgAAAJoAAAAHAAAAD0IAAAAFAAAAAQAAAAABAUMAAAAzAAAAAcMAAAAgAAAABgAuQQQA/EABxAAAAJoAAAABAAAAAAAAAAAAAAAACcUAAAAAAAAACcYAAAAAAAABxwAAAKMAAAAAAAAAAcgAAABsAAAAAAAAAAAAAAAByQAAABQAAAAAAAAAAAAAAAAAAAAAAAAAAAAAAAbKAAAAClZhbHVlIGF4aXMKCcsAAAAJygAAAOQCAAD/////AAEKCcwAAAABAAoAAUQAAAAkAAAACc0AAAAGAAAABgAAAAFFAAAAJQAAAAnOAAAAAgAAAAIAAAAHRgAAAAABAAAAAAAAAAQuQXBsb3Jpcy5DaGFydC5Db2x1bW5PcmllbnRlZENoYXJ0K1VudXNlZFNlcmllcwIAAAAERwAAAJcBU3lzdGVtLkNvbGxlY3Rpb25zLkdlbmVyaWMuTGlzdGAxW1tBcGxvcmlzLkNoYXJ0LkNoYXJ0RGF0YVNlcmllcywgQXBsb3Jpcy5DaGFydCwgVmVyc2lvbj00LjIuMC4xOTA4LCBDdWx0dXJlPW5ldXRyYWwsIFB1YmxpY0tleVRva2VuPTE2ZmMxM2EyMjZjMGU5NTFdXQMAAAAGX2l0ZW1zBV9zaXplCF92ZXJzaW9uBAAAH0FwbG9yaXMuQ2hhcnQuQ2hhcnREYXRhU2VyaWVzW10CAAAACAgJzwAAAAUAAAAOAAAAAUgAAAAkAAAACdAAAAAFAAAABQAAAAFJAAAAJQAAAAnRAAAAAAAAAAAAAAAESgAAAJwBU3lzdGVtLkNvbGxlY3Rpb25zLkdlbmVyaWMuTGlzdGAxW1tBcGxvcmlzLkNoYXJ0LkFubm90YXRpb25EYXRhU2VyaWVzLCBBcGxvcmlzLkNoYXJ0LCBWZXJzaW9uPTQuMi4wLjE5MDg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yLjAuMTkwOC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IuMC4xOTA4LCBDdWx0dXJlPW5ldXRyYWwsIFB1YmxpY0tleVRva2VuPTE2ZmMxM2EyMjZjMGU5NTFdXQMAAAAGX2l0ZW1zBV9zaXplCF92ZXJzaW9uBAAAHkFwbG9yaXMuQ2hhcnQuQ2hhcnREYXRhR3JvdXBbXQIAAAAICAnVAAAAAgAAAAQAAAABUQAAACQAAAAJ1gAAAAIAAAAEAAAAAVIAAAAlAAAACdEAAAAAAAAAAAAAAARTAAAAkAFTeXN0ZW0uQ29sbGVjdGlvbnMuR2VuZXJpYy5MaXN0YDFbW0FwbG9yaXMuQ2hhcnQuRGVsdGFCYXIsIEFwbG9yaXMuQ2hhcnQsIFZlcnNpb249NC4yLjAuMTkwOC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i4wLjE5MDg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IuMC4xOTA4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i4wLjE5MDg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IuMC4xOTA4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///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/////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IuMC4xOTA4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IuMC4xOTA4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i4wLjE5MDgsIEN1bHR1cmU9bmV1dHJhbCwgUHVibGljS2V5VG9rZW49MTZmYzEzYTIyNmMwZTk1MV1dAwAAAAZfaXRlbXMFX3NpemUIX3ZlcnNpb24EAAAYQXBsb3Jpcy5DaGFydC5UaWNrTWFya1tdAgAAAAgICeMAAAAAAAAAAAAAAAGPAAAAJAAAAAnTAAAAAAAAAAAAAAABkAAAACUAAAAJ0QAAAAAAAAAAAAAAAZMAAABqAAAACgoAAABAPwnkAAAACeUAAAABAAAA/v///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KEEJcAAAAAlxAAAACecAAAABAAnoAAAAAaIAAAByAAAACgoBAAAAAAAAAP////8AAQSn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AAAAALgAAAAGzAAAAJAAAAAnsAAAAAAAAAC4AAAABtAAAACUAAAAJ0QAAAAAAAAAAAAAAAbcAAABqAAAACgoAAABAPwntAAAACe4AAAABAAAA/v///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KEEJcAAAAAlxAAAACfAAAAABAAnxAAAAAcYAAAByAAAACgoBAAAAAAAAAP////8AAQHLAAAApwAAAAnpAAAAAAAAAAAAAAABzAAAAG8AAAAJ8gAAAAoHzQAAAAABAAAACAAAAAQfQXBsb3Jpcy5CYXNlLk9iamVjdHMuRGF0YU9iamVjdAMAAAAJOQAAAAk6AAAACTsAAAAJPAAAAAk3AAAACTgAAAAKCgfOAAAAAAEAAAAEAAAABBxBcGxvcmlzLkJhc2UuVUkuVmlzdWFsT2JqZWN0AwAAAAk/AAAACUMAAAAKCgfPAAAAAAEAAAAIAAAABB1BcGxvcmlzLkNoYXJ0LkNoYXJ0RGF0YVNlcmllcwIAAAAJ8wAAAAn0AAAACfUAAAAJ9gAAAAn3AAAADQMH0AAAAAABAAAACAAAAAQfQXBsb3Jpcy5CYXNlLk9iamVjdHMuRGF0YU9iamVjdAMAAAAJ8wAAAAn0AAAACfUAAAAJ9gAAAAn3AAAADQM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QAAAAEHEFwbG9yaXMuQ2hhcnQuQ2hhcnREYXRhR3JvdXACAAAACfgAAAAJ+QAAAAoKB9YAAAAAAQAAAAQAAAAEH0FwbG9yaXMuQmFzZS5PYmplY3RzLkRhdGFPYmplY3QDAAAACfgAAAAJ+QAAAAoKB9cAAAAAAQAAAAAAAAAEFkFwbG9yaXMuQ2hhcnQuRGVsdGFCYXICAAAAB9gAAAAAAQAAAAAAAAAEGUFwbG9yaXMuQ2hhcnQuRGVsdGFCcmlkZ2UCAAAAB9kAAAAAAQAAAAAAAAAEGUFwbG9yaXMuQ2hhcnQuR3Jvd3RoQXJyb3cCAAAAB9oAAAAAAQAAAAAAAAAEIEFwbG9yaXMuQ2hhcnQuV2F0ZXJmYWxsQ29ubmVjdG9yAgAAAAfbAAAAAAEAAAAAAAAABB5BcGxvcmlzLkNoYXJ0LkVsZW1lbnRDb25uZWN0b3ICAAAAAdwAAAByAAAACgoAAAAAAAAAAA0AAAAAAQHdAAAAcgAAAAoKAQAAAAAAAAD/////AAEB3gAAAHIAAAAKCgEAAAD///8A/////wABAd8AAAByAAAACgoBAAAAAAAAAP////8AAQ/gAAAAAQAAAAgAAAAAB+EAAAAAAQAAAAAAAAAEF0FwbG9yaXMuQ2hhcnQuVmFsdWVMaW5lAgAAAAfiAAAAAAEAAAAAAAAABBdBcGxvcmlzLkNoYXJ0LkF4aXNCcmVhawIAAAAH4wAAAAABAAAAAAAAAAQWQXBsb3Jpcy5DaGFydC5UaWNrTWFyawIAAAAF5AAAABpBcGxvcmlzLkJhc2UuT2JqZWN0cy5Db2xvcgcAAAASRGF0YU9iamVjdCttUGFyZW50FURhdGFPYmplY3QrbUNvbnRhaW5lcgVtVHlwZQRtUkdCEG1UaGVtZUNvbG9ySW5kZXgMbUF1dG9VcGRhdGVkCW1Nb2RpZmllZAQCAAAAAAAfQXBsb3Jpcy5CYXNlLk9iamVjdHMuTGluZUZvcm1hdAMAAAAICAgBAQMAAAAJkwAAAAoAAAAAAAAAAA0AAAAAAAXlAAAAGkFwbG9yaXMuQmFzZS5PYmplY3RzLkNvbG9yBwAAABJEYXRhT2JqZWN0K21QYXJlbnQVRGF0YU9iamVjdCttQ29udGFpbmVyBW1UeXBlBG1SR0IQbVRoZW1lQ29sb3JJbmRleAxtQXV0b1VwZGF0ZWQJbU1vZGlmaWVkBAIAAAAAAB9BcGxvcmlzLkJhc2UuT2JqZWN0cy5MaW5lRm9ybWF0AwAAAAgICAEBAwAAAAmTAAAACgEAAAAAAAAA/////wABD+YAAAABAAAACDsAAAAB5wAAAHIAAAAKCgAAAAAAAAAADQAAAAABAegAAAByAAAACgoBAAAAAAAAAP////8AAQfpAAAAAAEAAAAAAAAABB1BcGxvcmlzLkJhc2UuT2JqZWN0cy5WYXJpYWJsZQMAAAAP6gAAAAEAAAAIAAAAAAfrAAAAAAEAAAAQAAAABBZBcGxvcmlzLkNoYXJ0LlRpY2tNYXJrAgAAAA0QB+wAAAAAAQAAABAAAAAEH0FwbG9yaXMuQmFzZS5PYmplY3RzLkRhdGFPYmplY3QDAAAADRAF7QAAABpBcGxvcmlzLkJhc2UuT2JqZWN0cy5Db2xvcgcAAAASRGF0YU9iamVjdCttUGFyZW50FURhdGFPYmplY3QrbUNvbnRhaW5lcgVtVHlwZQRtUkdCEG1UaGVtZUNvbG9ySW5kZXgMbUF1dG9VcGRhdGVkCW1Nb2RpZmllZAQCAAAAAAAfQXBsb3Jpcy5CYXNlLk9iamVjdHMuTGluZUZvcm1hdAMAAAAICAgBAQMAAAAJtwAAAAoAAAAAAAAAAA0AAAAAAAXuAAAAGkFwbG9yaXMuQmFzZS5PYmplY3RzLkNvbG9yBwAAABJEYXRhT2JqZWN0K21QYXJlbnQVRGF0YU9iamVjdCttQ29udGFpbmVyBW1UeXBlBG1SR0IQbVRoZW1lQ29sb3JJbmRleAxtQXV0b1VwZGF0ZWQJbU1vZGlmaWVkBAIAAAAAAB9BcGxvcmlzLkJhc2UuT2JqZWN0cy5MaW5lRm9ybWF0AwAAAAgICAEBAwAAAAm3AAAACgEAAAAAAAAA/////wABD+8AAAABAAAACAAAAAAB8AAAAHIAAAAKCgAAAAAAAAAADQAAAAABAfEAAAByAAAACgoBAAAAAAAAAP////8AAQ/yAAAAAQAAAAg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yLjAuMTkwOC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H6AAAAEwAAAAAAAAACAAAA/////wkHAAAACfsAAAAG/AAAAAhTZXJpZXMgMQoKAAAAAAAAAAAAAAAACgoACf0AAAAJ/gAAAAn/AAAAAAAAAAAAAAAAAAAAAAAAAAAACQABAAAJAQAAAAkBAAAACQEBAAAB9AAAAPMAAAAJAQAAAAECAQAAEwAAAAAAAAADAAAA/////wkHAAAACQMBAAAGBAEAAAhTZXJpZXMgMgoKAAAAAAAAAAAAAAAACgoACQUBAAAJBgEAAAkHAQAAAAAAAAABAAAAAAAAAAAAAAAACQgBAAAJAQAAAAkBAAAACQkBAAAB9QAAAPMAAAAJAQAAAAEKAQAAEwAAAAAAAAAEAAAA/////wkHAAAACQsBAAAGDAEAAAhTZXJpZXMgMwoKAAAAAAAAAAAAAAAACgoACQ0BAAAJDgEAAAkPAQAAAAAAAAACAAAAAAAAAAAAAAAACRABAAAJAQAAAAkBAAAACREBAAAB9gAAAPMAAAAJAQAAAAESAQAAEwAAAAAAAAAFAAAA/////wkHAAAACRMBAAAGFAEAAAhTZXJpZXMgNAoKAAAAAAAAAAAAAAAACgoACRUBAAAJFgEAAAkXAQAAAAAAAAADAAAAAAAAAAAAAAAACRgBAAAJAQAAAAkBAAAACRkBAAAB9wAAAPMAAAAJAQAAAAEaAQAAEwAAAAAAAAAGAAAA/////wkHAAAACRsBAAAGHAEAAAhTZXJpZXMgNQoKAAAAAAAAAAAAAAAACgoACR0BAAAJHgEAAAkfAQAAAAAAAAAEAAAAAAAAAAAAAAAACSABAAAJAQAAAAkBAAAACSEBAAAF+A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YiAQAAEkluc3RpdHV0aW9uYWwgU2l6ZQAFIwEAAB5BcGxvcmlzLkNoYXJ0LkNoYXJ0R3JvdXBBbmNob3IBAAAAB3ZhbHVlX18ACAIAAAAAAAAACgAAAAABAAAAAQAAAAkkAQAACSUBAAAJJgEAAAoJBwAAAAknAQAACQEAAAAJAQAAAAkoAQAAAfkAAAD4AAAACQEAAAAGKQEAABJJbnN0aXR1dGlvbmFsIFR5cGUAASoBAAAjAQAAAAAAAAoAAAAAAQAAAAEAAAAJKwEAAAksAQAACS0BAAAKCQcAAAAJLgEAAAkBAAAACQEAAAAJLwEAAAX7AA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kwAQAACTEBAAAJ8wAAAAkBAAAACTIBAAAF/QA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UzAQAAK0FwbG9yaXMuQ2hhcnQuQ29ubmVjdGVkTGFiZWwrZUNvbm5lY3Rvck1vZGUBAAAAB3ZhbHVlX18ACAIAAAABAAAABTQBAAA2QXBsb3Jpcy5DaGFydC5Db25uZWN0ZWRMYWJlbCtlQW5nbGVkQ29ubmVjdG9yRGlyZWN0aW9uAQAAAAd2YWx1ZV9fAAgCAAAAAAAAAAE1AQAAFAAAADHLNkMCAF5BJs+lQrR0IEIFNgEAAC1BcGxvcmlzLkNoYXJ0LkNvbm5lY3RlZExhYmVsK2VUYXJnZXRBcmVhU2hhcGUBAAAAB3ZhbHVlX18ACAIAAAAAAAAAAAAQQQEBNwEAACAAAABi2YhDWroHQgE4AQAAmgAAAAQAAAAAAAAAAAAAAAAJOQEAAAAAAAAJOgEAAAAAAAE7AQAAowAAAAAAAAABPAEAAGwAAAAAAGRCAACIQQE9AQAAFAAAAAAAAAAAAAAAAAAAAAAAAABeutk/CfwAAAAKCT4BAAAGPwEAAAAgAwAA/////wABCglAAQAAAQAKAAf+AAAAAAEAAAACAAAABBVTeXN0ZW0uRHJhd2luZy5Qb2ludEYEAAAAAUEBAAAgAAAAYtmIQ1q6B0IBQgEAACAAAAB/LwJCViTgQQf/AAAAAAEAAAACAAAABBdBcGxvcmlzLkJhc2UuQW5jaG9yTW9kZQMAAAABQwEAAJoAAAAEAAAAAUQBAACaAAAAAgAAAAEAAQAAJAAAAAlFAQAAAQAAAAEAAAABAQEAACUAAAAJRgEAAAEAAAABAAAAAQMBAAD7AAAACglHAQAACUgBAAAJ9AAAAAkBAAAACUkBAAABBQEAAP0AAAAKWAIAAAFKAQAAMwEAAAEAAAABSwEAADQBAAAAAAAAAUwBAAAUAAAAMcs2Q7T0b0Imz6VCBmbIQgFNAQAANgEAAAAAAAAAABBBAQFOAQAAIAAAAGLZiENdLdxCAU8BAACaAAAABAAAAAAAAAAAAAAAAAlQAQAAAAAAAAlRAQAAAAAAAVIBAACjAAAAAAAAAAFTAQAAbAAAAAAAZEIAAIhBAVQBAAAUAAAAAAAAAAAAAAAAAAAAAAAAAF662T8JBAEAAAoJVQEAAAk/AQAAIAMAAP////8AAQoJVgEAAAEACgAHBgEAAAABAAAAAgAAAAQVU3lzdGVtLkRyYXdpbmcuUG9pbnRGBAAAAAFXAQAAIAAAAGLZiENdLdxCAVgBAAAgAAAAfy8CQlkECkMHBwEAAAABAAAAAgAAAAQXQXBsb3Jpcy5CYXNlLkFuY2hvck1vZGUDAAAAAVkBAACaAAAABAAAAAFaAQAAmgAAAAIAAAABCAEAACQAAAAJWwEAAAEAAAABAAAAAQkBAAAlAAAACVwBAAABAAAAAQAAAAELAQAA+wAAAAoJXQEAAAleAQAACfUAAAAJAQAAAAlfAQAAAQ0BAAD9AAAAClgCAAABYAEAADMBAAABAAAAAWEBAAA0AQAAAAAAAAFiAQAAFAAAADHLNkMwMCZDJs+lQlTM/kIBYwEAADYBAAAAAAAAAAAQQQEBZAEAACAAAABi2YhDReNlQwFlAQAAmgAAAAQAAAAAAAAAAAAAAAAJZgEAAAAAAAAJZwEAAAAAAAFoAQAAowAAAAAAAAABaQEAAGwAAAAAAGRCAACIQQFqAQAAFAAAAAAAAAAAAAAAAAAAAAAAAABeutk/CQwBAAAKCWsBAAAJPwEAACADAAD/////AAEKCWwBAAABAAoABw4BAAAAAQAAAAIAAAAEFVN5c3RlbS5EcmF3aW5nLlBvaW50RgQAAAABbQEAACAAAABi2YhDReNlQwFuAQAAIAAAAH8vAkJwlnZDBw8BAAAAAQAAAAIAAAAEF0FwbG9yaXMuQmFzZS5BbmNob3JNb2RlAwAAAAFvAQAAmgAAAAQAAAABcAEAAJoAAAACAAAAARABAAAkAAAACXEBAAABAAAAAQAAAAERAQAAJQAAAAlyAQAAAQAAAAEAAAABEwEAAPsAAAAKCXMBAAAJdAEAAAn2AAAACQEAAAAJdQEAAAEVAQAA/QAAAApYAgAAAXYBAAAzAQAAAQAAAAF3AQAANAEAAAAAAAABeAEAABQAAAAxyzZDLUuUQybPpUIAAAAAAXkBAAA2AQAAAAAAAAAAEEEBAXoBAAAgAAAAYtmIQy1LlEMBewEAAJoAAAAEAAAAAAAAAAAAAAAACXwBAAAAAAAACX0BAAAAAAABfgEAAKMAAAAAAAAAAX8BAABsAAAAAABkQgAAiEEBgAEAABQAAAAAAAAAAAAAAAAAAAAAAAAAXrrZPwkUAQAACgmBAQAACT8BAAAgAwAA/////wABCgmCAQAAAQAKAAcWAQAAAAEAAAACAAAABBVTeXN0ZW0uRHJhd2luZy5Qb2ludEYEAAAAAYMBAAAgAAAAYtmIQy1LlEMBhAEAACAAAAB/LwJCoCaIQwcXAQAAAAEAAAACAAAABBdBcGxvcmlzLkJhc2UuQW5jaG9yTW9kZQMAAAABhQEAAJoAAAAEAAAAAYYBAACaAAAAAgAAAAEYAQAAJAAAAAmHAQAAAQAAAAEAAAABGQEAACUAAAAJiAEAAAEAAAABAAAAARsBAAD7AAAACgmJAQAACYoBAAAJ9wAAAAkBAAAACYsBAAABHQEAAP0AAAAKWAIAAAGMAQAAMwEAAAEAAAABjQEAADQBAAAAAAAAAY4BAAAUAAAAMcs2Qy1LlEMmz6VCAAAAAAGPAQAANgEAAAAAAAAAABBBAQGQAQAAIAAAAGLZiEMtS5RDAZEBAACaAAAABAAAAAAAAAAAAAAAAAmSAQAAAAAAAAmTAQAAAAAAAZQBAACjAAAAAAAAAAGVAQAAbAAAAAAAZEIAAIhBAZYBAAAUAAAAAAAAAAAAAAAAAAAAAAAAAF662T8JHAEAAAoJlwEAAAk/AQAAIAMAAP////8AAQoJmAEAAAEACgAHHgEAAAABAAAAAgAAAAQVU3lzdGVtLkRyYXdpbmcuUG9pbnRGBAAAAAGZAQAAIAAAAGLZiEMtS5RDAZoBAAAgAAAAfy8CQua4kEMHHwEAAAABAAAAAgAAAAQXQXBsb3Jpcy5CYXNlLkFuY2hvck1vZGUDAAAAAZsBAACaAAAABAAAAAGcAQAAmgAAAAIAAAABIAEAACQAAAAJnQEAAAEAAAABAAAAASEBAAAlAAAACZ4BAAABAAAAAQAAAA8kAQAAAQAAAAgAAAAAByUBAAAAAQAAAAEAAAAEFUFwbG9yaXMuQmFzZS5VSS5MYWJlbAMAAAAJnwEAAAEmAQAAMwAAAAGgAQAAIAAAAFL/o0Ity5ZDAaEBAACaAAAAAwAAAAAAAAAAAAAAAAmiAQAAAAAAAAmjAQAAAAAAAaQBAACjAAAAAAAAAAGlAQAAbAAAAAAAxkIAAHBBAaYBAAAUAAAAEzspQuzElkPdQp5CiZ04QRKDvj8JIgEAAAoJpwEAAAk/AQAAIAMAAP////8BAQoJqAEAAAEACgABJwEAACQAAAAJ0wAAAAAAAAAAAAAAASgBAAAlAAAACakBAAACAAAAAgAAAA8rAQAAAQAAAAgAAAAABywBAAAAAQAAAAEAAAAEFUFwbG9yaXMuQmFzZS5VSS5MYWJlbAMAAAAJqgEAAAEtAQAAMwAAAAGrAQAAIAAAAPo+YEMty5ZDAawBAACaAAAAAwAAAAAAAAAAAAAAAAmtAQAAAAAAAAmuAQAAAAAAAa8BAACjAAAAAAAAAAGwAQAAbAAAAAAAzkIAAHBBAbEBAAAUAAAAsRM3Q+zElkM/aqRCiZ04QRKDvj8JKQEAAAoJsgEAAAk/AQAAIAMAAP////8BAQoJswEAAAEACgABLgEAACQAAAAJ0wAAAAAAAAAAAAAAAS8BAAAlAAAACbQBAAACAAAAAgAAAAQw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bUBAAACAAAABAAAAAExAQAAJAAAAAm2AQAAAgAAAAQAAAABMgEAACUAAAAJ0QAAAAAAAAAAAAAABTk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zAAAACgAAAAAAKEEJcAAAAAlxAAAACbcBAAABAAm4AQAAAToBAAByAAAACgoAAAAA////AA4AAAAAAQE+AQAApwAAAAm5AQAAAQAAAAEAAAABQAEAAG8AAAAJugEAAAoHRQEAAAABAAAABAAAAAQfQXBsb3Jpcy5CYXNlLk9iamVjdHMuRGF0YU9iamVjdAMAAAAJ+wAAAA0DB0YBAAAAAQAAAAQAAAAEHEFwbG9yaXMuQmFzZS5VSS5WaXN1YWxPYmplY3QDAAAACf0AAAANAwFHAQAAMAEAAAm7AQAAAgAAAAQAAAABSAEAACQAAAAJvAEAAAIAAAAEAAAAAUkBAAAlAAAACdEAAAAAAAAAAAAAAAV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AAAAAoAAAAAAChBCXAAAAAJcQAAAAm9AQAAAQAJvgEAAAFRAQAAcgAAAAoKAAAAAP///wAOAAAAAAEBVQEAAKcAAAAJvwEAAAEAAAABAAAAAVYBAABvAAAACcABAAAKB1sBAAAAAQAAAAQAAAAEH0FwbG9yaXMuQmFzZS5PYmplY3RzLkRhdGFPYmplY3QDAAAACQMBAAANAwdcAQAAAAEAAAAEAAAABBxBcGxvcmlzLkJhc2UuVUkuVmlzdWFsT2JqZWN0AwAAAAkFAQAADQMBXQEAADABAAAJwQEAAAIAAAAEAAAAAV4BAAAkAAAACcIBAAACAAAABAAAAAFfAQAAJQAAAAnRAAAAAAAAAAAAAAAFZ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UAAAAKAAAAAAAoQQlwAAAACXEAAAAJwwEAAAEACcQBAAABZwEAAHIAAAAKCgAAAAD///8ADgAAAAABAWsBAACnAAAACcUBAAABAAAAAQAAAAFsAQAAbwAAAAnGAQAACgdxAQAAAAEAAAAEAAAABB9BcGxvcmlzLkJhc2UuT2JqZWN0cy5EYXRhT2JqZWN0AwAAAAkLAQAADQMHcgEAAAABAAAABAAAAAQcQXBsb3Jpcy5CYXNlLlVJLlZpc3VhbE9iamVjdAMAAAAJDQEAAA0DAXMBAAAwAQAACccBAAACAAAAAgAAAAF0AQAAJAAAAAnIAQAAAgAAAAIAAAABdQEAACUAAAAJ0QAAAAAAAAAAAAAABXw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2AAAACgAAAAAAKEEJcAAAAAlxAAAACckBAAABAAnKAQAAAX0BAAByAAAACgoAAAAA////AA4AAAAAAQGBAQAApwAAAAnLAQAAAQAAAAEAAAABggEAAG8AAAAJzAEAAAoHhwEAAAABAAAABAAAAAQfQXBsb3Jpcy5CYXNlLk9iamVjdHMuRGF0YU9iamVjdAMAAAAJEwEAAA0DB4gBAAAAAQAAAAQAAAAEHEFwbG9yaXMuQmFzZS5VSS5WaXN1YWxPYmplY3QDAAAACRUBAAANAwGJAQAAMAEAAAnNAQAAAgAAAAIAAAABigEAACQAAAAJzgEAAAIAAAACAAAAAYsBAAAlAAAACdEAAAAAAAAAAAAAAAWS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wAAAAoAAAAAAChBCXAAAAAJcQAAAAnPAQAAAQAJ0AEAAAGTAQAAcgAAAAoKAAAAAP///wAOAAAAAAEBlwEAAKcAAAAJ0QEAAAEAAAABAAAAAZgBAABvAAAACdIBAAAKB50BAAAAAQAAAAQAAAAEH0FwbG9yaXMuQmFzZS5PYmplY3RzLkRhdGFPYmplY3QDAAAACRsBAAANAweeAQAAAAEAAAAEAAAABBxBcGxvcmlzLkJhc2UuVUkuVmlzdWFsT2JqZWN0AwAAAAkdAQAADQMBnwEAADMAAAAB0wEAACAAAABS/6NCBAD8QAHUAQAAmgAAAAEAAAAAAAAAAAAAAAAJ1QEAAAAAAAAJ1gEAAAAAAAHXAQAAowAAAAAAAAAB2AEAAGwAAAAAABxCAACIQQHZAQAAFAAAAAAAAAAAAAAAAAAAAAAAAABeutk/BtoBAAAEMTAwJQoJ2wEAAAk/AQAANAMAAP////8AAQoJ3AEAAAEACgABogEAACIAAAAKCgAAAAAAKEEJcAAAAAlxAAAACd0BAAAAAAneAQAAAaMBAAByAAAACgoAAAAA////AA4AAAAAAQGnAQAApwAAAAnfAQAAAQAAAAEAAAABqAEAAG8AAAAJ4AEAAAoHqQEAAAABAAAABAAAAAQcQXBsb3Jpcy5CYXNlLlVJLlZpc3VhbE9iamVjdAMAAAAJJgEAAAmfAQAACgoBqgEAADMAAAAB4QEAACAAAAD6PmBDBAD8QAHiAQAAmgAAAAEAAAAAAAAAAAAAAAAJ4wEAAAAAAAAJ5AEAAAAAAAHlAQAAowAAAAAAAAAB5gEAAGwAAAAAABxCAACIQQHnAQAAFAAAAAAAAAAAAAAAAAAAAAAAAABeutk/BugBAAAEMTAwJQoJ6QEAAAk/AQAANAMAAP////8AAQoJ6gEAAAEACgABrQEAACIAAAAKCgAAAAAAKEEJcAAAAAlxAAAACesBAAAAAAnsAQAAAa4BAAByAAAACgoAAAAA////AA4AAAAAAQGyAQAApwAAAAntAQAAAQAAAAEAAAABswEAAG8AAAAJ7gEAAAoHtAEAAAABAAAABAAAAAQcQXBsb3Jpcy5CYXNlLlVJLlZpc3VhbE9iamVjdAMAAAAJLQEAAAmqAQAACgoHtQEAAAABAAAABAAAAAQeQXBsb3Jpcy5DaGFydC5DaGFydERhdGFFbGVtZW50AgAAAAnvAQAACfABAAAKCge2AQAAAAEAAAAEAAAABB9BcGxvcmlzLkJhc2UuT2JqZWN0cy5EYXRhT2JqZWN0AwAAAAnvAQAACfABAAAKCgG3AQAAcgAAAAoKAAAAAAAAAAANAAAAAAEBuAEAAHIAAAAKCgEAAAAAAAAA/////wABB7kBAAAAAQAAAAQAAAAEHUFwbG9yaXMuQmFzZS5PYmplY3RzLlZhcmlhYmxlAwAAAAXxAQAAHUFwbG9yaXMuQmFzZS5PYmplY3RzLlZhcmlhYmxlAgAAAAZOdW1iZXIIUG9zaXRpb24AAAgIAwAAAAEAAAAAAAAAAfIBAADxAQAAAAAAAAAAAAAB8wEAAPEBAAAAAAAAAAAAAAH0AQAA8QEAAAAAAAAAAAAAD7oBAAABAAAACAAAAAAHuwEAAAABAAAABAAAAAQeQXBsb3Jpcy5DaGFydC5DaGFydERhdGFFbGVtZW50AgAAAAn1AQAACfYBAAAKCge8AQAAAAEAAAAEAAAABB9BcGxvcmlzLkJhc2UuT2JqZWN0cy5EYXRhT2JqZWN0AwAAAAn1AQAACfYBAAAKCgG9AQAAcgAAAAoKAAAAAAAAAAANAAAAAAEBvgEAAHIAAAAKCgEAAAAAAAAA/////wABB78BAAAAAQAAAAQAAAAEHUFwbG9yaXMuQmFzZS5PYmplY3RzLlZhcmlhYmxlAwAAAAH3AQAA8QEAAAEAAAAAAAAAAfgBAADxAQAAAAAAAAAAAAAB+QEAAPEBAAAAAAAAAAAAAAH6AQAA8QEAAAAAAAAAAAAAD8ABAAABAAAACAAAAAAHwQEAAAABAAAABAAAAAQeQXBsb3Jpcy5DaGFydC5DaGFydERhdGFFbGVtZW50AgAAAAn7AQAACfwBAAAKCgfCAQAAAAEAAAAEAAAABB9BcGxvcmlzLkJhc2UuT2JqZWN0cy5EYXRhT2JqZWN0AwAAAAn7AQAACfwBAAAKCgHDAQAAcgAAAAoKAAAAAAAAAAANAAAAAAEBxAEAAHIAAAAKCgEAAAAAAAAA/////wABB8UBAAAAAQAAAAQAAAAEHUFwbG9yaXMuQmFzZS5PYmplY3RzLlZhcmlhYmxlAwAAAAH9AQAA8QEAAAEAAAAAAAAAAf4BAADxAQAAAAAAAAAAAAAB/wEAAPEBAAAAAAAAAAAAAAEAAgAA8QEAAAAAAAAAAAAAD8YBAAABAAAACAAAAAAHxwEAAAABAAAABAAAAAQeQXBsb3Jpcy5DaGFydC5DaGFydERhdGFFbGVtZW50AgAAAAkBAgAACQICAAAKCgfIAQAAAAEAAAAEAAAABB9BcGxvcmlzLkJhc2UuT2JqZWN0cy5EYXRhT2JqZWN0AwAAAAkBAgAACQICAAAKCgHJAQAAcgAAAAoKAAAAAAAAAAANAAAAAAEBygEAAHIAAAAKCgEAAAAAAAAA/////wABB8sBAAAAAQAAAAQAAAAEHUFwbG9yaXMuQmFzZS5PYmplY3RzLlZhcmlhYmxlAwAAAAEDAgAA8QEAAAEAAAAAAAAAAQQCAADxAQAAAAAAAAAAAAABBQIAAPEBAAAAAAAAAAAAAAEGAgAA8QEAAAAAAAAAAAAAD8wBAAABAAAACAAAAAAHzQEAAAABAAAABAAAAAQeQXBsb3Jpcy5DaGFydC5DaGFydERhdGFFbGVtZW50AgAAAAkHAgAACQgCAAAKCgfOAQAAAAEAAAAEAAAABB9BcGxvcmlzLkJhc2UuT2JqZWN0cy5EYXRhT2JqZWN0AwAAAAkHAgAACQgCAAAKCgHPAQAAcgAAAAoKAAAAAAAAAAANAAAAAAEB0AEAAHIAAAAKCgEAAAAAAAAA/////wABB9EBAAAAAQAAAAQAAAAEHUFwbG9yaXMuQmFzZS5PYmplY3RzLlZhcmlhYmxlAwAAAAEJAgAA8QEAAAEAAAAAAAAAAQoCAADxAQAAAAAAAAAAAAABCwIAAPEBAAAAAAAAAAAAAAEMAgAA8QEAAAAAAAAAAAAAD9IBAAABAAAACAAAAAAF1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+AAAAAoAAAAAAChBCXAAAAAJcQAAAAkNAgAAAQAJDgIAAAHWAQAAcgAAAAoKAAAAAP///wAOAAAAAAEB2wEAAKcAAAAJDwIAAAEAAAABAAAAAdwBAABvAAAACRACAAAKAd0BAAByAAAACgoAAAAAAAAAAA0AAAAAAAHeAQAAcgAAAAoKAAAAAAAAAAANAAAAAAEH3wEAAAABAAAABAAAAAQdQXBsb3Jpcy5CYXNlLk9iamVjdHMuVmFyaWFibGUDAAAAARECAADxAQAAAQAAAAAAAAABEgIAAPEBAAAAAAAAAAAAAAETAgAA8QEAAAAAAAAAAAAAARQCAADxAQAAAAAAAAAAAAAP4AEAAAEAAAAIFwAAAAXj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5AAAACgAAAAAAKEEJcAAAAAlxAAAACRUCAAABAAkWAgAAAeQBAAByAAAACgoAAAAA////AA4AAAAAAQHpAQAApwAAAAkXAgAAAQAAAAMAAAAB6gEAAG8AAAAJGAIAAAoB6wEAAHIAAAAKCgAAAAAAAAAADQAAAAAAAewBAAByAAAACgoAAAAAAAAAAA0AAAAAAQftAQAAAAEAAAAEAAAABB1BcGxvcmlzLkJhc2UuT2JqZWN0cy5WYXJpYWJsZQMAAAABGQIAAPEBAAABAAAAAAAAAAEaAgAA8QEAAAAAAAAAAAAAARsCAADxAQAAAAAAAAAAAAABHAIAAPEBAAAAAAAAAAAAAA/uAQAAAQAAAAgYAAAABe8B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HQIAAAkeAgAACgkfAgAACgnzAAAACAa4HoXrUbi+PwoAAAAACSACAAAJIQIAAAAAAAAACSICAAAJ8wAAAAkBAAAACSMCAAAB8AEAAO8BAAAJJAIAAAklAgAACgkmAgAACgnzAAAACAZ56SYxCKzEPwoBAAAACScCAAAJKAIAAAAAAAAACSkCAAAJ8wAAAAkBAAAACSoCAAAB9QEAAO8BAAAJKwIAAAksAgAACgktAgAACgn0AAAACAbNzMzMzMzkPwoAAAAACS4CAAAJLwIAAAAAAAAACTACAAAJ9AAAAAkBAAAACTECAAAB9gEAAO8BAAAJMgIAAAkzAgAACgk0AgAACgn0AAAACAa1FfvL7snXPwoBAAAACTUCAAAJNgIAAAAAAAAACTcCAAAJ9AAAAAkBAAAACTgCAAAB+wEAAO8BAAAJOQIAAAk6AgAACgk7AgAACgn1AAAACAYpXI/C9Si8PwoAAAAACTwCAAAJPQIAAAAAAAAACT4CAAAJ9QAAAAkBAAAACT8CAAAB/AEAAO8BAAAJQAIAAAlBAgAACglCAgAACgn1AAAACAZSJ6CJsOHdPwoBAAAACUMCAAAJRAIAAAAAAAAACUUCAAAJ9QAAAAkBAAAACUYCAAABAQIAAO8BAAAJRwIAAAlIAgAACglJAgAACgn2AAAACAbsUbgeheuxPwoAAAAACUoCAAAJSwIAAAAAAAAACUwCAAAJ9gAAAAkBAAAACU0CAAABAgIAAO8BAAAKCgoJTgIAAAoJ9gAAAAgGAAAAAAAAAAAKAQAAAAoKAAAAAAAJTwIAAAn2AAAACQEAAAAJUAIAAAEHAgAA7wEAAAlRAgAACVICAAAKCVMCAAAKCfcAAAAIBpqZmZmZmak/CgAAAAAJVAIAAAlVAgAAAAAAAAAJVgIAAAn3AAAACQEAAAAJVwIAAAEIAgAA7wEAAAoKCglYAgAACgn3AAAACAYAAAAAAAAAAAoBAAAACgoAAAAAAAlZAgAACfcAAAAJAQAAAAlaAgAAAQ0CAAByAAAACgoAAAAAAAAAAA0AAAAAAQEOAgAAcgAAAAoKAQAAAAAAAAD/////AAEHDwIAAAABAAAABAAAAAQdQXBsb3Jpcy5CYXNlLk9iamVjdHMuVmFyaWFibGUDAAAAAVsCAADxAQAAAQAAAAAAAAABXAIAAPEBAAAAAAAAAAAAAAFdAgAA8QEAAAAAAAAAAAAAAV4CAADxAQAAAAAAAAAAAAAPEAIAAAEAAAAIAAAAAAEVAgAAcgAAAAoKAAAAAAAAAAANAAAAAAEBFgIAAHIAAAAKCgEAAAAAAAAA/////wABBxcCAAAAAQAAAAQAAAAEHUFwbG9yaXMuQmFzZS5PYmplY3RzLlZhcmlhYmxlAwAAAAFfAgAA8QEAAAEAAAAAAAAAAWACAADxAQAAAAAAAAAAAAABYQIAAPEBAAAAAAAAAAAAAAFiAgAA8QEAAAAAAAAAAAAADxgCAAABAAAACAAAAAABHQIAAP0AAAAKWAIAAAFjAgAAMwEAAAIAAAABZAIAADQBAAABAAAAAWUCAAAUAAAAfy8iQgIAXkEkz6VCqEjiQQFmAgAANgEAAAAAAAAAAKBAAAFnAgAAIAAAAFL/o0JWJOBBAWgCAACaAAAAAAAAAAAAAAAAAAAAAAlpAgAAAAAAAAlqAgAAAAAAAWsCAACjAAAAAAAAAAFsAgAAbAAAAAAAlkIAAPBBAW0CAAAUAAAAYidOQhM7gUEcrXJCiZ24QRKDvj8GbgIAABJVbmRlciAxLDAwMA0KKDEyJSkKCW8CAAAJbgIAADQDAAD/////AQEKCXACAAABAAoAAR4CAAAbAAAAAXECAAAgAAAAfy8WQlWkNEIBcgIAACAAAADk5vxCAgAuQQlzAgAACXQCAAAAAAAACgF1AgAAbAAAAAAAAAAAAAAAAXYCAABsAAAAAAAAAAAAAAAAAAAAAXcCAAAUAAAAAAAAAAAAAAAAAAAAAAAAAKQBAAD/////AQEKCXgCAAABAAoABx8CAAAAAQAAAAIAAAAEGkFwbG9yaXMuQmFzZS5VSS5WaXN1YWxMaW5lAwAAAAoKByACAAAAAQAAAAMAAAAEFVN5c3RlbS5EcmF3aW5nLlBvaW50RgQAAAABeQIAACAAAABS/6NCViTgQQF6AgAAIAAAAH8vCkJWJOBBAXsCAAAgAAAAcnMBQ1Yk4EEHIQIAAAABAAAAAwAAAAQXQXBsb3Jpcy5CYXNlLkFuY2hvck1vZGUDAAAAAXwCAACaAAAAAAAAAAF9AgAAmgAAAAIAAAABfgIAAJoAAAAEAAAAASICAAAkAAAACdMAAAAAAAAAAAAAAAEjAgAAJQAAAAl/AgAAAgAAAAYAAAABJAIAAP0AAAAKWAIAAAGAAgAAMwEAAAIAAAABgQIAADQBAAABAAAAAYICAAAUAAAAMcs2QwIAXkEmz6VCtHQgQgGDAgAANgEAAAAAAAAAAKBAAAGEAgAAIAAAAPo+YENaugdCAYUCAACaAAAAAAAAAAAAAAAAAAAAAAmGAgAAAAAAAAmHAgAAAAAAAYgCAACjAAAAAAAAAAGJAgAAbAAAAAAAokIAAPBBAYoCAAAUAAAA2Ik/Qyd2skGikYJCiZ24QRKDvj8GiwIAABQ0LVllYXIgUHVibGljDQooMTYlKQoJjAIAAAmLAgAANAMAAP////8BAQoJjQIAAAEACgABJQIAABsAAAABjgIAACAAAAAxyzNDtPRjQgGPAgAAIAAAAGJZhkMCAC5BCZACAAAJkQIAAAAAAAAKAZICAABsAAAAAAAAAAAAAAABkwIAAGwAAAAAAAAAAAAAAAAAAAABlAIAABQAAAAAAAAAAAAAAAAAAAAAAAAApAEAAP////8BAQoJlQIAAAEACgAHJgIAAAABAAAAAgAAAAQaQXBsb3Jpcy5CYXNlLlVJLlZpc3VhbExpbmUDAAAACgoHJwIAAAABAAAAAwAAAAQVU3lzdGVtLkRyYXdpbmcuUG9pbnRGBAAAAAGWAgAAIAAAAPo+YENaugdCAZcCAAAgAAAAMcswQ1q6B0IBmAIAACAAAABi2YdDWroHQgcoAgAAAAEAAAADAAAABBdBcGxvcmlzLkJhc2UuQW5jaG9yTW9kZQMAAAABmQIAAJoAAAAAAAAAAZoCAACaAAAAAgAAAAGbAgAAmgAAAAQAAAABKQIAACQAAAAJ0wAAAAAAAAAAAAAAASoCAAAlAAAACZwCAAACAAAABgAAAAErAgAA/QAAAApYAgAAAZ0CAAAzAQAAAgAAAAGeAgAANAEAAAEAAAABnwIAABQAAAB/LyJCVaRAQiTPpUKHtjNDAaACAAA2AQAAAAAAAAAAoEAAAaECAAAgAAAAUv+jQlkECkMBogIAAJoAAAAAAAAAAAAAAAAAAAAACaMCAAAAAAAACaQCAAAAAAABpQIAAKMAAAAAAAAAAaYCAABsAAAAAACQQgAA8EEBpwIAABQAAADETlRCxE78QglyaUKJnbhBEoO+PwaoAgAAEjEsMDAwLTQsOTk5DQooNjUlKQoJqQIAAAmoAgAANAMAAP////8BAQoJqgIAAAEACgABLAIAABsAAAABqwIAACAAAAB/LxZCnN9mQwGsAgAAIAAAAOTm/EJVpDRCCa0CAAAJrgIAAAAAAAAKAa8CAABsAAAAAAAAAAAAAAABsAIAAGwAAAAAAAAAAAAAAAAAAAABsQIAABQAAAAAAAAAAAAAAAAAAAAAAAAApAEAAP////8BAQoJsgIAAAEACgAHLQIAAAABAAAAAgAAAAQaQXBsb3Jpcy5CYXNlLlVJLlZpc3VhbExpbmUDAAAACgoHLgIAAAABAAAAAwAAAAQVU3lzdGVtLkRyYXdpbmcuUG9pbnRGBAAAAAGzAgAAIAAAAFL/o0JZBApDAbQCAAAgAAAAfy8KQlkECkMBtQIAACAAAABycwFDWQQKQwcvAgAAAAEAAAADAAAABBdBcGxvcmlzLkJhc2UuQW5jaG9yTW9kZQMAAAABtgIAAJoAAAAAAAAAAbcCAACaAAAAAgAAAAG4AgAAmgAAAAQAAAABMAIAACQAAAAJ0wAAAAAAAAAAAAAAATECAAAlAAAACbkCAAACAAAABgAAAAEyAgAA/QAAAApYAgAAAboCAAAzAQAAAgAAAAG7AgAANAEAAAEAAAABvAIAABQAAAAxyzZDtPRvQibPpUIGZshCAb0CAAA2AQAAAAAAAAAAoEAAAb4CAAAgAAAA+j5gQ10t3EIBvwIAAJoAAAAAAAAAAAAAAAAAAAAACcACAAAAAAAACcECAAAAAAABwgIAAKMAAAAAAAAAAcMCAABsAAAAAACuQgAA8EEBxAIAABQAAAATOz1DTuzEQrXMi0KJnbhBEoO+PwbFAgAAFTQtWWVhciBQcml2YXRlDQooMzclKQoJxgIAAAnFAgAANAMAAP////8BAQoJxwIAAAEACgABMwIAABsAAAAByAIAACAAAAAxyzNDMDAjQwHJAgAAIAAAAGJZhkO09GNCCcoCAAAJywIAAAAAAAAKAcwCAABsAAAAAAAAAAAAAAABzQIAAGwAAAAAAAAAAAAAAAAAAAABzgIAABQAAAAAAAAAAAAAAAAAAAAAAAAApAEAAP////8BAQoJzwIAAAEACgAHNAIAAAABAAAAAgAAAAQaQXBsb3Jpcy5CYXNlLlVJLlZpc3VhbExpbmUDAAAACgoHNQIAAAABAAAAAwAAAAQVU3lzdGVtLkRyYXdpbmcuUG9pbnRGBAAAAAHQAgAAIAAAAPo+YENdLdxCAdECAAAgAAAAMcswQ10t3EIB0gIAACAAAABi2YdDXS3cQgc2AgAAAAEAAAADAAAABBdBcGxvcmlzLkJhc2UuQW5jaG9yTW9kZQMAAAAB0wIAAJoAAAAAAAAAAdQCAACaAAAAAgAAAAHVAgAAmgAAAAQAAAABNwIAACQAAAAJ0wAAAAAAAAAAAAAAATgCAAAlAAAACdYCAAACAAAABgAAAAE5AgAA/QAAAApYAgAAAdcCAAAzAQAAAgAAAAHYAgAANAEAAAEAAAAB2QIAABQAAAB/LyJCnN9pQyTPpUJAbctBAdoCAAA2AQAAAAAAAAAAoEAAAdsCAAAgAAAAUv+jQnCWdkMB3AIAAJoAAAAAAAAAAAAAAAAAAAAACd0CAAAAAAAACd4CAAAAAAAB3wIAAKMAAAAAAAAAAeACAABsAAAAAACQQgAA8EEB4QIAABQAAADETlRCdWJrQwlyaUKJnbhBEoO+PwbiAgAAEjUsMDAwLTksOTk5DQooMTElKQoJ4wIAAAniAgAANAMAAP////8BAQoJ5AIAAAEACgABOgIAABsAAAAB5QIAACAAAAB/LxZCoiaDQwHmAgAAIAAAAOTm/EKc32ZDCecCAAAJ6AIAAAAAAAAKAekCAABsAAAAAAAAAAAAAAAB6gIAAGwAAAAAAAAAAAAAAAAAAAAB6wIAABQAAAAAAAAAAAAAAAAAAAAAAAAApAEAAP////8BAQoJ7AIAAAEACgAHOwIAAAABAAAAAgAAAAQaQXBsb3Jpcy5CYXNlLlVJLlZpc3VhbExpbmUDAAAACgoHPAIAAAABAAAAAwAAAAQVU3lzdGVtLkRyYXdpbmcuUG9pbnRGBAAAAAHtAgAAIAAAAFL/o0JwlnZDAe4CAAAgAAAAfy8KQnCWdkMB7wIAACAAAABycwFDcJZ2Qwc9AgAAAAEAAAADAAAABBdBcGxvcmlzLkJhc2UuQW5jaG9yTW9kZQMAAAAB8AIAAJoAAAAAAAAAAfECAACaAAAAAgAAAAHyAgAAmgAAAAQAAAABPgIAACQAAAAJ0wAAAAAAAAAAAAAAAT8CAAAlAAAACfMCAAACAAAABgAAAAFAAgAA/QAAAApYAgAAAfQCAAAzAQAAAgAAAAH1AgAANAEAAAEAAAAB9gIAABQAAAAxyzZDMDAmQybPpUJUzP5CAfcCAAA2AQAAAAAAAAAAoEAAAfgCAAAgAAAA+j5gQ0XjZUMB+QIAAJoAAAAAAAAAAAAAAAAAAAAACfoCAAAAAAAACfsCAAAAAAAB/AIAAKMAAAAAAAAAAf0CAABsAAAAAAAgQgAA8EEB/gIAABQAAAA6sU9DJ3ZaQ+L7BkKJnbhBEoO+Pwb/AgAADTItWWVhcg0KKDQ3JSkKCQADAAAJ/wIAADQDAAD/////AQEKCQEDAAABAAoAAUECAAAbAAAAAQIDAAAgAAAAMcszQy1LlEMBAwMAACAAAABiWYZDMDAjQwkEAwAACQUDAAAAAAAACgEGAwAAbAAAAAAAAAAAAAAAAQcDAABsAAAAAAAAAAAAAAAAAAAAAQgDAAAUAAAAAAAAAAAAAAAAAAAAAAAAAKQBAAD/////AQEKCQkDAAABAAoAB0ICAAAAAQAAAAIAAAAEGkFwbG9yaXMuQmFzZS5VSS5WaXN1YWxMaW5lAwAAAAoKB0MCAAAAAQAAAAMAAAAEFVN5c3RlbS5EcmF3aW5nLlBvaW50RgQAAAABCgMAACAAAAD6PmBDReNlQwELAwAAIAAAADHLMENF42VDAQwDAAAgAAAAYtmHQ0XjZUMHRAIAAAABAAAAAwAAAAQXQXBsb3Jpcy5CYXNlLkFuY2hvck1vZGUDAAAAAQ0DAACaAAAAAAAAAAEOAwAAmgAAAAIAAAABDwMAAJoAAAAEAAAAAUUCAAAkAAAACdMAAAAAAAAAAAAAAAFGAgAAJQAAAAkQAwAAAgAAAAYAAAABRwIAAP0AAAAKWAIAAAERAwAAMwEAAAIAAAABEgMAADQBAAABAAAAARMDAAAUAAAAfy8iQqKmhEMkz6VCgP9fQQEUAwAANgEAAAAAAAAAAKBAAAEVAwAAIAAAAFL/o0KgJohDARYDAACaAAAAAAAAAAAAAAAAAAAAAAkXAwAAAAAAAAkYAwAAAQAAARkDAACjAAAAAAAAAAEaAwAAbAAAAAAA8EIAAHBBARsDAAAUAAAAJ3YKQrEThUOikb5CiZ04QRKDvj8GHAMAABIxMCwwMDAtMTksOTk5ICg3JSkKCR0DAAAJHAMAADQDAAD/////AQEKCR4DAAABAAoAAUgCAAAbAAAAAR8DAAAgAAAAfy8WQp4mjUMBIAMAACAAAADk5vxCoiaDQwkhAwAACSIDAAAAAAAACgEjAwAAbAAAAAAAAAAAAAAAASQDAABsAAAAAAAAAAAAAAAAAAAAASUDAAAUAAAAAAAAAAAAAAAAAAAAAAAAAKQBAAD/////AQEKCSYDAAABAAoAB0kCAAAAAQAAAAIAAAAEGkFwbG9yaXMuQmFzZS5VSS5WaXN1YWxMaW5lAwAAAAoKB0oCAAAAAQAAAAMAAAAEFVN5c3RlbS5EcmF3aW5nLlBvaW50RgQAAAABJwMAACAAAABS/6NCoCaIQwEoAwAAIAAAAH8vCkKgJohDASkDAAAgAAAAcnMBQ6AmiEMHSwIAAAABAAAAAwAAAAQXQXBsb3Jpcy5CYXNlLkFuY2hvck1vZGUDAAAAASoDAACaAAAAAAAAAAErAwAAmgAAAAIAAAABLAMAAJoAAAAEAAAAAUwCAAAkAAAACdMAAAAAAAAAAAAAAAFNAgAAJQAAAAktAwAAAgAAAAIAAAAHTgIAAAABAAAAAgAAAAQaQXBsb3Jpcy5CYXNlLlVJLlZpc3VhbExpbmUDAAAACgoBTwIAACQAAAAJ0wAAAAAAAAAAAAAAAVACAAAlAAAACdEAAAAAAAAAAAAAAAFRAgAA/QAAAApYAgAAAS4DAAAzAQAAAgAAAAEvAwAANAEAAAEAAAABMAMAABQAAAB/LyJCnqaOQyTPpULgkQRBATEDAAA2AQAAAAAAAAAAoEAAATIDAAAgAAAAUv+jQua4kEMBMwMAAJoAAAAAAAAAAAAAAAAAAAAACTQDAAAAAAAACTUDAAAAAAABNgMAAKMAAAAAAAAAATcDAABsAAAAAACkQgAAcEEBOAMAABQAAABO7ERCTuyNQ3obhEKJnThBEoO+PwY5AwAADDIwLDAwMCsgKDUlKQoJOgMAAAk5AwAANAMAAP////8BAQoJOwMAAAEACgABUgIAABsAAAABPAMAACAAAAB/LxZCLUuUQwE9AwAAIAAAAOTm/EKeJo1DCT4DAAAJPwMAAAAAAAAKAUADAABsAAAAAAAAAAAAAAABQQMAAGwAAAAAAAAAAAAAAAAAAAABQgMAABQAAAAAAAAAAAAAAAAAAAAAAAAApAEAAP////8BAQoJQwMAAAEACgAHUwIAAAABAAAAAgAAAAQaQXBsb3Jpcy5CYXNlLlVJLlZpc3VhbExpbmUDAAAACgoHVAIAAAABAAAAAwAAAAQVU3lzdGVtLkRyYXdpbmcuUG9pbnRGBAAAAAFEAwAAIAAAAFL/o0LmuJBDAUUDAAAgAAAAfy8KQua4kEMBRgMAACAAAABycwFD5riQQwdVAgAAAAEAAAADAAAABBdBcGxvcmlzLkJhc2UuQW5jaG9yTW9kZQMAAAABRwMAAJoAAAAAAAAAAUgDAACaAAAAAgAAAAFJAwAAmgAAAAQAAAABVgIAACQAAAAJ0wAAAAAAAAAAAAAAAVcCAAAlAAAACUoDAAACAAAAAgAAAAdYAgAAAAEAAAACAAAABBpBcGxvcmlzLkJhc2UuVUkuVmlzdWFsTGluZQMAAAAKCgFZAgAAJAAAAAnTAAAAAAAAAAAAAAABWgIAACUAAAAJ0QAAAAAAAAAAAAAAAWkCAAAiAAAACgoAAAAAAChBCXAAAAAJcQAAAAlLAwAAAAAJTAMAAAFqAgAAcgAAAAoKAAAAADZshwAFAAAAAAEBbwIAAKcAAAAJTQMAAAAAAAAEAAAAAXACAABvAAAACU4DAAAKAXMCAABqAAAACgoAAABAPwlPAwAACVADAAABAAAA/v///wAAAAABAAAAAAAAAAAAAAABAAAAAAAAAAAAAAF0AgAAawAAAAoKCVEDAAAJUgMAAAEAAAD+////AAAAAP////8BAAF4AgAAbwAAAAlTAwAACgd/AgAAAAEAAAAEAAAABBxBcGxvcmlzLkJhc2UuVUkuVmlzdWFsT2JqZWN0AwAAAAkeAgAACR0CAAAKCgGGAgAAIgAAAAoKAAAAAAAoQQlwAAAACXEAAAAJVAMAAAAACVUDAAABhwIAAHIAAAAKCgAAAAAiQU4ADwAAAAABAYwCAACnAAAACVYDAAAAAAAABQAAAAGNAgAAbwAAAAlXAwAACgGQAgAAagAAAAoKAAAAQD8JWAMAAAlZAwAAAQAAAP7///8AAAAAAQAAAAAAAAAAAAAAAQAAAAAAAAAAAAABkQIAAGsAAAAKCglaAwAACVsDAAABAAAA/v///wAAAAD/////AAABlQIAAG8AAAAJXAMAAAoHnAIAAAABAAAABAAAAAQcQXBsb3Jpcy5CYXNlLlVJLlZpc3VhbE9iamVjdAMAAAAJJQIAAAkkAgAACgoBowIAACIAAAAKCgAAAAAAKEEJcAAAAAlxAAAACV0DAAAAAAleAwAAAaQCAAByAAAACgoAAAAAcoSMAAYAAAAAAQGpAgAApwAAAAlfAwAAAAAAAAQAAAABqgIAAG8AAAAJYAMAAAoBrQIAAGoAAAAKCgAAAEA/CWEDAAAJYgMAAAEAAAD+////AAAAAAEAAAAAAAAAAAAAAAEAAAAAAAAAAAAAAa4CAABrAAAACgoJYwMAAAlkAwAAAQAAAP7///8AAAAA/////wEAAbICAABvAAAACWUDAAAKB7kCAAAAAQAAAAQAAAAEHEFwbG9yaXMuQmFzZS5VSS5WaXN1YWxPYmplY3QDAAAACSwCAAAJKwIAAAoKAcACAAAiAAAACgoAAAAAAChBCXAAAAAJcQAAAAlmAwAAAAAJZwMAAAHBAgAAcgAAAAoKAAAAANvc3gAQAAAAAAEBxgIAAKcAAAAJaAMAAAAAAAAFAAAAAccCAABvAAAACWkDAAAKAcoCAABqAAAACgoAAABAPwlqAwAACWsDAAABAAAA/v///wAAAAABAAAAAAAAAAAAAAABAAAAAAAAAAAAAAHLAgAAawAAAAoKCWwDAAAJbQMAAAEAAAD+////AAAAAP////8AAAHPAgAAbwAAAAluAwAACgfWAgAAAAEAAAAEAAAABBxBcGxvcmlzLkJhc2UuVUkuVmlzdWFsT2JqZWN0AwAAAAkzAgAACTICAAAKCgHdAgAAIgAAAAoKAAAAAAAoQQlwAAAACXEAAAAJbwMAAAAACXADAAAB3gIAAHIAAAAKCgAAAADtISUABwAAAAABAeMCAACnAAAACXEDAAAAAAAABAAAAAHkAgAAbwAAAAlyAwAACgHnAgAAagAAAAoKAAAAQD8JcwMAAAl0AwAAAQAAAP7///8AAAAAAQAAAAAAAAAAAAAAAQAAAAAAAAAAAAAB6AIAAGsAAAAKCgl1AwAACXYDAAABAAAA/v///wAAAAD/////AQAB7AIAAG8AAAAJdwMAAAoH8wIAAAABAAAABAAAAAQcQXBsb3Jpcy5CYXNlLlVJLlZpc3VhbE9iamVjdAMAAAAJOgIAAAk5AgAACgoB+gIAACIAAAAKCgAAAAAAKEEJcAAAAAlxAAAACXgDAAAAAAl5AwAAAfsCAAByAAAACgoAAAAA95QeAAoAAAAAAQEAAwAApwAAAAl6AwAAAAAAAAMAAAABAQMAAG8AAAAJewMAAAoBBAMAAGoAAAAKCgAAAEA/CXwDAAAJfQMAAAEAAAD+////AAAAAAEAAAAAAAAAAAAAAAEAAAAAAAAAAAAAAQUDAABrAAAACgoJfgMAAAl/AwAAAQAAAP7///8AAAAA/////wAAAQkDAABvAAAACYADAAAKBxADAAAAAQAAAAQAAAAEHEFwbG9yaXMuQmFzZS5VSS5WaXN1YWxPYmplY3QDAAAACUECAAAJQAIAAAoKARcDAAAiAAAACgoAAAAAAChBCXAAAAAJcQAAAAmBAwAAAAAJggMAAAEYAwAAcgAAAAoKAAAAAEY7NAAIAAAAAAABHQMAAKcAAAAJgwMAAAAAAAAFAAAAAR4DAABvAAAACYQDAAAKASEDAABqAAAACgoAAABAPwmFAwAACYYDAAABAAAA/v///wAAAAABAAAAAAAAAAAAAAABAAAAAAAAAAAAAAEiAwAAawAAAAoKCYcDAAAJiAMAAAEAAAD+////AAAAAP////8BAAEmAwAAbwAAAAmJAwAACgctAwAAAAEAAAAEAAAABBxBcGxvcmlzLkJhc2UuVUkuVmlzdWFsT2JqZWN0AwAAAAlIAgAACUcCAAAKCgE0AwAAIgAAAAoKAAAAAAAoQQlwAAAACXEAAAAJigMAAAAACYsDAAABNQMAAHIAAAAKCgAAAADDmHQACQAAAAABAToDAACnAAAACYwDAAAAAAAABQAAAAE7AwAAbwAAAAmNAwAACgE+AwAAagAAAAoKAAAAQD8JjgMAAAmPAwAAAQAAAP7///8AAAAAAQAAAAAAAAAAAAAAAQAAAAAAAAAAAAABPwMAAGsAAAAKCgmQAwAACZEDAAABAAAA/v///wAAAAD/////AQABQwMAAG8AAAAJkgMAAAoHSgMAAAABAAAABAAAAAQcQXBsb3Jpcy5CYXNlLlVJLlZpc3VhbE9iamVjdAMAAAAJUgIAAAlRAgAACgoBSwMAAHIAAAAKCgAAAAD///8ADgAAAAAAAUwDAAByAAAACgoAAAAA////AA4AAAAAAQdNAwAAAAEAAAAEAAAABB1BcGxvcmlzLkJhc2UuT2JqZWN0cy5WYXJpYWJsZQMAAAABkwMAAPEBAAAAAAAAAAAAAAGUAwAA8QEAAAAAAAAAAAAAAZUDAADxAQAAAAAAAAAAAAABlgMAAPEBAAAAAAAAAAAAAA9OAwAAAQAAAAgfAAAABU8DAAAaQXBsb3Jpcy5CYXNlLk9iamVjdHMuQ29sb3IHAAAAEkRhdGFPYmplY3QrbVBhcmVudBVEYXRhT2JqZWN0K21Db250YWluZXIFbVR5cGUEbVJHQhBtVGhlbWVDb2xvckluZGV4DG1BdXRvVXBkYXRlZAltTW9kaWZpZWQEAgAAAAAAH0FwbG9yaXMuQmFzZS5PYmplY3RzLkxpbmVGb3JtYXQDAAAACAgIAQEDAAAACXMCAAAKAAAAAP///wAOAAAAAAAFUAMAABpBcGxvcmlzLkJhc2UuT2JqZWN0cy5Db2xvcgcAAAASRGF0YU9iamVjdCttUGFyZW50FURhdGFPYmplY3QrbUNvbnRhaW5lcgVtVHlwZQRtUkdCEG1UaGVtZUNvbG9ySW5kZXgMbUF1dG9VcGRhdGVkCW1Nb2RpZmllZAQCAAAAAAAfQXBsb3Jpcy5CYXNlLk9iamVjdHMuTGluZUZvcm1hdAMAAAAICAgBAQMAAAAJcwIAAAoBAAAAAAAAAP////8AAQFRAwAAcgAAAAoKAAAAADZshwAFAAAAAAABUgMAAHIAAAAKCgEAAAD///8A/////wAAD1MDAAABAAAACAgAAAABVAMAAHIAAAAKCgAAAAD///8ADgAAAAAAAVUDAAByAAAACgoAAAAA////AA4AAAAAAQdWAwAAAAEAAAAEAAAABB1BcGxvcmlzLkJhc2UuT2JqZWN0cy5WYXJpYWJsZQMAAAABlwMAAPEBAAAAAAAAAAAAAAGYAwAA8QEAAAAAAAAAAAAAAZkDAADxAQAAAAAAAAAAAAABmgMAAPEBAAAAAAAAAAAAAA9XAwAAAQAAAAgaAAAABVgDAAAaQXBsb3Jpcy5CYXNlLk9iamVjdHMuQ29sb3IHAAAAEkRhdGFPYmplY3QrbVBhcmVudBVEYXRhT2JqZWN0K21Db250YWluZXIFbVR5cGUEbVJHQhBtVGhlbWVDb2xvckluZGV4DG1BdXRvVXBkYXRlZAltTW9kaWZpZWQEAgAAAAAAH0FwbG9yaXMuQmFzZS5PYmplY3RzLkxpbmVGb3JtYXQDAAAACAgIAQEDAAAACZACAAAKAAAAAP///wAOAAAAAAAFWQMAABpBcGxvcmlzLkJhc2UuT2JqZWN0cy5Db2xvcgcAAAASRGF0YU9iamVjdCttUGFyZW50FURhdGFPYmplY3QrbUNvbnRhaW5lcgVtVHlwZQRtUkdCEG1UaGVtZUNvbG9ySW5kZXgMbUF1dG9VcGRhdGVkCW1Nb2RpZmllZAQCAAAAAAAfQXBsb3Jpcy5CYXNlLk9iamVjdHMuTGluZUZvcm1hdAMAAAAICAgBAQMAAAAJkAIAAAoBAAAAAAAAAP////8AAQFaAwAAcgAAAAoKAAAAACJBTgAPAAAAAAABWwMAAHIAAAAKCgEAAAD///8A/////wAAD1wDAAABAAAACAcAAAABXQMAAHIAAAAKCgAAAAD///8ADgAAAAAAAV4DAAByAAAACgoAAAAA////AA4AAAAAAQdfAwAAAAEAAAAEAAAABB1BcGxvcmlzLkJhc2UuT2JqZWN0cy5WYXJpYWJsZQMAAAABmwMAAPEBAAAAAAAAAAAAAAGcAwAA8QEAAAAAAAAAAAAAAZ0DAADxAQAAAAAAAAAAAAABngMAAPEBAAAAAAAAAAAAAA9gAwAAAQAAAAgbAAAABWEDAAAaQXBsb3Jpcy5CYXNlLk9iamVjdHMuQ29sb3IHAAAAEkRhdGFPYmplY3QrbVBhcmVudBVEYXRhT2JqZWN0K21Db250YWluZXIFbVR5cGUEbVJHQhBtVGhlbWVDb2xvckluZGV4DG1BdXRvVXBkYXRlZAltTW9kaWZpZWQEAgAAAAAAH0FwbG9yaXMuQmFzZS5PYmplY3RzLkxpbmVGb3JtYXQDAAAACAgIAQEDAAAACa0CAAAKAAAAAP///wAOAAAAAAAFYgMAABpBcGxvcmlzLkJhc2UuT2JqZWN0cy5Db2xvcgcAAAASRGF0YU9iamVjdCttUGFyZW50FURhdGFPYmplY3QrbUNvbnRhaW5lcgVtVHlwZQRtUkdCEG1UaGVtZUNvbG9ySW5kZXgMbUF1dG9VcGRhdGVkCW1Nb2RpZmllZAQCAAAAAAAfQXBsb3Jpcy5CYXNlLk9iamVjdHMuTGluZUZvcm1hdAMAAAAICAgBAQMAAAAJrQIAAAoBAAAAAAAAAP////8AAQFjAwAAcgAAAAoKAAAAAHKEjAAGAAAAAAABZAMAAHIAAAAKCgEAAAD///8A/////wAAD2UDAAABAAAACAMAAAABZgMAAHIAAAAKCgAAAAAAAAAADQAAAAAAAWcDAAByAAAACgoAAAAAAAAAAA0AAAAAAQdoAwAAAAEAAAAEAAAABB1BcGxvcmlzLkJhc2UuT2JqZWN0cy5WYXJpYWJsZQMAAAABnwMAAPEBAAAAAAAAAAAAAAGgAwAA8QEAAAAAAAAAAAAAAaEDAADxAQAAAAAAAAAAAAABogMAAPEBAAAAAAAAAAAAAA9pAwAAAQAAAAgZAAAABWoDAAAaQXBsb3Jpcy5CYXNlLk9iamVjdHMuQ29sb3IHAAAAEkRhdGFPYmplY3QrbVBhcmVudBVEYXRhT2JqZWN0K21Db250YWluZXIFbVR5cGUEbVJHQhBtVGhlbWVDb2xvckluZGV4DG1BdXRvVXBkYXRlZAltTW9kaWZpZWQEAgAAAAAAH0FwbG9yaXMuQmFzZS5PYmplY3RzLkxpbmVGb3JtYXQDAAAACAgIAQEDAAAACcoCAAAKAAAAAP///wAOAAAAAAAFawMAABpBcGxvcmlzLkJhc2UuT2JqZWN0cy5Db2xvcgcAAAASRGF0YU9iamVjdCttUGFyZW50FURhdGFPYmplY3QrbUNvbnRhaW5lcgVtVHlwZQRtUkdCEG1UaGVtZUNvbG9ySW5kZXgMbUF1dG9VcGRhdGVkCW1Nb2RpZmllZAQCAAAAAAAfQXBsb3Jpcy5CYXNlLk9iamVjdHMuTGluZUZvcm1hdAMAAAAICAgBAQMAAAAJygIAAAoBAAAAAAAAAP////8AAQFsAwAAcgAAAAoKAAAAANvc3gAQAAAAAAABbQMAAHIAAAAKCgEAAAD///8A/////wAAD24DAAABAAAACAIAAAABbwMAAHIAAAAKCgAAAAD///8ADgAAAAAAAXADAAByAAAACgoAAAAA////AA4AAAAAAQdxAwAAAAEAAAAEAAAABB1BcGxvcmlzLkJhc2UuT2JqZWN0cy5WYXJpYWJsZQMAAAABowMAAPEBAAAAAAAAAAAAAAGkAwAA8QEAAAAAAAAAAAAAAaUDAADxAQAAAAAAAAAAAAABpgMAAPEBAAAAAAAAAAAAAA9yAwAAAQAAAAgcAAAABXMDAAAaQXBsb3Jpcy5CYXNlLk9iamVjdHMuQ29sb3IHAAAAEkRhdGFPYmplY3QrbVBhcmVudBVEYXRhT2JqZWN0K21Db250YWluZXIFbVR5cGUEbVJHQhBtVGhlbWVDb2xvckluZGV4DG1BdXRvVXBkYXRlZAltTW9kaWZpZWQEAgAAAAAAH0FwbG9yaXMuQmFzZS5PYmplY3RzLkxpbmVGb3JtYXQDAAAACAgIAQEDAAAACecCAAAKAAAAAP///wAOAAAAAAAFdAMAABpBcGxvcmlzLkJhc2UuT2JqZWN0cy5Db2xvcgcAAAASRGF0YU9iamVjdCttUGFyZW50FURhdGFPYmplY3QrbUNvbnRhaW5lcgVtVHlwZQRtUkdCEG1UaGVtZUNvbG9ySW5kZXgMbUF1dG9VcGRhdGVkCW1Nb2RpZmllZAQCAAAAAAAfQXBsb3Jpcy5CYXNlLk9iamVjdHMuTGluZUZvcm1hdAMAAAAICAgBAQMAAAAJ5wIAAAoBAAAAAAAAAP////8AAQF1AwAAcgAAAAoKAAAAAO0hJQAHAAAAAAABdgMAAHIAAAAKCgEAAAD///8A/////wAAD3cDAAABAAAACAEAAAABeAMAAHIAAAAKCgAAAAAAAAAADQAAAAAAAXkDAAByAAAACgoAAAAAAAAAAA0AAAAAAQd6AwAAAAEAAAAEAAAABB1BcGxvcmlzLkJhc2UuT2JqZWN0cy5WYXJpYWJsZQMAAAABpwMAAPEBAAAAAAAAAAAAAAGoAwAA8QEAAAAAAAAAAAAAAakDAADxAQAAAAAAAAAAAAABqgMAAPEBAAAAAAAAAAAAAA97AwAAAQAAAAggAAAABXwDAAAaQXBsb3Jpcy5CYXNlLk9iamVjdHMuQ29sb3IHAAAAEkRhdGFPYmplY3QrbVBhcmVudBVEYXRhT2JqZWN0K21Db250YWluZXIFbVR5cGUEbVJHQhBtVGhlbWVDb2xvckluZGV4DG1BdXRvVXBkYXRlZAltTW9kaWZpZWQEAgAAAAAAH0FwbG9yaXMuQmFzZS5PYmplY3RzLkxpbmVGb3JtYXQDAAAACAgIAQEDAAAACQQDAAAKAAAAAP///wAOAAAAAAAFfQMAABpBcGxvcmlzLkJhc2UuT2JqZWN0cy5Db2xvcgcAAAASRGF0YU9iamVjdCttUGFyZW50FURhdGFPYmplY3QrbUNvbnRhaW5lcgVtVHlwZQRtUkdCEG1UaGVtZUNvbG9ySW5kZXgMbUF1dG9VcGRhdGVkCW1Nb2RpZmllZAQCAAAAAAAfQXBsb3Jpcy5CYXNlLk9iamVjdHMuTGluZUZvcm1hdAMAAAAICAgBAQMAAAAJBAMAAAoBAAAAAAAAAP////8AAQF+AwAAcgAAAAoKAAAAAPeUHgAKAAAAAAABfwMAAHIAAAAKCgEAAAD///8A/////wAAD4ADAAABAAAACAYAAAABgQMAAHIAAAAKCgAAAAD///8ADgAAAAAAAYIDAAByAAAACgoAAAAA////AA4AAAAAAQeDAwAAAAEAAAAEAAAABB1BcGxvcmlzLkJhc2UuT2JqZWN0cy5WYXJpYWJsZQMAAAABqwMAAPEBAAAAAAAAAAAAAAGsAwAA8QEAAAAAAAAAAAAAAa0DAADxAQAAAAAAAAAAAAABrgMAAPEBAAAAAAAAAAAAAA+EAwAAAQAAAAgdAAAABYUDAAAaQXBsb3Jpcy5CYXNlLk9iamVjdHMuQ29sb3IHAAAAEkRhdGFPYmplY3QrbVBhcmVudBVEYXRhT2JqZWN0K21Db250YWluZXIFbVR5cGUEbVJHQhBtVGhlbWVDb2xvckluZGV4DG1BdXRvVXBkYXRlZAltTW9kaWZpZWQEAgAAAAAAH0FwbG9yaXMuQmFzZS5PYmplY3RzLkxpbmVGb3JtYXQDAAAACAgIAQEDAAAACSEDAAAKAAAAAP///wAOAAAAAAAFhgMAABpBcGxvcmlzLkJhc2UuT2JqZWN0cy5Db2xvcgcAAAASRGF0YU9iamVjdCttUGFyZW50FURhdGFPYmplY3QrbUNvbnRhaW5lcgVtVHlwZQRtUkdCEG1UaGVtZUNvbG9ySW5kZXgMbUF1dG9VcGRhdGVkCW1Nb2RpZmllZAQCAAAAAAAfQXBsb3Jpcy5CYXNlLk9iamVjdHMuTGluZUZvcm1hdAMAAAAICAgBAQMAAAAJIQMAAAoBAAAAAAAAAP////8AAQGHAwAAcgAAAAoKAAAAAEY7NAAIAAAAAAABiAMAAHIAAAAKCgEAAAD///8A/////wAAD4kDAAABAAAACAUAAAABigMAAHIAAAAKCgAAAAAAAAAADQAAAAAAAYsDAAByAAAACgoAAAAAAAAAAA0AAAAAAQeMAwAAAAEAAAAEAAAABB1BcGxvcmlzLkJhc2UuT2JqZWN0cy5WYXJpYWJsZQMAAAABrwMAAPEBAAAAAAAAAAAAAAGwAwAA8QEAAAAAAAAAAAAAAbEDAADxAQAAAAAAAAAAAAABsgMAAPEBAAAAAAAAAAAAAA+NAwAAAQAAAAgeAAAABY4DAAAaQXBsb3Jpcy5CYXNlLk9iamVjdHMuQ29sb3IHAAAAEkRhdGFPYmplY3QrbVBhcmVudBVEYXRhT2JqZWN0K21Db250YWluZXIFbVR5cGUEbVJHQhBtVGhlbWVDb2xvckluZGV4DG1BdXRvVXBkYXRlZAltTW9kaWZpZWQEAgAAAAAAH0FwbG9yaXMuQmFzZS5PYmplY3RzLkxpbmVGb3JtYXQDAAAACAgIAQEDAAAACT4DAAAKAAAAAP///wAOAAAAAAAFjwMAABpBcGxvcmlzLkJhc2UuT2JqZWN0cy5Db2xvcgcAAAASRGF0YU9iamVjdCttUGFyZW50FURhdGFPYmplY3QrbUNvbnRhaW5lcgVtVHlwZQRtUkdCEG1UaGVtZUNvbG9ySW5kZXgMbUF1dG9VcGRhdGVkCW1Nb2RpZmllZAQCAAAAAAAfQXBsb3Jpcy5CYXNlLk9iamVjdHMuTGluZUZvcm1hdAMAAAAICAgBAQMAAAAJPgMAAAoBAAAAAAAAAP////8AAQGQAwAAcgAAAAoKAAAAAMOYdAAJAAAAAAABkQMAAHIAAAAKCgEAAAD///8A/////wAAD5IDAAABAAAACAQAAAAL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36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9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9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6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8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47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8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3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3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5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6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7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p/Zr09rdV663cELG.6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1"/>
  <p:tag name="APLORISCONTAINERTAG" val="AAEAAAD/////AQAAAAAAAAAMAgAAAFJBcGxvcmlzLkJhc2UsIFZlcnNpb249NC4yLjAuMTkxMSwgQ3VsdHVyZT1uZXV0cmFsLCBQdWJsaWNLZXlUb2tlbj0xNmZjMTNhMjI2YzBlOTUxBQEAAAApQXBsb3Jpcy5CYXNlLk9iamVjdHMuQ29udGFpbmVyVmVyc2lvbkluZm8CAAAADVJlcXVpcmVkQnVpbGQJVXNlZEJ1aWxkAAAICAIAAAB4BQAAdwcAAAsAAQAAAP////8BAAAAAAAAAAwCAAAAU0FwbG9yaXMuQ2hhcnQsIFZlcnNpb249NC4yLjAuMTkxMSwgQ3VsdHVyZT1uZXV0cmFsLCBQdWJsaWNLZXlUb2tlbj0xNmZjMTNhMjI2YzBlOTUxDAMAAABSQXBsb3Jpcy5CYXNlLCBWZXJzaW9uPTQuMi4wLjE5MTEsIEN1bHR1cmU9bmV1dHJhbCwgUHVibGljS2V5VG9rZW49MTZmYzEzYTIyNmMwZTk1MQwEAAAAUVN5c3RlbS5EcmF3aW5nLCBWZXJzaW9uPTQuMC4wLjAsIEN1bHR1cmU9bmV1dHJhbCwgUHVibGljS2V5VG9rZW49YjAzZjVmN2YxMWQ1MGEzYQUBAAAAIUFwbG9yaXMuQ2hhcnQuQ29sdW1uT3JpZW50ZWRDaGFydE8AAAAKbUNoYXJ0VHlwZQ1tQ2F0ZWdvcnlBeGlzCm1WYWx1ZUF4aXMLbVZhbHVlQXhpczIYbVZhbHVlQXhpczFCb3R0b21PclJpZ2h0EW1VbnVzZWREYXRhU2VyaWVzFW1VbnVzZWREYXRhU2VyaWVzTGlzdBBtQ2hhcnREYXRhU2VyaWVzFW1Bbm5vdGF0aW9uRGF0YVNlcmllcxFtQW5ub3RhdGlvbkdyb3VwcxBtQ2hhcnREYXRhR3JvdXBzCm1EZWx0YUJhcnMNbURlbHRhQnJpZGdlcw1tR3Jvd3RoQXJyb3dzFG1XYXRlcmZhbGxDb25uZWN0b3JzEm1FbGVtZW50Q29ubmVjdG9ycxptU3RhbmRhcmRFbGVtZW50Q29ubmVjdG9ycwhtQmFyVHlwZRdtRXh0ZW5kZWRDdXN0b21TdGFja2luZxJtRGVmYXVsdFNlcmllc1R5cGUHbUxlZ2VuZBZtQ2x1c3RlcmVkQmFyQXhpc09yZGVyE21SZXZlcnNlU2VyaWVzT3JkZXIPbUFubm90YXRpb25BcmVhFG1Bbm5vdGF0aW9uR3JvdXBBcmVhF21QbGFjZWhvbGRlckdyb3Vwc0F0RW5kDm1IYXNDdXN0b21TdW1zFW1BeGlzQnJlYWtEaXNwbGF5TW9kZRFtU2hvd1Nlcmllc0xhYmVscxJtU2hvd0VsZW1lbnRMYWJlbHMQbVNob3dUb3RhbExhYmVscw5tTWVra29TdW1MYWJlbAptUmlkZ2VMaW5lGG1NZWtrb1N1bU51bWJlckZvcm1hdEFicxdtTWVra29TdW1MYWJlbFBvc2l0aW9ucxltTWVra29TdW1MYWJlbEFuY2hvck1vZGVzFm1NZWtrb1N1bUxhYmVsUG9zaXRpb24NbUhhc1JpZGdlTGluZQ1tR3JvdXBCYXJBeGlzDW1FeGNlbENvbHVtbnMRbUV4Y2VsQ29sdW1uQXJyYXkTbUNsdXN0ZXJlZEJhclNlcmllcxNtQ3VzdG9tU3RhY2tpbmdEYXRhJVJlY3Rhbmd1bGFyQ2hhcnQrbUJhc2VsaW5lT3JpZW50YXRpb24bUmVjdGFuZ3VsYXJDaGFydCttUmVjdGFuZ2xlEENoYXJ0K21DaGFydEFyZWESQ2hhcnQrbUhhc0RhdGFMaW5rEUNoYXJ0K21EYXRhTGlua0lkFUNoYXJ0K21BdXRvRGF0YVVwZGF0ZRpDaGFydCttQXZhaWxhYmxlVXBkYXRlRmlsZRNDaGFydCttTGFzdExpbmtGaWxlDENoYXJ0K21TaGVldBRDaGFydCttVHJhbnNwb3NlRGF0YRpDaGFydCttU2VyaWFsaXplZERhdGFUYWJsZRBDaGFydCttRml4ZWRSb3dzE0NoYXJ0K21GaXhlZENvbHVtbnMbQ2hhcnQrbUZpbGxDb2xvclNjaGVtZUluZGV4HENoYXJ0K21MaW5lRm9ybWF0U2NoZW1lSW5kZXgeQ2hhcnQrbU1hcmtlckZvcm1hdFNjaGVtZUluZGV4DkNoYXJ0K21VcGRhdGVkFkNoYXJ0K21SZXF1aXJlZEFyZWFTZXQTQ2hhcnQrbVJlcXVpcmVkQXJlYQ9Db250YWluZXIrbUxlZnQOQ29udGFpbmVyK21Ub3AQQ29udGFpbmVyK21XaWR0aBFDb250YWluZXIrbUhlaWdodBxDb250YWluZXIrbUNvbnRhaW5lclNoYXBlUG9zDUNvbnRhaW5lcittSWQRQ29udGFpbmVyK21UeXBlSWQWQ29udGFpbmVyK21EZWZhdWx0Rm9udB1Db250YWluZXIrbURlZmF1bHRGb250RmFyRWFzdBxDb250YWluZXIrbURlZmF1bHRUZXh0Rm9ybWF0FkNvbnRhaW5lcittVGhlbWVDb2xvcnMSQ29udGFpbmVyK21DbG9uaW5nE0NvbnRhaW5lcittUGVyc0RhdGEYRGF0YU9iamVjdCttQ2hpbGRPYmplY3RzEkRhdGFPYmplY3QrbVBhcmVudBVEYXRhT2JqZWN0K21Db250YWluZXIZRGF0YU9iamVjdCttVmlzdWFsT2JqZWN0cwQEBAQAAwMEBAQEBAQEBAQABAAEBAAABAQAAAQAAAAEBAQEBAAABAMHAAQEBAQAAwABAQcABAcHAAAAAAAEAAAAAAQBAAEBBAQAAgMEBAMlQXBsb3Jpcy5DaGFydC5Db2x1bW5PcmllbnRlZENoYXJ0VHlwZQIAAAAlQXBsb3Jpcy5DaGFydC5Db2x1bW5PcmllbnRlZENoYXJ0QXhpcwIAAAAlQXBsb3Jpcy5DaGFydC5Db2x1bW5PcmllbnRlZENoYXJ0QXhpcwIAAAAlQXBsb3Jpcy5DaGFydC5Db2x1bW5PcmllbnRlZENoYXJ0QXhpcwIAAAABsgFTeXN0ZW0uQ29sbGVjdGlvbnMuT2JqZWN0TW9kZWwuQ29sbGVjdGlvbmAxW1tBcGxvcmlzLkNoYXJ0LkNvbHVtbk9yaWVudGVkQ2hhcnQrVW51c2VkU2VyaWVzLCBBcGxvcmlzLkNoYXJ0LCBWZXJzaW9uPTQuMi4wLjE5MTEsIEN1bHR1cmU9bmV1dHJhbCwgUHVibGljS2V5VG9rZW49MTZmYzEzYTIyNmMwZTk1MV1dqAFTeXN0ZW0uQ29sbGVjdGlvbnMuR2VuZXJpYy5MaXN0YDFbW0FwbG9yaXMuQ2hhcnQuQ29sdW1uT3JpZW50ZWRDaGFydCtVbnVzZWRTZXJpZXMsIEFwbG9yaXMuQ2hhcnQsIFZlcnNpb249NC4yLjAuMTkxMSwgQ3VsdHVyZT1uZXV0cmFsLCBQdWJsaWNLZXlUb2tlbj0xNmZjMTNhMjI2YzBlOTUxXV2hAUFwbG9yaXMuQmFzZS5PYmplY3RzLkRhdGFPYmplY3RDb2xsZWN0aW9uYDFbW0FwbG9yaXMuQ2hhcnQuQ2hhcnREYXRhU2VyaWVzLCBBcGxvcmlzLkNoYXJ0LCBWZXJzaW9uPTQuMi4wLjE5MTEsIEN1bHR1cmU9bmV1dHJhbCwgUHVibGljS2V5VG9rZW49MTZmYzEzYTIyNmMwZTk1MV1dAwAAAKYBQXBsb3Jpcy5CYXNlLk9iamVjdHMuRGF0YU9iamVjdENvbGxlY3Rpb25gMVtbQXBsb3Jpcy5DaGFydC5Bbm5vdGF0aW9uRGF0YVNlcmllcywgQXBsb3Jpcy5DaGFydCwgVmVyc2lvbj00LjIuMC4xOTExLCBDdWx0dXJlPW5ldXRyYWwsIFB1YmxpY0tleVRva2VuPTE2ZmMxM2EyMjZjMGU5NTFdXQMAAAChAUFwbG9yaXMuQmFzZS5PYmplY3RzLkRhdGFPYmplY3RDb2xsZWN0aW9uYDFbW0FwbG9yaXMuQ2hhcnQuQW5ub3RhdGlvbkdyb3VwLCBBcGxvcmlzLkNoYXJ0LCBWZXJzaW9uPTQuMi4wLjE5MTEsIEN1bHR1cmU9bmV1dHJhbCwgUHVibGljS2V5VG9rZW49MTZmYzEzYTIyNmMwZTk1MV1dAwAAAKABQXBsb3Jpcy5CYXNlLk9iamVjdHMuRGF0YU9iamVjdENvbGxlY3Rpb25gMVtbQXBsb3Jpcy5DaGFydC5DaGFydERhdGFHcm91cCwgQXBsb3Jpcy5DaGFydCwgVmVyc2lvbj00LjIuMC4xOTExLCBDdWx0dXJlPW5ldXRyYWwsIFB1YmxpY0tleVRva2VuPTE2ZmMxM2EyMjZjMGU5NTFdXQMAAACaAUFwbG9yaXMuQmFzZS5PYmplY3RzLkRhdGFPYmplY3RDb2xsZWN0aW9uYDFbW0FwbG9yaXMuQ2hhcnQuRGVsdGFCYXIsIEFwbG9yaXMuQ2hhcnQsIFZlcnNpb249NC4yLjAuMTkxMSwgQ3VsdHVyZT1uZXV0cmFsLCBQdWJsaWNLZXlUb2tlbj0xNmZjMTNhMjI2YzBlOTUxXV0DAAAAnQFBcGxvcmlzLkJhc2UuT2JqZWN0cy5EYXRhT2JqZWN0Q29sbGVjdGlvbmAxW1tBcGxvcmlzLkNoYXJ0LkRlbHRhQnJpZGdlLCBBcGxvcmlzLkNoYXJ0LCBWZXJzaW9uPTQuMi4wLjE5MTEsIEN1bHR1cmU9bmV1dHJhbCwgUHVibGljS2V5VG9rZW49MTZmYzEzYTIyNmMwZTk1MV1dAwAAAJ0BQXBsb3Jpcy5CYXNlLk9iamVjdHMuRGF0YU9iamVjdENvbGxlY3Rpb25gMVtbQXBsb3Jpcy5DaGFydC5Hcm93dGhBcnJvdywgQXBsb3Jpcy5DaGFydCwgVmVyc2lvbj00LjIuMC4xOTExLCBDdWx0dXJlPW5ldXRyYWwsIFB1YmxpY0tleVRva2VuPTE2ZmMxM2EyMjZjMGU5NTFdXQMAAACkAUFwbG9yaXMuQmFzZS5PYmplY3RzLkRhdGFPYmplY3RDb2xsZWN0aW9uYDFbW0FwbG9yaXMuQ2hhcnQuV2F0ZXJmYWxsQ29ubmVjdG9yLCBBcGxvcmlzLkNoYXJ0LCBWZXJzaW9uPTQuMi4wLjE5MTEsIEN1bHR1cmU9bmV1dHJhbCwgUHVibGljS2V5VG9rZW49MTZmYzEzYTIyNmMwZTk1MV1dAwAAAKIBQXBsb3Jpcy5CYXNlLk9iamVjdHMuRGF0YU9iamVjdENvbGxlY3Rpb25gMVtbQXBsb3Jpcy5DaGFydC5FbGVtZW50Q29ubmVjdG9yLCBBcGxvcmlzLkNoYXJ0LCBWZXJzaW9uPTQuMi4wLjE5MTEsIEN1bHR1cmU9bmV1dHJhbCwgUHVibGljS2V5VG9rZW49MTZmYzEzYTIyNmMwZTk1MV1dAwAAAAEVQXBsb3Jpcy5DaGFydC5CYXJUeXBlAgAAAAEYQXBsb3Jpcy5DaGFydC5TZXJpZXNUeXBlAgAAACJBcGxvcmlzLkNoYXJ0LkNvbHVtbk9yaWVudGVkTGVnZW5kAgAAAAEBGVN5c3RlbS5EcmF3aW5nLlJlY3RhbmdsZUYEAAAAGVN5c3RlbS5EcmF3aW5nLlJlY3RhbmdsZUYEAAAACAEsQXBsb3Jpcy5DaGFydC5BeGlzQnJlYWsrQXhpc0JyZWFrRGlzcGxheU1vZGUCAAAAAQEBFUFwbG9yaXMuQmFzZS5VSS5MYWJlbAMAAAAeQXBsb3Jpcy5CYXNlLlVJLlZpc3VhbFBvbHlsaW5lAwAAABpBcGxvcmlzLkNoYXJ0Lk51bWJlckZvcm1hdAIAAAAXU3lzdGVtLkRyYXdpbmcuUG9pbnRGW10EAAAAGUFwbG9yaXMuQmFzZS5BbmNob3JNb2RlW10DAAAACAEaQXBsb3Jpcy5DaGFydC5BeGlzTnVtYmVyW10CAAAAiAFTeXN0ZW0uQ29sbGVjdGlvbnMuT2JqZWN0TW9kZWwuQ29sbGVjdGlvbmAxW1tTeXN0ZW0uSW50MzIsIG1zY29ybGliLCBWZXJzaW9uPTQuMC4wLjAsIEN1bHR1cmU9bmV1dHJhbCwgUHVibGljS2V5VG9rZW49Yjc3YTVjNTYxOTM0ZTA4OV1dCAgwQXBsb3Jpcy5DaGFydC5Db2x1bW5PcmllbnRlZENoYXJ0K0N1c3RvbVN0YWNraW5nAgAAABlBcGxvcmlzLkNoYXJ0Lk9yaWVudGF0aW9uAgAAABpBcGxvcmlzLkJhc2UuVUkuVmlzdWFsUmVjdAMAAAA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IuMC4xOTExLCBDdWx0dXJlPW5ldXRyYWwsIFB1YmxpY0tleVRva2VuPTE2ZmMxM2EyMjZjMGU5NTFdXR9BcGxvcmlzLkJhc2UuT2JqZWN0cy5EYXRhT2JqZWN0AwAAACFBcGxvcmlzLkNoYXJ0LkNvbHVtbk9yaWVudGVkQ2hhcnQCAAAAlQFTeXN0ZW0uQ29sbGVjdGlvbnMuR2VuZXJpYy5MaXN0YDFbW0FwbG9yaXMuQmFzZS5VSS5WaXN1YWxPYmplY3QsIEFwbG9yaXMuQmFzZSwgVmVyc2lvbj00LjIuMC4xOTExLCBDdWx0dXJlPW5ldXRyYWwsIFB1YmxpY0tleVRva2VuPTE2ZmMxM2EyMjZjMGU5NTFdXQIAAAAF+////yVBcGxvcmlzLkNoYXJ0LkNvbHVtbk9yaWVudGVkQ2hhcnRUeXBlAQAAAAd2YWx1ZV9fAAgCAAAAAAAAAAkGAAAACQcAAAAKAAoJCAAAAAkJAAAACQoAAAAJCwAAAAkMAAAACQ0AAAAJDgAAAAkPAAAACRAAAAAJEQAAAAAF7v///xVBcGxvcmlzLkNoYXJ0LkJhclR5cGUBAAAAB3ZhbHVlX18ACAIAAAAAAAAAAAXt////GEFwbG9yaXMuQ2hhcnQuU2VyaWVzVHlwZQEAAAAHdmFsdWVfXwAIAgAAAAAAAAAKAAEF7P///xlTeXN0ZW0uRHJhd2luZy5SZWN0YW5nbGVGBAAAAAF4AXkFd2lkdGgGaGVpZ2h0AAAAAAsLCwsEAAAA//9/////f////3////9//wHr////7P//////f////3////9/////f/8AAAAAAAXq////LEFwbG9yaXMuQ2hhcnQuQXhpc0JyZWFrK0F4aXNCcmVha0Rpc3BsYXlNb2RlAQAAAAd2YWx1ZV9fAAgCAAAAAQAAAAEBAQoKCRcAAAAKCgAAAAAACRgAAAAKCRkAAAAAAAAACgXm////GUFwbG9yaXMuQ2hhcnQuT3JpZW50YXRpb24BAAAAB3ZhbHVlX18ACAIAAAABAAAACRsAAAAB5P///+z////6ikBCUi7TQdEeF0R6T19DAATj////C1N5c3RlbS5HdWlkCwAAAAJfYQJfYgJfYwJfZAJfZQJfZgJfZwJfaAJfaQJfagJfawAAAAAAAAAAAAAACAcHAgICAgICAgIAAAAAAAAAAAAAAAAAAAAAAAoKCR4AAAAACgoKAQAAAAAAAAD/////AQAB4f///+z///8zM7dDZmYmQUGEqkNn2oFDh61CQX9qEkNmYDNEZ9qLQwXg////FVN5c3RlbS5EcmF3aW5nLlBvaW50RgIAAAABeAF5AAALCwQAAACAcMND7S5EQwYhAAAAEEQyUmIvWGpJTFBSKzgyU2QAAAAACgoJIgAAAAkjAAAAAAoJJA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NC4wLjAuMCwgQ3VsdHVyZT1uZXV0cmFsLCBQdWJsaWNLZXlUb2tlbj1iNzdhNWM1NjE5MzRlMDg5XV0hQXBsb3Jpcy5DaGFydC5Db2x1bW5PcmllbnRlZENoYXJ0AgAAAJsBQXBsb3Jpcy5CYXNlLk9iamVjdHMuRGF0YU9iamVjdENvbGxlY3Rpb25gMVtbQXBsb3Jpcy5DaGFydC5WYWx1ZUxpbmUsIEFwbG9yaXMuQ2hhcnQsIFZlcnNpb249NC4yLjAuMTkxMSwgQ3VsdHVyZT1uZXV0cmFsLCBQdWJsaWNLZXlUb2tlbj0xNmZjMTNhMjI2YzBlOTUxXV0DAAAAmwFBcGxvcmlzLkJhc2UuT2JqZWN0cy5EYXRhT2JqZWN0Q29sbGVjdGlvbmAxW1tBcGxvcmlzLkNoYXJ0LkF4aXNCcmVhaywgQXBsb3Jpcy5DaGFydCwgVmVyc2lvbj00LjIuMC4xOTEx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Ex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TEsIEN1bHR1cmU9bmV1dHJhbCwgUHVibGljS2V5VG9rZW49MTZmYzEzYTIyNmMwZTk1MV1dIUFwbG9yaXMuQ2hhcnQuQ29sdW1uT3JpZW50ZWRDaGFydAIAAAAhQXBsb3Jpcy5DaGFydC5Db2x1bW5PcmllbnRlZENoYXJ0AgAAAJUBU3lzdGVtLkNvbGxlY3Rpb25zLkdlbmVyaWMuTGlzdGAxW1tBcGxvcmlzLkJhc2UuVUkuVmlzdWFsT2JqZWN0LCBBcGxvcmlzLkJhc2UsIFZlcnNpb249NC4yLjAuMTkxMSwgQ3VsdHVyZT1uZXV0cmFsLCBQdWJsaWNLZXlUb2tlbj0xNmZjMTNhMjI2YzBlOTUxXV0CAAAACQEAAAAF2P///xZBcGxvcmlzLkNoYXJ0LkF4aXNUeXBlAQAAAAd2YWx1ZV9fAAgCAAAAAQAAAJqZGT8AAAAKCQEAAAAJKQAAAAkqAAAAAQAAAAAAAAAAAQAAAAAAAPA/AZqZmZmZmbk/AAAAIEEAAQkrAAAACgksAAAACS0AAAAJLgAAAAHR////4P////qKQEJEtXlDAdD////g////gScjRES1eUMJMQAAAAkyAAAACTMAAAAJNAAAAAAAAAAAAAAAAAAAAAk1AAAAAAAAAAAACTYAAAAJAQAAAAkBAAAACTgAAAABBwAAAAYAAAAJAQAAAAHG////2P///wAAAADNzEw/AAAACAEACQEAAAAJOwAAAAk8AAAAAQAAAAAAAAAAAQAAAAAAAPA/AJqZmZmZmck/AAAAIEEAAQk9AAAACgk+AAAACT8AAAAJQAAAAAG/////4P////qKQEJEtXlDAb7////g////+opAQlIu00EJQwAAAAlEAAAACUUAAAAJRgAAAAAAAAAAAAAAAAAAAAlHAAAAAAAAAAAACUgAAAAJAQAAAAkBAAAACUoAAAAECAAAAKgBU3lzdGVtLkNvbGxlY3Rpb25zLkdlbmVyaWMuTGlzdGAxW1tBcGxvcmlzLkNoYXJ0LkNvbHVtbk9yaWVudGVkQ2hhcnQrVW51c2VkU2VyaWVzLCBBcGxvcmlzLkNoYXJ0LCBWZXJzaW9uPTQuMi4wLjE5MTEsIEN1bHR1cmU9bmV1dHJhbCwgUHVibGljS2V5VG9rZW49MTZmYzEzYTIyNmMwZTk1MV1dAwAAAAZfaXRlbXMFX3NpemUIX3ZlcnNpb24EAAAwQXBsb3Jpcy5DaGFydC5Db2x1bW5PcmllbnRlZENoYXJ0K1VudXNlZFNlcmllc1tdAgAAAAgICUsAAAAFAAAADwAAAAUJAAAAoQFBcGxvcmlzLkJhc2UuT2JqZWN0cy5EYXRhT2JqZWN0Q29sbGVjdGlvbmAxW1tBcGxvcmlzLkNoYXJ0LkNoYXJ0RGF0YVNlcmllcywgQXBsb3Jpcy5DaGFydCwgVmVyc2lvbj00LjIuMC4xOTEx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i4wLjE5MTEsIEN1bHR1cmU9bmV1dHJhbCwgUHVibGljS2V5VG9rZW49MTZmYzEzYTIyNmMwZTk1MV1dAwAAAJcBU3lzdGVtLkNvbGxlY3Rpb25zLkdlbmVyaWMuTGlzdGAxW1tBcGxvcmlzLkNoYXJ0LkNoYXJ0RGF0YVNlcmllc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UwAAAAJTQAAAAkBAAAACQEAAAAJTwAAAAUKAAAApgFBcGxvcmlzLkJhc2UuT2JqZWN0cy5EYXRhT2JqZWN0Q29sbGVjdGlvbmAxW1tBcGxvcmlzLkNoYXJ0LkFubm90YXRpb25EYXRhU2VyaWVzLCBBcGxvcmlzLkNoYXJ0LCBWZXJzaW9uPTQuMi4wLjE5MTE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IuMC4xOTExLCBDdWx0dXJlPW5ldXRyYWwsIFB1YmxpY0tleVRva2VuPTE2ZmMxM2EyMjZjMGU5NTFdXQMAAACcAVN5c3RlbS5Db2xsZWN0aW9ucy5HZW5lcmljLkxpc3RgMVtbQXBsb3Jpcy5DaGFydC5Bbm5vdGF0aW9uRGF0YVNlcmllc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AAAAAJUQAAAAkBAAAACQEAAAAJUwAAAAULAAAAoQFBcGxvcmlzLkJhc2UuT2JqZWN0cy5EYXRhT2JqZWN0Q29sbGVjdGlvbmAxW1tBcGxvcmlzLkNoYXJ0LkFubm90YXRpb25Hcm91cCwgQXBsb3Jpcy5DaGFydCwgVmVyc2lvbj00LjIuMC4xOTEx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TEsIEN1bHR1cmU9bmV1dHJhbCwgUHVibGljS2V5VG9rZW49MTZmYzEzYTIyNmMwZTk1MV1dAwAAAJcBU3lzdGVtLkNvbGxlY3Rpb25zLkdlbmVyaWMuTGlzdGAxW1tBcGxvcmlzLkNoYXJ0LkFubm90YXRpb25Hcm91cC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QAAAAJVQAAAAkBAAAACQEAAAAJVwAAAAUMAAAAoAFBcGxvcmlzLkJhc2UuT2JqZWN0cy5EYXRhT2JqZWN0Q29sbGVjdGlvbmAxW1tBcGxvcmlzLkNoYXJ0LkNoYXJ0RGF0YUdyb3VwLCBBcGxvcmlzLkNoYXJ0LCBWZXJzaW9uPTQuMi4wLjE5MTE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IuMC4xOTExLCBDdWx0dXJlPW5ldXRyYWwsIFB1YmxpY0tleVRva2VuPTE2ZmMxM2EyMjZjMGU5NTFdXQMAAACWAVN5c3RlbS5Db2xsZWN0aW9ucy5HZW5lcmljLkxpc3RgMVtbQXBsb3Jpcy5DaGFydC5DaGFydERhdGFHcm91cC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gAAAAJWQAAAAkBAAAACQEAAAAJWwAAAAUNAAAAmgFBcGxvcmlzLkJhc2UuT2JqZWN0cy5EYXRhT2JqZWN0Q29sbGVjdGlvbmAxW1tBcGxvcmlzLkNoYXJ0LkRlbHRhQmFyLCBBcGxvcmlzLkNoYXJ0LCBWZXJzaW9uPTQuMi4wLjE5MTE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IuMC4xOTExLCBDdWx0dXJlPW5ldXRyYWwsIFB1YmxpY0tleVRva2VuPTE2ZmMxM2EyMjZjMGU5NTFdXQMAAACQAVN5c3RlbS5Db2xsZWN0aW9ucy5HZW5lcmljLkxpc3RgMVtbQXBsb3Jpcy5DaGFydC5EZWx0YUJhci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wAAAAJXQAAAAkBAAAACQEAAAAJXwAAAAUOAAAAnQFBcGxvcmlzLkJhc2UuT2JqZWN0cy5EYXRhT2JqZWN0Q29sbGVjdGlvbmAxW1tBcGxvcmlzLkNoYXJ0LkRlbHRhQnJpZGdlLCBBcGxvcmlzLkNoYXJ0LCBWZXJzaW9uPTQuMi4wLjE5MTE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ExLCBDdWx0dXJlPW5ldXRyYWwsIFB1YmxpY0tleVRva2VuPTE2ZmMxM2EyMjZjMGU5NTFdXQMAAACTAVN5c3RlbS5Db2xsZWN0aW9ucy5HZW5lcmljLkxpc3RgMVtbQXBsb3Jpcy5DaGFydC5EZWx0YUJyaWRnZS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AAAAAJYQAAAAkBAAAACQEAAAAJYwAAAAUPAAAAnQFBcGxvcmlzLkJhc2UuT2JqZWN0cy5EYXRhT2JqZWN0Q29sbGVjdGlvbmAxW1tBcGxvcmlzLkNoYXJ0Lkdyb3d0aEFycm93LCBBcGxvcmlzLkNoYXJ0LCBWZXJzaW9uPTQuMi4wLjE5MTE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IuMC4xOTExLCBDdWx0dXJlPW5ldXRyYWwsIFB1YmxpY0tleVRva2VuPTE2ZmMxM2EyMjZjMGU5NTFdXQMAAACTAVN5c3RlbS5Db2xsZWN0aW9ucy5HZW5lcmljLkxpc3RgMVtbQXBsb3Jpcy5DaGFydC5Hcm93dGhBcnJvd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QAAAAJZQAAAAkBAAAACQEAAAAJZwAAAAUQAAAApAFBcGxvcmlzLkJhc2UuT2JqZWN0cy5EYXRhT2JqZWN0Q29sbGVjdGlvbmAxW1tBcGxvcmlzLkNoYXJ0LldhdGVyZmFsbENvbm5lY3RvciwgQXBsb3Jpcy5DaGFydCwgVmVyc2lvbj00LjIuMC4xOTEx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i4wLjE5MTEsIEN1bHR1cmU9bmV1dHJhbCwgUHVibGljS2V5VG9rZW49MTZmYzEzYTIyNmMwZTk1MV1dAwAAAJoBU3lzdGVtLkNvbGxlY3Rpb25zLkdlbmVyaWMuTGlzdGAxW1tBcGxvcmlzLkNoYXJ0LldhdGVyZmFsbENvbm5lY3Rvci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gAAAAJaQAAAAkBAAAACQEAAAAJawAAAAURAAAAogFBcGxvcmlzLkJhc2UuT2JqZWN0cy5EYXRhT2JqZWN0Q29sbGVjdGlvbmAxW1tBcGxvcmlzLkNoYXJ0LkVsZW1lbnRDb25uZWN0b3IsIEFwbG9yaXMuQ2hhcnQsIFZlcnNpb249NC4yLjAuMTkxMS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xMSwgQ3VsdHVyZT1uZXV0cmFsLCBQdWJsaWNLZXlUb2tlbj0xNmZjMTNhMjI2YzBlOTUxXV0DAAAAmAFTeXN0ZW0uQ29sbGVjdGlvbnMuR2VuZXJpYy5MaXN0YDFbW0FwbG9yaXMuQ2hhcnQuRWxlbWVudENvbm5lY3Rvci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wAAAAJbQAAAAkBAAAACQEAAAAJbwAAAAUX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hQXBsb3Jpcy5DaGFydC5Db2x1bW5PcmllbnRlZENoYXJ0AgAAACFBcGxvcmlzLkNoYXJ0LkNvbHVtbk9yaWVudGVkQ2hhcnQCAAAACAEICAEICAgCAAAACQEAAAAJAQAAAAAAAAAABnEAAAABLgMAAAAGcgAAAAEsBnMAAAABLQZ0AAAAASsBAAAAAAoKBnUAAAAITS9kL3l5eXkAAAAACgAAAAAAAAAABxgAAAAAAQAAAAEAAAAEGEFwbG9yaXMuQ2hhcnQuQXhpc051bWJlcgIAAAAFiv///xhBcGxvcmlzLkNoYXJ0LkF4aXNOdW1iZXIBAAAAB3ZhbHVlX18ACAIAAAAAAAAADxkAAAAFAAAACAEAAAACAAAAAwAAAAQAAAAFAAAABRsAAAAaQXBsb3Jpcy5CYXNlLlVJLlZpc3VhbFJlY3QVAAAAC21TdGFydFBvaW50CW1FbmRQb2ludAttTGluZUZvcm1hdAttRmlsbEZvcm1hdAltUm90YXRpb24SbVJlY3RhbmdsZVByb3ZpZGVyDG1QYWludE9mZnNldBJtUGFpbnRTaXplT3ZlcnJpZGUObUV4dHJhUm90YXRpb24ObUxhc3RQYWludFJlY3QJ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C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Yn////g////+opAQlIu00EBiP///+D///+BJyNERLV5Qwl5AAAACXoAAAAAAAAACgWF////FFN5c3RlbS5EcmF3aW5nLlNpemVGAgAAAAV3aWR0aAZoZWlnaHQAAAsLBAAAAAAAAAAAAAAAAYT///+F////AAAAAAAAAAAAAAAAAYP////s////AAAAAAAAAAAAAAAAAAAAAAl+AAAAFAAAAP////8BAQoJfgAAAAEACgEPHgAAAB4nAAACUEsDBBQABgAIAAAAIQCeLGxvawEAAB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lMFOwzAMhu9IvEOVK2qzcUAIrdthwBEmMR4gJO4aLU2iOBvb2+NmY0KorELrpVEb+/+/uHYms11jsi0E1M6WbFyMWAZWOqXtqmTvy+f8nmUYhVXCOAsl2wOy2fT6arLce8CMsi2WrI7RP3COsoZGYOE8WNqpXGhEpNew4l7ItVgBvx2N7rh0NoKNeWw12HTyCJXYmJg97ejzgSSAQZbND4GtV8mE90ZLEYmUb6365ZIfHQrKTDFYa483hMF4p0O787fBMe+VShO0gmwhQnwRDWHwneGfLqw/nFsX50U6KF1VaQnKyU1DFSjQBxAKa4DYmCKtRSO0/eY+45+CkadlPDBIe74k3MMR6X8DT8/LEZJMjyHGvQEcuuxJtM+5FgHUWww0GYMD/NTu4ZDCyHlNLTJwEU665/ypbxfBeaQJDvB/gO8RbbNzT0IQoobTkHY1+8mRpv/iE0N7vyhQHd483WfTLwAAAP//AwBQSwMEFAAGAAgAAAAhALVVMCP0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k1PwzAMhu9I/IfI99XdkBBCS3dBSLshVH6ASdwPtY2jJBvdvyccEFQagwNHf71+/Mrb3TyN6sgh9uI0rIsSFDsjtnethpf6cXUHKiZylkZxrOHEEXbV9dX2mUdKeSh2vY8qq7iooUvJ3yNG0/FEsRDPLlcaCROlHIYWPZmBWsZNWd5i+K4B1UJT7a2GsLc3oOqTz5t/15am6Q0/iDlM7NKZFchzYmfZrnzIbCH1+RpVU2g5abBinnI6InlfZGzA80SbvxP9fC1OnMhSIjQS+DLPR8cloPV/WrQ08cudecQ3CcOryPDJgosfqN4BAAD//wMAUEsDBBQABgAIAAAAIQCSB5TsBAEAAD8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tqxDAMRfeF/oPRvnEyfVCGcWbRUphtm36AcJQ4TGIHW33k72tSOsnAkG6yMUjC9x6Ju9t/d634JB8aZxVkSQqCrHZlY2sF78XLzSOIwGhLbJ0lBQMF2OfXV7tXapHjp2CaPoioYoMCw9xvpQzaUIchcT3ZOKmc75Bj6WvZoz5iTXKTpg/SzzUgP9MUh1KBP5S3IIqhj87/a7uqajQ9O/3RkeULFjLw0MYFRIG+JlbwWyeREeRl+82a9hzPQpP7WMrxzZYYsjUZvpw/BkPEE8epFeQ4WYS5XxNGY6ufDDZ2gjm1li5yt2ooDHoq39jHzM+zMW//wciz2Oc/AAAA//8DAFBLAwQUAAYACAAAACEAnAlFLLwCAAC7BQAADwAAAHhsL3dvcmtib29rLnhtbKRUW2+bMBh9n7T/YPmdcieAQqo0NFqkaqq2Xl7y4hgnWMWY2aYhmvrf9wFN064vXceDHV84Od8552N63okKPTKluawz7J45GLGayoLXuwzf3iytGCNtSF2QStYswwem8fns65fpXqqHjZQPCABqneHSmCa1bU1LJog+kw2r4WQrlSAGlmpn60YxUuiSMSMq23OcyBaE13hESNVHMOR2yynLJW0Fq80IolhFDNDXJW/0EU3Qj8AJoh7axqJSNACx4RU3hwEUI0HT1a6WimwqKLtzQ9Qp74gOy3fwglMltdyaM4CzR6LvanYd23XflA2on4QKbcUeeW+ch2fTLa/Y3egjIk3znYiedoVRRbS5LLhhRYYnsJR7dtoIMVJtc9HyCk7d2PcibM9evL1WsAAh5pVhqiaGLWRtQPdnx/5X4wF7UUpwFP1gv1quGAQJtIVyYCQ0JRt9TUyJWlVleJGubzVUuN5t1IHUZj1vmpwYsr6SlFTrGyaa9SuDyPsE/INFhPZC2FD8SHD8/bcQs2nfAnec7fVJtX6JdCn3P/uo30ANGYa26u55Xch9hi3QOQ4wOpw2ktiPMNoPF+55YcrejCh52fvG+K40GU5iF/YgMmnLwbDfzvNjwZz3g2Mt4RmG49nTUMgrnkMHAt9hRvUQlHlTScV1Lyf0e8971QcC0pH2f6RWhTvAHN8Fwem1Qv00XJy4jgfhorKmrVIQkQWc9GWDiKwzV9oMMxjJgfYkWYZBMoksN5+HVhC5sXXhBhMrWOSXwUUS+nM/fjpZGXyuQZzETsZW6+MUpMcvFvAu2Ja0lVkJsmN5A5R8bxJNhgqB7RuqoedfhrlveeHSt+bhpWO5ke9ZUbD0wmDheUHovVAV3ceYCkJt1lE2fAXjI0fRpXNFy1WOlhXZQWi8EyG4PopoH6uY/QEAAP//AwBQSwMEFAAGAAgAAAAhAFlfVrz0AAAA5wEAABQAAAB4bC9zaGFyZWRTdHJpbmdzLnhtbHSRwU7DMAyG70i8Q5T7ltIDQijNhJB2hEPhAaLGXSMlTohdoG9PYBKHrjva//f/dmJ9+I5BfEIhn7CTd/tGCsAhOY+nTr6/HXcPUhBbdDYkhE4uQPJgbm80EYvqRerkxJwflaJhgmhpnzJgVcZUouValpOiXMA6mgA4BtU2zb2K1qMUQ5qR69xWihn9xwzP/w2jyRvNpocw7oaEXA3gREwOglZstPrVz8zRDnPgRSQMyzbRzzkHiFBjyjUkB8/b7qfwZRdaT30dGXDd7FME9hEu6PoOl+Iaf4H6+Vcz2gvlL0Rtus5LqtVWqh7K/AAAAP//AwBQSwMEFAAGAAgAAAAhANwGB756BgAA2RsAABMAAAB4bC90aGVtZS90aGVtZTEueG1s7FnLbhs3FN0X6D8Qs0+sp2MZkQNLluw2dmLYStosqRE1w4gzHJCUHe36BQUKpEU3BbrropsA7TelaNOP6CU5kkiL8iN20FdswJY4h/de3sfhJefho1cZQ2dESMrzdlS9X4kQyWM+onnSjp4N+ve2IiQVzkeY8Zy0oxmR0aOdTz95iLdVSjKCYH4ut3E7SpUqtjc2ZAzDWN7nBcnh2ZiLDCv4KpKNkcDnIDdjG7VKZXMjwzSPUI4zEPt0PKYxQQMtMtqZC+8x+JorqQdiJk61aOLNMNjRpKoRcia7TKAzzNoR6Bnx8wF5pSLEsFTwoB1VzE+0sfNwA2+Xk5haM9eZ1zc/5bxywmhSMzpFMlworfYbrQd7C/kGwNQqrtfrdXvVhTwDwHEMK7W2uDIb/a1qZy7TAdmPq7K7lWal4eMd+fUVm1udTqfZKm2xQg3Ifmys4Lcqm43dmoc3IItvruAbnd1ud9PDG5DFb67g+w9amw0fb0Apo/lkBa0D2u+X0heQMWcHQfgWwLcqJXyJgmxYZJdWMea5WpdrGX7JRR8AGsiwojlSs4KMcQxZ3MXZUFAcoQLnXMJApVbpV+rwV/82zKeGVo+3CXbm2aFYrgxpS5CMBS1UO/ocpEYO5MUU7XOV0hgd0iRVVog34wDniTvj3U/f/PnDV+iPX3589/rbMF66+D2SJ19SnF+mAAps6YC337357dc3b7//+vefXwfk7wo8dOEDmhGJnpBzdMIzWJzxjL8CMhQ3mzFIMfVm4BRkB0T3wHUu8MkMsxCuA05wcc8FcEsIuD996dl6moqpogHNj9PMAx5xzjpcBB3wWOtyPDyY5klYuZi6uBOMz0K6uzj3QtybFkCqkLOrvu+mxDPzmOFc4YTkRCH9jE8ICUx7Qann1yMaCy75WKEXFHUwDbpkQIdeIi0nHdAM4jILGQih9nxz9Bx1OAuteo+c+UgoDMwCxg8I89y4j6cKZyGRA5wx1+GHWKUhI09nInZxPakg0glhHPVGRMrQnKcC1usE/TEGOguG/YjNMh8pFJ2EZB5izr3a5pNuirMiaDPNUxf7mZxAimJ0zFUIfsT9CtHfIQ7AG+vC/ZwSL9xXE8EzoDjXpGWC6CdTEYjlPuF+Pc7YGBPDMsD4HpFnNL+M1RkFWr/A6s0PzeofkM/Dom/D5Luw7YXq6eACf6/D/QtZew9P82MChbLKnB9J+yNpR/950l5Xy3dP1Ut2BuJeduemV8/WtupjytipmjFyKE23LmFPGvVh0BwjzFlycXQrUvhYHgw8XCKwmYMEV19QlZ6muIDGvmoOnoksRScSFVxCv2+GzRGYXJBtDrUU2nlzPm3qk4tlDonVER/Z4bp7Ql2IMefVxJyC54rqWsB1ldUf3E5Z1Vq11m3+0qrGNEOK3tIWS4YYri4NBhfehGYHQYsEXt6EiwJtO5yBMCMj7Xd7ep+HRau+0xDJFI9IGSO97tUYVU2Q5rkyT6NAjPRp84oYOdpaWuwttF0nSK66xhp18+jdJkrzI/YySrpuL5Qjy93iZDk6b0etZq0ZoRgX7WgMh2v4mBUQdan7S8wSuKGKlbBpf2Uxm3RdRrMVTssq3JdYv68s2OOBQki1h2VqU8M8KlOA5eYqwNhfa4Jb72oBNtPfw4r6FiTD32YF+NEPLRmPSazcYDsj5i7EAEoq5VNFxGk6OkdDNhUnGMKvUxXWM6ISbkEMI+gvcKGnvW0e+eRcFp17jWZwdhyzIsUl3eoSnVeyhZs6XthgvllrjXmwtqDtZnE3X4op+TtaipvG/7Ol6P0EbiXqIx2BGO6TBUa6XtsRFyrlwEIF3JL1BVymGe6AbIFLYXgMSQW32ua/IGf6v605K8OUtb5ZO6EJEhT2I5UKQo6Blkz2XSGsWu5dViQrBZmMcsyVhTV7SM4IG2gO3NR7e4RSSHXDJiUNGNzF/PO/lxU0THST80/tfGwx37Q90N2BbbHs/Gv2Ig2H9J2toBXc+0xPtaCDSzb2G261lrFWVlxrXnurLeBuCe6UFeRETEXM7CsSvaEO+AlwK4I3Hra9QpDV92zjgTRBWnocQuNkB20yaVG2YSm72ztvo+BevOx0F3qhSt+n072hsxfNma/Oq8XLu8+bObv0sOdrt9MNuBqK9mKJ6vZofpAxgTHv1tzXX3z4EgK9By8apkxJ+wrhFdwkwinDvqqA4rfBNVN3/gIAAP//AwBQSwMEFAAGAAgAAAAhAPulRVz9BAAAJRsAAA0AAAB4bC9zdHlsZXMueG1s7Flbb6M4FH5faf8DotrHFEyAhCjJaHJhNdLsaKV2pX0lYFJrDUSGdMms5r/vOTYB2mk3TjvVdkbNQzDG/vydq2/Td3XGjVsqSlbkM5Nc2qZB87hIWL6dmX9ch4OxaZRVlCcRL3I6Mw+0NN/Nf/5pWlYHTq9uKK0MgMjLmXlTVbuJZZXxDc2i8rLY0Ry+pIXIogpexdYqd4JGSYmdMm45tu1bWcRyUyFMslgHJIvEX/vdIC6yXVSxDeOsOkgs08jiyYdtXohow4FqTdwoNmriC8eoxXEQWfvVOBmLRVEWaXUJuFaRpiymX9MNrMCK4g4JkJ+GRDzLdu7IXosnIrmWoLcMzWfOp/k+C7OqNOJin1dgzrbKUF8+JFDpu6ahrLIsEtDTxcWFfWn/YlrzqdUAzKdpkXc4Q8DBivm0/GzcRhxACDaPC14IowJ7A4ysyaOMqhbLiLONYNgsjTLGD6rawQrpIk27jIHB5NhqhP9/HLHdzMwwtOUPmXVC/co4N66ivHxQLEtxl48SxIbGrSlcVCFUzKfgtRUVeYhQTfn6sAMF5hBgShGy3YnWWxEdiOPpdygLzhJksV1KszVihuFyrWA2zQeWJ7Sm4CngKOgTPcLwpmidIPfoWOtRECLoOWPJIUGfm0IkkKj6zq2q5lNO0wpQBdve4LMqdjhGUVUQzPNpwqJtkUcchTn2aAoAG1POrzCZ/Zl22CNQVJ32ogbyIloXAwiLYKGmqADVCwzwWCfy1klp700RjRu9KUJHEVY/PFWw9uPUf1KcGnV6MmB7Ue6YRj/K295GtNvxAybyZvbTyBjD52IBmUeyT8ML/ErxAvUir7ss1dtCptLu63vOtnlGj2sGmLrVq3FTCPYZgHDOxyQrJ4Q6fTzPnaQHDV6GXgz0KSzz/hbR7prWUnbM+M9iC+b6jth6L2p63CZULEZXgAn2YU9oFpcq1Z/0Bb/h+2mfbagI5U6h57Lf2oGPHtLJ0dQ86CbniTJ6zaL0Fi8nbRJ8Zz5EQDgZoj+AE8Gu6hXLco4XkRdLnHIW+vapiMCm+Idxo+M88PpD4vG91L1V1n1RMGXj0hAWg70t3N0NXLt0NHAHPzM/4QTD4fimWf0Zmz3jFcvbteD9DvKMi3g2ccjQ9/wRerXqDGm0FpM9g+3gP+qgwLYHUPDwT5bUn03U1y/yuOS402z43IcftvBY0IKHMzT8acF74OKKPRa04If68GMXZnMFD3OhHrx7Bvy4ZQ8nknrwnj580LHHJKyH75+BP0aPkX5HtH1npI0/st1WPQSiX4//+Az8ANYFDX+0s5b3BPr4jtv6vrb63+vDD+0WXls7izPgCbq8tC6qSUs5yzPgu8iVGUgLf3UGvo8hJelr23Z9BnzPdyDf66mnOX7VSGwj1+18UzezNWlZJc7ujAHmkqTujgFtzNoV3ibIA8J2dgEpEppGe15dtx9nZlf+jSZsn0GcN61+Z7dFJSFmZlf+iKeVxMcxYLv6sYTjdXgae8FgUlkvRsFqHTqDsb0YD9wh9QaBt1gNPHe5WK3CwHbs5RdQJl69TOBO4xk3GvIKBnb0xJ2UHO49RCNsQ/6qq5uZvRdFX24DgXafe+D49nuP2INwaJOB60fjwdgfeoPQI87KdxdrL/R63L0n3nzYFiHqDgXJe5OKZZSz/Giro4X6tWAkeP0PIayjJazufmv+LwAAAP//AwBQSwMEFAAGAAgAAAAhAHaVoqcJBQAAYg8AABgAAAB4bC93b3Jrc2hlZXRzL3NoZWV0MS54bWycV1uPozYUfq/U/4D81D4MYJu7QlYTYNuVutJqp9s+M8SZoOGSAnNr1f/eY5sANpnOaANJiP2dz+duZ/Phua6MR9b1ZdvECJs2MlhTtPuyuYvRt98/XgXI6Ie82edV27AYvbAefdj++MPmqe3u+yNjgwEMTR+j4zCcIsvqiyOr895sT6yBmUPb1fkAP7s7qz91LN8LobqyiG17Vp2XDZIMUfcejvZwKAuWtsVDzZpBknSsygfQvz+Wp/7MVhfvoavz7v7hdFW09QkobsuqHF4EKTLqIvp017RdfluB3c/YyQvjuYObwJuelxHjq5Xqsujavj0MJjBbUue1+aEVWnkxMa3tfxcNdqyOPZY8gDMV+T6VsDtxkZmMfieZN5Fxd3XRQ7mP0T/2+LqCb8w/7PnjPPcv2m72JUSYW2V07BCjaxxl2EbWdiMS6I+SPfWLZ2PIb29YxYqBwSIYGTw/b9v2ngM/wZANlKe8YcbzzQmiLDAv8+PQnn5jhyFhVRWjHRifF0P5yL6ARIxu22Fo66/l3XEQ1TDA2KFr/2aN0EcsyxXl/DECqhEqOUZO0Kn/S5iyw5fE5CJcifPiUvAalBkF4ZHbr62naLdcMp2XTHGUSu9Zk/u2m/n57MqPoly/dMaeHfKHakja6s9yPxxjFJi+71OH+i46T35tn35l3CngTMd0uG5FWwEVfBp1yfsJlFH+LOOxpumHF15awihLSgrl0nzIt5uufTKgJLgN4FdoMDiCpfk3MoqHHgIilRUDXAcHHCUnJq0g5gUnueYsMaJCRT4AIeADDjJAsAfY49beWI/gkmIUSSQClpwQVEUI98ZoiSAqIltz4AlhgYGTlTzGs5VnrflojLyFCo66AE9UQPjSABMH6qWpk0h0MKJJSGzq0jAg1LaDwJ1VEz5LVTT1bMdzMfaIH9pe6GuaZBoaO8Hynl2nmA194YLZfDRG4cJsVzNbIiChReBM6rjK5WmhHOF4goeu67uEYEKDkPqhFtcVPAioT+yQ2oQS19XSINPgTmj7zuKelVFMh9S7YDofVU3XbNlJxGy6HSpXoJk+ws+m4zDE2LUdhzi+H/ieHnMdHmhR1/Jbh6tBx3OOKKbzMl4nuyzuZdR9Lepj+Z+jjjXTtTAmI3wynQQUB24AsbH90HM09lSBByamoUudKfJBdqUXtyJAeHtcvrylgGI+1PMF8/moGnktlDuJGCPvmlrO05WCySggHUBNO4T+7WJKfIdSj6wtShUBYvJkDxZ+WLtAEcAm9JDl7b/qAv+iC/godHOxH4gWtBtHqChcLVeTcdK5NJn+32T2yqQSJX7uXScpH+U71rwpYG3f2EkIdkGtw/bm2+efdm60837eWAfZrLBHlUtrpMlKPnGjZCnvhkrn1rvXSj51o3Qpr/ZxT0uzbCWfuVE2yTumR8Ll7bwaZCjl5c4tjgmeGULZvLZLcwnVu5pxO4kYnbsD141OpW+0QUUumeXe6oeKXLqQe6MxLuVErhzzju2RPMpmYfQLB5TiVJotWN/XP6EFXMpNMawlp1YzuxGzzE4S7eicnS7xlxfVs3NNkJAoWRB4DlYSVD8zcd2hyOfySEmULuT9aZ8VrYfo6blWICNRtiAIbFd5zQSyvuWhV54xT/kd+5x3d2XTGxWcvCEgJjSHTh5qxTOc5sUopK08aJ9/HeG/LIOjpG3CAeDQtsP5BxyDrenf8fY/AAAA//8DAFBLAwQUAAYACAAAACEAzBehk0EBAABd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JRS8MwFIXfBf9DyXubpgWV0HYwZb44EJw4fAvJ3RZs0pBEu/5703arlfngY3LO/XLuIcXiqOroC6yTjS4RSVIUgeaNkHpfotfNKr5DkfNMC1Y3GkrUgUOL6vqq4IbyxsKzbQxYL8FFgaQd5aZEB+8NxdjxAyjmkuDQQdw1VjEfjnaPDeMfbA84S9MbrMAzwTzDPTA2ExGdkIJPSPNp6wEgOIYaFGjvMEkI/vF6sMr9OTAoM6eSvjNhp1PcOVvwUZzcRycnY9u2SZsPMUJ+grfrp5dh1VjqvisOqCoEp9wC842tCjw/hOJq5vw6dLyTIJZd9ch8qG9pO6Z9gS/1wBqij0AQUQhDx+hn5S2/f9isUJWl5DYmaZzmG0JoRmhO3vvnf8334cYLdQrxf2JG83xGPAPCjhcfovoGAAD//wMAUEsDBBQABgAIAAAAIQAyo7ZyvQAAAGgBAAAQAAAAeGwvY2FsY0NoYWluLnhtbGTQSwrCMBAG4L3gHcLsbVoXotK00FpPoAcI6dgW8ihJEL29Udoi6SYw3zB/hsnLl5LkidYNRjPIkhQIamHaQXcM7rfr7gjEea5bLo1GBm90UBbbTS64FHXPB01CgnYMeu/HM6VO9Ki4S8yIOnQexiruQ2k76kaLvHU9oleS7tP0QFUIgCIXxDKow1dD2AGI/L504mbmGS4xVDE0pylpGYmhjqGKocnCKX7rLCErqVdS/QtdblR8AAAA//8DAFBLAwQUAAYACAAAACEAvAmdiYMBAAAD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FP4zAQhe8r8R8i36lTWKFV5RghYMUBtJVa4GycSWPh2pZniFp+/U4SUVLY097GM8/Pn5+tLndbX3SQ0cVQifmsFAUEG2sXNpV4XP8+/SUKJBNq42OASuwBxaU++aGWOSbI5AALtghYiZYoLaRE28LW4IzHgSdNzFtDvMwbGZvGWbiJ9m0LgeRZWV5I2BGEGurTdDAUo+Oio/81raPt+fBpvU8MrNVVSt5ZQ3xL/eBsjhgbKm53FryS06FiuhXYt+xor0slp0u1ssbDNRvrxngEJT8b6g5MH9rSuIxadbTowFLMBbp3ju1MFC8GocepRGeyM4EYq5eNi6H2CSnr55hfsQUgVJIFY3Mop9pp7X7q+SDg4ljYG4wgPDhGXDvygH+apcn0D+L5lHhgGHlHnKvkY3Z4Y8h8gxzuzcd9OeDehVd8TOvIm+AjwOOmWrUmQ82ZHwI+NNQdZ5d9b3LdmrCB+kPzfdA/99P4p/X8Ylael/ySk56Sn79X/wUAAP//AwBQSwECLQAUAAYACAAAACEAnixsb2sBAAAQBQAAEwAAAAAAAAAAAAAAAAAAAAAAW0NvbnRlbnRfVHlwZXNdLnhtbFBLAQItABQABgAIAAAAIQC1VTAj9AAAAEwCAAALAAAAAAAAAAAAAAAAAKQDAABfcmVscy8ucmVsc1BLAQItABQABgAIAAAAIQCSB5TsBAEAAD8DAAAaAAAAAAAAAAAAAAAAAMkGAAB4bC9fcmVscy93b3JrYm9vay54bWwucmVsc1BLAQItABQABgAIAAAAIQCcCUUsvAIAALsFAAAPAAAAAAAAAAAAAAAAAA0JAAB4bC93b3JrYm9vay54bWxQSwECLQAUAAYACAAAACEAWV9WvPQAAADnAQAAFAAAAAAAAAAAAAAAAAD2CwAAeGwvc2hhcmVkU3RyaW5ncy54bWxQSwECLQAUAAYACAAAACEA3AYHvnoGAADZGwAAEwAAAAAAAAAAAAAAAAAcDQAAeGwvdGhlbWUvdGhlbWUxLnhtbFBLAQItABQABgAIAAAAIQD7pUVc/QQAACUbAAANAAAAAAAAAAAAAAAAAMcTAAB4bC9zdHlsZXMueG1sUEsBAi0AFAAGAAgAAAAhAHaVoqcJBQAAYg8AABgAAAAAAAAAAAAAAAAA7xgAAHhsL3dvcmtzaGVldHMvc2hlZXQxLnhtbFBLAQItABQABgAIAAAAIQDMF6GTQQEAAF0CAAARAAAAAAAAAAAAAAAAAC4eAABkb2NQcm9wcy9jb3JlLnhtbFBLAQItABQABgAIAAAAIQAyo7ZyvQAAAGgBAAAQAAAAAAAAAAAAAAAAAKYgAAB4bC9jYWxjQ2hhaW4ueG1sUEsBAi0AFAAGAAgAAAAhALwJnYmDAQAAAwMAABAAAAAAAAAAAAAAAAAAkSEAAGRvY1Byb3BzL2FwcC54bWxQSwUGAAAAAAsACwC+AgAASiQ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ChBBn8AAAAFQXJpYWwGgAAAABbvvK3vvLMg77yw44K044K344OD44KvCYEAAAABAAmCAAAAByMAAAAAAQAAABEAAAAEFFN5c3RlbS5EcmF3aW5nLkNvbG9yBAAAAAV9////FFN5c3RlbS5EcmF3aW5nLkNvbG9yBAAAAARuYW1lBXZhbHVlCmtub3duQ29sb3IFc3RhdGUBAAAACQcHBAAAAAoAAAAAAAAAAAAAAAABfP///33///8KAAAA/wAAAAAAAAIAAXv///99////Cv////8AAAAAAAACAAF6////ff///wpOQSL/AAAAAAAAAgABef///33///8K3tzb/wAAAAAAAAIAAXj///99////Cn5pP/8AAAAAAAACAAF3////ff///wqMhHL/AAAAAAAAAgABdv///33///8KJSHt/wAAAAAAAAIAAXX///99////CjQ7Rv8AAAAAAAACAAF0////ff///wp0mMP/AAAAAAAAAgABc////33///8KHpT3/wAAAAAAAAIAAXL///99////Ch6U9/8AAAAAAAACAAFx////ff///wolIe3/AAAAAAAAAgABcP///33///8KAAAA/wAAAAAAAAIAAW////99////Cv////8AAAAAAAACAAFu////ff///wpOQSL/AAAAAAAAAgABbf///33///8K3tzb/wAAAAAAAAIABCQAAACYAVN5c3RlbS5Db2xsZWN0aW9ucy5HZW5lcmljLkxpc3RgMVtbQXBsb3Jpcy5CYXNlLk9iamVjdHMuRGF0YU9iamVjdCwgQXBsb3Jpcy5CYXNlLCBWZXJzaW9uPTQuMi4wLjE5MTEsIEN1bHR1cmU9bmV1dHJhbCwgUHVibGljS2V5VG9rZW49MTZmYzEzYTIyNmMwZTk1MV1dAwAAAAZfaXRlbXMFX3NpemUIX3ZlcnNpb24EAAAhQXBsb3Jpcy5CYXNlLk9iamVjdHMuRGF0YU9iamVjdFtdAwAAAAgICZQAAAAMAAAADAAAAAQmAAAAlQFTeXN0ZW0uQ29sbGVjdGlvbnMuR2VuZXJpYy5MaXN0YDFbW0FwbG9yaXMuQmFzZS5VSS5WaXN1YWxPYmplY3QsIEFwbG9yaXMuQmFzZSwgVmVyc2lvbj00LjIuMC4xOTExLCBDdWx0dXJlPW5ldXRyYWwsIFB1YmxpY0tleVRva2VuPTE2ZmMxM2EyMjZjMGU5NTFdXQMAAAAGX2l0ZW1zBV9zaXplCF92ZXJzaW9uBAAAHkFwbG9yaXMuQmFzZS5VSS5WaXN1YWxPYmplY3RbXQMAAAAICAmVAAAAAQAAAAEAAAAFKQAAAJsBQXBsb3Jpcy5CYXNlLk9iamVjdHMuRGF0YU9iamVjdENvbGxlY3Rpb25gMVtbQXBsb3Jpcy5DaGFydC5WYWx1ZUxpbmUsIEFwbG9yaXMuQ2hhcnQsIFZlcnNpb249NC4yLjAuMTkxMS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ExLCBDdWx0dXJlPW5ldXRyYWwsIFB1YmxpY0tleVRva2VuPTE2ZmMxM2EyMjZjMGU5NTFdXQMAAACRAVN5c3RlbS5Db2xsZWN0aW9ucy5HZW5lcmljLkxpc3RgMVtbQXBsb3Jpcy5DaGFydC5WYWx1ZUxpbmUsIEFwbG9yaXMuQ2hhcnQsIFZlcnNpb249NC4yLjAuMTkxMSwgQ3VsdHVyZT1uZXV0cmFsLCBQdWJsaWNLZXlUb2tlbj0xNmZjMTNhMjI2YzBlOTUxXV2YAVN5c3RlbS5Db2xsZWN0aW9ucy5HZW5lcmljLkxpc3RgMVtbQXBsb3Jpcy5CYXNlLk9iamVjdHMuRGF0YU9iamVjdCwgQXBsb3Jpcy5CYXNlLCBWZXJzaW9uPTQuMi4wLjE5MTEsIEN1bHR1cmU9bmV1dHJhbCwgUHVibGljS2V5VG9rZW49MTZmYzEzYTIyNmMwZTk1MV1dJUFwbG9yaXMuQ2hhcnQuQ29sdW1uT3JpZW50ZWRDaGFydEF4aXMCAAAAIUFwbG9yaXMuQ2hhcnQuQ29sdW1uT3JpZW50ZWRDaGFydAIAAACVAVN5c3RlbS5Db2xsZWN0aW9ucy5HZW5lcmljLkxpc3RgMVtbQXBsb3Jpcy5CYXNlLlVJLlZpc3VhbE9iamVjdCwgQXBsb3Jpcy5CYXNlLCBWZXJzaW9uPTQuMi4wLjE5MTEsIEN1bHR1cmU9bmV1dHJhbCwgUHVibGljS2V5VG9rZW49MTZmYzEzYTIyNmMwZTk1MV1dAwAAAAoJlgAAAAmXAAAACQYAAAAJAQAAAAmaAAAABSoAAACbAUFwbG9yaXMuQmFzZS5PYmplY3RzLkRhdGFPYmplY3RDb2xsZWN0aW9uYDFbW0FwbG9yaXMuQ2hhcnQuQXhpc0JyZWFrLCBBcGxvcmlzLkNoYXJ0LCBWZXJzaW9uPTQuMi4wLjE5MTE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xMSwgQ3VsdHVyZT1uZXV0cmFsLCBQdWJsaWNLZXlUb2tlbj0xNmZjMTNhMjI2YzBlOTUxXV0DAAAAkQFTeXN0ZW0uQ29sbGVjdGlvbnMuR2VuZXJpYy5MaXN0YDFbW0FwbG9yaXMuQ2hhcnQuQXhpc0JyZWFrLCBBcGxvcmlzLkNoYXJ0LCBWZXJzaW9uPTQuMi4wLjE5MTEsIEN1bHR1cmU9bmV1dHJhbCwgUHVibGljS2V5VG9rZW49MTZmYzEzYTIyNmMwZTk1MV1dmAFTeXN0ZW0uQ29sbGVjdGlvbnMuR2VuZXJpYy5MaXN0YDFbW0FwbG9yaXMuQmFzZS5PYmplY3RzLkRhdGFPYmplY3QsIEFwbG9yaXMuQmFzZSwgVmVyc2lvbj00LjIuMC4xOTExLCBDdWx0dXJlPW5ldXRyYWwsIFB1YmxpY0tleVRva2VuPTE2ZmMxM2EyMjZjMGU5NTFdXSVBcGxvcmlzLkNoYXJ0LkNvbHVtbk9yaWVudGVkQ2hhcnRBeGlzAgAAACFBcGxvcmlzLkNoYXJ0LkNvbHVtbk9yaWVudGVkQ2hhcnQCAAAAlQFTeXN0ZW0uQ29sbGVjdGlvbnMuR2VuZXJpYy5MaXN0YDFbW0FwbG9yaXMuQmFzZS5VSS5WaXN1YWxPYmplY3QsIEFwbG9yaXMuQmFzZSwgVmVyc2lvbj00LjIuMC4xOTExLCBDdWx0dXJlPW5ldXRyYWwsIFB1YmxpY0tleVRva2VuPTE2ZmMxM2EyMjZjMGU5NTFdXQMAAAAKCZsAAAAJnAAAAAkGAAAACQEAAAAJnw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xAAAAAwAAAAlyAAAACXMAAAAJdAAAAAEAAAAACgoJdQ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cQAAAAMAAAAJcgAAAAlzAAAACXQAAAABAAAAAAoKCXUAAAAAAAAACgAAAAAAAAAABS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XEAAAADAAAACXIAAAAJcwAAAAl0AAAAAQAAAAAKBrQAAAABJQl1AAAAAQAAAAoAAAAAAAAAAAUuAAAAmgFBcGxvcmlzLkJhc2UuT2JqZWN0cy5EYXRhT2JqZWN0Q29sbGVjdGlvbmAxW1tBcGxvcmlzLkNoYXJ0LlRpY2tNYXJrLCBBcGxvcmlzLkNoYXJ0LCBWZXJzaW9uPTQuMi4wLjE5MTE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ExLCBDdWx0dXJlPW5ldXRyYWwsIFB1YmxpY0tleVRva2VuPTE2ZmMxM2EyMjZjMGU5NTFdXQMAAACQAVN5c3RlbS5Db2xsZWN0aW9ucy5HZW5lcmljLkxpc3RgMVtbQXBsb3Jpcy5DaGFydC5UaWNrTWFya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lQXBsb3Jpcy5DaGFydC5Db2x1bW5PcmllbnRlZENoYXJ0QXhpcwIAAAAhQXBsb3Jpcy5DaGFydC5Db2x1bW5PcmllbnRlZENoYXJ0AgAAAJUBU3lzdGVtLkNvbGxlY3Rpb25zLkdlbmVyaWMuTGlzdGAxW1tBcGxvcmlzLkJhc2UuVUkuVmlzdWFsT2JqZWN0LCBBcGxvcmlzLkJhc2UsIFZlcnNpb249NC4yLjAuMTkxMSwgQ3VsdHVyZT1uZXV0cmFsLCBQdWJsaWNLZXlUb2tlbj0xNmZjMTNhMjI2YzBlOTUxXV0DAAAACgm2AAAACbcAAAAJBgAAAAkBAAAACboAAAAFMQAAABpBcGxvcmlzLkJhc2UuVUkuVmlzdWFsTGluZQ4AAAALbVN0YXJ0UG9pbnQJbUVuZFBvaW50C21MaW5lRm9ybWF0CW1QZXJzRGF0YR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CAAAAAAcCAAADABVTeXN0ZW0uRHJhd2luZy5Qb2ludEYEAAAAFVN5c3RlbS5EcmF3aW5nLlBvaW50RgQAAAAfQXBsb3Jpcy5CYXNlLk9iamVjdHMuTGluZUZvcm1hdAMAAAAICAEBCAEBD1N5c3RlbS5JbnRQdHJbXQEDAAAAAUX////g////+opAQkS1eUMBRP///+D///+BJyNERLV5Qwm9AAAACb4AAAC4AQAA/////wEBCgm+AAAAAQAKAQcyAAAAAAEAAAAFAAAABBVTeXN0ZW0uRHJhd2luZy5Qb2ludEYEAAAAAUH////g////gOcjRES1eUMBQP///+D////6ikBCos6GQwE/////4P///zEwr0OizoZDAT7////g////gScjRKLOhkMBPf///+D///+A5yNERLV+QwczAAAAAAEAAAAFAAAABBdBcGxvcmlzLkJhc2UuQW5jaG9yTW9kZQMAAAAFPP///xdBcGxvcmlzLkJhc2UuQW5jaG9yTW9kZQEAAAAHdmFsdWVfXwAIAwAAAAQAAAABO////zz///8FAAAAATr///88////AwAAAAE5////PP///wYAAAABOP///zz///8FAAAADzQAAAAFAAAAAQAAAAABBTUAAAAVQXBsb3Jpcy5CYXNlLlVJLkxhYmVsHg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J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C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ExLCBDdWx0dXJlPW5ldXRyYWwsIFB1YmxpY0tleVRva2VuPTE2ZmMxM2EyMjZjMGU5NTFdXZYBU3lzdGVtLkNvbGxlY3Rpb25zLkdlbmVyaWMuTGlzdGAxW1tBcGxvcmlzLkJhc2UuT2JqZWN0cy5WYXJpYWJsZSwgQXBsb3Jpcy5CYXNlLCBWZXJzaW9uPTQuMi4wLjE5MTEsIEN1bHR1cmU9bmV1dHJhbCwgUHVibGljS2V5VG9rZW49MTZmYzEzYTIyNmMwZTk1MV1dCAgBAQgBAQ9TeXN0ZW0uSW50UHRyW10BAwAAAAE3////4P///4DnI0REtXlDATb///88////BAAAAAAAAAAAAAAAAAnLAAAAAAAAAAnMAAAAAAAABTP///8qQXBsb3Jpcy5CYXNlLlVJLkxhYmVsK0xpbmVBbGlnbm1lbnRPcHRpb25zAQAAAAd2YWx1ZV9fAAgDAAAAAAAAAAEy////hf///wAAAAAAAAAAATH////s////AAAAAAAAAAAAAAAAAAAAAAAAAAAG0AAAAA1DYXRlZ29yeSBheGlzCgnRAAAACdAAAAAJ0wAAAOQCAAD/////AAEKCdMAAAABAAoBATYAAAAkAAAACdQAAAAGAAAABgAAAAE4AAAAJgAAAAnVAAAAAgAAAAIAAAABOwAAACkAAAAKCdYAAAAJ1wAAAAkHAAAACQEAAAAJ2gAAAAE8AAAAKgAAAAoJ2wAAAAncAAAACQcAAAAJAQAAAAnfAAAABT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XEAAAADAAAACXIAAAAJcwAAAAl0AAAAAQAAAAAKBuYAAAABJQl1AAAAAAAAAAoAAAAAAAAAAAU+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xAAAAAwAAAAlyAAAACXMAAAAJdAAAAAEAAAAACgnmAAAACXUAAAAAAAAACgAAAAAAAAAABT8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XEAAAADAAAACXIAAAAJcwAAAAl0AAAAAQAAAAAKCbQAAAAJdQAAAAEAAAAKAAAAAAAAAAABQAAAAC4AAAAKCfgAAAAJ+QAAAAkHAAAACQEAAAAJ/AAAAAFDAAAAMQAAAAED////4P////qKQEJEtXlDAQL////g////+opAQlIu00EJ/wAAAAkAAQAAuAEAAP////8BAQoJAAEAAAEACgEHRAAAAAABAAAABQAAAAQVU3lzdGVtLkRyYXdpbmcuUG9pbnRGBAAAAAH//v//4P////qKQEJSjpdBAf7+///g////nOQjQUS1eUMB/f7//+D///+c5CNBhw0KQwH8/v//4P///5zkI0FSLtNBAfv+///g////nOQjQVKOl0EHRQAAAAABAAAABQAAAAQXQXBsb3Jpcy5CYXNlLkFuY2hvck1vZGUDAAAAAfr+//88////AQAAAAH5/v//PP///wgAAAAB+P7//zz///8CAAAAAff+//88////BgAAAAH2/v//PP///wcAAAAPRgAAAAUAAAABAAAAAAEBRwAAADUAAAAB9f7//+D////6ikBCUo6XQQH0/v//PP///wEAAAAAAAAAAAAAAAAJDQEAAAAAAAAJDgEAAAAAAAHx/v//M////wAAAAAB8P7//4X///8AAAAAAAAAAAHv/v//7P///wAAAAAAAAAAAAAAAAAAAAAAAAAABhIBAAAKVmFsdWUgYXhpcwoJEwEAAAkSAQAACRUBAADkAgAA/////wABCgkVAQAAAQAKAQFIAAAAJAAAAAkWAQAABgAAAAYAAAABSgAAACYAAAAJFwEAAAIAAAACAAAAB0sAAAAAAQAAAAgAAAAELkFwbG9yaXMuQ2hhcnQuQ29sdW1uT3JpZW50ZWRDaGFydCtVbnVzZWRTZXJpZXMCAAAABej+//8uQXBsb3Jpcy5DaGFydC5Db2x1bW5PcmllbnRlZENoYXJ0K1VudXNlZFNlcmllcwMAAAAIRXhjZWxSb3cDUm93C0Rlc2NyaXB0aW9uAAQCCBpBcGxvcmlzLkNoYXJ0LkRhdGEuRGF0YVJvdwIAAAACAAAAAgAAAAkZAQAABhoBAAAGQWx3YXlzAeX+///o/v//AwAAAAkcAQAABh0BAAAFT2Z0ZW4B4v7//+j+//8EAAAACR8BAAAGIAEAAAlTb21ldGltZXMB3/7//+j+//8FAAAACSIBAAAGIwEAAAZTZWxkb20B3P7//+j+//8GAAAACSUBAAAGJgEAAAVOZXZlcgHZ/v//6P7//wAAAAAKCgHY/v//6P7//wAAAAAKCgHX/v//6P7//wAAAAAKCgRMAAAAlwFTeXN0ZW0uQ29sbGVjdGlvbnMuR2VuZXJpYy5MaXN0YDFbW0FwbG9yaXMuQ2hhcnQuQ2hhcnREYXRhU2VyaWVzLCBBcGxvcmlzLkNoYXJ0LCBWZXJzaW9uPTQuMi4wLjE5MTEsIEN1bHR1cmU9bmV1dHJhbCwgUHVibGljS2V5VG9rZW49MTZmYzEzYTIyNmMwZTk1MV1dAwAAAAZfaXRlbXMFX3NpemUIX3ZlcnNpb24EAAAfQXBsb3Jpcy5DaGFydC5DaGFydERhdGFTZXJpZXNbXQIAAAAICAkqAQAAAwAAAB4AAAABTQAAACQAAAAJKwEAAAMAAAANAAAAAU8AAAAmAAAACSwBAAAAAAAAAAAAAARQAAAAnAFTeXN0ZW0uQ29sbGVjdGlvbnMuR2VuZXJpYy5MaXN0YDFbW0FwbG9yaXMuQ2hhcnQuQW5ub3RhdGlvbkRhdGFTZXJpZXMsIEFwbG9yaXMuQ2hhcnQsIFZlcnNpb249NC4yLjAuMTkxMSwgQ3VsdHVyZT1uZXV0cmFsLCBQdWJsaWNLZXlUb2tlbj0xNmZjMTNhMjI2YzBlOTUxXV0DAAAABl9pdGVtcwVfc2l6ZQhfdmVyc2lvbgQAACRBcGxvcmlzLkNoYXJ0LkFubm90YXRpb25EYXRhU2VyaWVzW10CAAAACAgJLQEAAAAAAAAAAAAAAVEAAAAkAAAACS4BAAAAAAAAAAAAAAFTAAAAJgAAAAksAQAAAAAAAAAAAAAEVAAAAJcBU3lzdGVtLkNvbGxlY3Rpb25zLkdlbmVyaWMuTGlzdGAxW1tBcGxvcmlzLkNoYXJ0LkFubm90YXRpb25Hcm91cCwgQXBsb3Jpcy5DaGFydCwgVmVyc2lvbj00LjIuMC4xOTExLCBDdWx0dXJlPW5ldXRyYWwsIFB1YmxpY0tleVRva2VuPTE2ZmMxM2EyMjZjMGU5NTFdXQMAAAAGX2l0ZW1zBV9zaXplCF92ZXJzaW9uBAAAH0FwbG9yaXMuQ2hhcnQuQW5ub3RhdGlvbkdyb3VwW10CAAAACAgJMAEAAAAAAAAAAAAAAVUAAAAkAAAACS4BAAAAAAAAAAAAAAFXAAAAJgAAAAksAQAAAAAAAAAAAAAEWAAAAJYBU3lzdGVtLkNvbGxlY3Rpb25zLkdlbmVyaWMuTGlzdGAxW1tBcGxvcmlzLkNoYXJ0LkNoYXJ0RGF0YUdyb3VwLCBBcGxvcmlzLkNoYXJ0LCBWZXJzaW9uPTQuMi4wLjE5MTEsIEN1bHR1cmU9bmV1dHJhbCwgUHVibGljS2V5VG9rZW49MTZmYzEzYTIyNmMwZTk1MV1dAwAAAAZfaXRlbXMFX3NpemUIX3ZlcnNpb24EAAAeQXBsb3Jpcy5DaGFydC5DaGFydERhdGFHcm91cFtdAgAAAAgICTMBAAAEAAAACgAAAAFZAAAAJAAAAAk0AQAABAAAAAYAAAABWwAAACYAAAAJLAEAAAAAAAAAAAAABFwAAACQAVN5c3RlbS5Db2xsZWN0aW9ucy5HZW5lcmljLkxpc3RgMVtbQXBsb3Jpcy5DaGFydC5EZWx0YUJhciwgQXBsb3Jpcy5DaGFydCwgVmVyc2lvbj00LjIuMC4xOTExLCBDdWx0dXJlPW5ldXRyYWwsIFB1YmxpY0tleVRva2VuPTE2ZmMxM2EyMjZjMGU5NTFdXQMAAAAGX2l0ZW1zBV9zaXplCF92ZXJzaW9uBAAAGEFwbG9yaXMuQ2hhcnQuRGVsdGFCYXJbXQIAAAAICAk2AQAAAAAAAAAAAAABXQAAACQAAAAJLgEAAAAAAAAAAAAAAV8AAAAmAAAACSwBAAAAAAAAAAAAAARgAAAAkwFTeXN0ZW0uQ29sbGVjdGlvbnMuR2VuZXJpYy5MaXN0YDFbW0FwbG9yaXMuQ2hhcnQuRGVsdGFCcmlkZ2UsIEFwbG9yaXMuQ2hhcnQsIFZlcnNpb249NC4yLjAuMTkxMSwgQ3VsdHVyZT1uZXV0cmFsLCBQdWJsaWNLZXlUb2tlbj0xNmZjMTNhMjI2YzBlOTUxXV0DAAAABl9pdGVtcwVfc2l6ZQhfdmVyc2lvbgQAABtBcGxvcmlzLkNoYXJ0LkRlbHRhQnJpZGdlW10CAAAACAgJOQEAAAAAAAAAAAAAAWEAAAAkAAAACS4BAAAAAAAAAAAAAAFjAAAAJgAAAAksAQAAAAAAAAAAAAAEZAAAAJMBU3lzdGVtLkNvbGxlY3Rpb25zLkdlbmVyaWMuTGlzdGAxW1tBcGxvcmlzLkNoYXJ0Lkdyb3d0aEFycm93LCBBcGxvcmlzLkNoYXJ0LCBWZXJzaW9uPTQuMi4wLjE5MTEsIEN1bHR1cmU9bmV1dHJhbCwgUHVibGljS2V5VG9rZW49MTZmYzEzYTIyNmMwZTk1MV1dAwAAAAZfaXRlbXMFX3NpemUIX3ZlcnNpb24EAAAbQXBsb3Jpcy5DaGFydC5Hcm93dGhBcnJvd1tdAgAAAAgICTwBAAAAAAAAAAAAAAFlAAAAJAAAAAkuAQAAAAAAAAAAAAABZwAAACYAAAAJLAEAAAAAAAAAAAAABGgAAACaAVN5c3RlbS5Db2xsZWN0aW9ucy5HZW5lcmljLkxpc3RgMVtbQXBsb3Jpcy5DaGFydC5XYXRlcmZhbGxDb25uZWN0b3IsIEFwbG9yaXMuQ2hhcnQsIFZlcnNpb249NC4yLjAuMTkxMSwgQ3VsdHVyZT1uZXV0cmFsLCBQdWJsaWNLZXlUb2tlbj0xNmZjMTNhMjI2YzBlOTUxXV0DAAAABl9pdGVtcwVfc2l6ZQhfdmVyc2lvbgQAACJBcGxvcmlzLkNoYXJ0LldhdGVyZmFsbENvbm5lY3RvcltdAgAAAAgICT8BAAAAAAAAAAAAAAFpAAAAJAAAAAkuAQAAAAAAAAAAAAABawAAACYAAAAJLAEAAAAAAAAAAAAABGwAAACYAVN5c3RlbS5Db2xsZWN0aW9ucy5HZW5lcmljLkxpc3RgMVtbQXBsb3Jpcy5DaGFydC5FbGVtZW50Q29ubmVjdG9yLCBBcGxvcmlzLkNoYXJ0LCBWZXJzaW9uPTQuMi4wLjE5MTEsIEN1bHR1cmU9bmV1dHJhbCwgUHVibGljS2V5VG9rZW49MTZmYzEzYTIyNmMwZTk1MV1dAwAAAAZfaXRlbXMFX3NpemUIX3ZlcnNpb24EAAAgQXBsb3Jpcy5DaGFydC5FbGVtZW50Q29ubmVjdG9yW10CAAAACAgJQgEAAAAAAAAAAAAAAW0AAAAkAAAACS4BAAAAAAAAAAAAAAFvAAAAJgAAAAksAQAAAAAAAAAAAAAFeQ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lFAQAACUYBAAABAAAA/v///wEAAAABAAAAAQAAAAEAAAABAAAAAQAAAAAAAQV6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UcBAAAJSAEAAAEAAAAAAAAAAAAAAAAAAAAAAQV+AAAAH0FwbG9yaXMuQmFzZS5PYmplY3RzLlBlcnNJZERhdGECAAAAA21JZAttQ3VzdG9tRGF0YQcCCAMAAAAJSQEAAAlKAQAABYEAAAAaQXBsb3Jpcy5CYXNlLk9iamVjdHMuQ29sb3IHAAAAEkRhdGFPYmplY3QrbVBhcmVudBVEYXRhT2JqZWN0K21Db250YWluZXIFbVR5cGUEbVJHQhBtVGhlbWVDb2xvckluZGV4DG1BdXRvVXBkYXRlZAltTW9kaWZpZWQCAgAAAAAACAgIAQEDAAAACgoAAAAAAAAAAA0AAAAAAQGCAAAAgQAAAAoKAQAAAAAAAAD/////AAEHlAAAAAABAAAAEAAAAAQfQXBsb3Jpcy5CYXNlLk9iamVjdHMuRGF0YU9iamVjdAMAAAAJCQAAAAkKAAAACQsAAAAJDAAAAAkQAAAACREAAAAJDQAAAAkOAAAACQ8AAAAJBwAAAAkGAAAACRcAAAANBAeVAAAAAAEAAAAEAAAABBxBcGxvcmlzLkJhc2UuVUkuVmlzdWFsT2JqZWN0AwAAAAkbAAAADQMElgAAAJEBU3lzdGVtLkNvbGxlY3Rpb25zLkdlbmVyaWMuTGlzdGAxW1tBcGxvcmlzLkNoYXJ0LlZhbHVlTGluZSwgQXBsb3Jpcy5DaGFydCwgVmVyc2lvbj00LjIuMC4xOTExLCBDdWx0dXJlPW5ldXRyYWwsIFB1YmxpY0tleVRva2VuPTE2ZmMxM2EyMjZjMGU5NTFdXQMAAAAGX2l0ZW1zBV9zaXplCF92ZXJzaW9uBAAAGUFwbG9yaXMuQ2hhcnQuVmFsdWVMaW5lW10CAAAACAgJWAEAAAAAAAAAAAAAAZcAAAAkAAAACS4BAAAAAAAAAAAAAAGaAAAAJgAAAAksAQAAAAAAAAAAAAAEmwAAAJEBU3lzdGVtLkNvbGxlY3Rpb25zLkdlbmVyaWMuTGlzdGAxW1tBcGxvcmlzLkNoYXJ0LkF4aXNCcmVhaywgQXBsb3Jpcy5DaGFydCwgVmVyc2lvbj00LjIuMC4xOTExLCBDdWx0dXJlPW5ldXRyYWwsIFB1YmxpY0tleVRva2VuPTE2ZmMxM2EyMjZjMGU5NTFdXQMAAAAGX2l0ZW1zBV9zaXplCF92ZXJzaW9uBAAAGUFwbG9yaXMuQ2hhcnQuQXhpc0JyZWFrW10CAAAACAgJWwEAAAAAAAAAAAAAAZwAAAAkAAAACS4BAAAAAAAAAAAAAAGfAAAAJgAAAAksAQAAAAAAAAAAAAAEtgAAAJABU3lzdGVtLkNvbGxlY3Rpb25zLkdlbmVyaWMuTGlzdGAxW1tBcGxvcmlzLkNoYXJ0LlRpY2tNYXJrLCBBcGxvcmlzLkNoYXJ0LCBWZXJzaW9uPTQuMi4wLjE5MTEsIEN1bHR1cmU9bmV1dHJhbCwgUHVibGljS2V5VG9rZW49MTZmYzEzYTIyNmMwZTk1MV1dAwAAAAZfaXRlbXMFX3NpemUIX3ZlcnNpb24EAAAYQXBsb3Jpcy5DaGFydC5UaWNrTWFya1tdAgAAAAgICV4BAAAAAAAAAAAAAAG3AAAAJAAAAAkuAQAAAAAAAAAAAAABugAAACYAAAAJLAEAAAAAAAAAAAAAAb0AAAB5AAAACgoAAABAPwlhAQAACWIBAAABAAAA/v///wAAAAABAAAAAAAAAAAAAAABAAAAAAAAAAAAAAG+AAAAfgAAAAljAQAACWQBAAAFy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ChBCX8AAAAJgAAAAAloAQAAAQAJaQEAAAHMAAAAgQAAAAoKAQAAAAAAAAD/////AAEE0QAAAJYBU3lzdGVtLkNvbGxlY3Rpb25zLkdlbmVyaWMuTGlzdGAxW1tBcGxvcmlzLkJhc2UuT2JqZWN0cy5WYXJpYWJsZSwgQXBsb3Jpcy5CYXNlLCBWZXJzaW9uPTQuMi4wLjE5MTEsIEN1bHR1cmU9bmV1dHJhbCwgUHVibGljS2V5VG9rZW49MTZmYzEzYTIyNmMwZTk1MV1dAwAAAAZfaXRlbXMFX3NpemUIX3ZlcnNpb24EAAAfQXBsb3Jpcy5CYXNlLk9iamVjdHMuVmFyaWFibGVbXQMAAAAICAlqAQAAAAAAAAAAAAAB0wAAAH4AAAAJawEAAAlsAQAAB9QAAAAAAQAAAAgAAAAEH0FwbG9yaXMuQmFzZS5PYmplY3RzLkRhdGFPYmplY3QDAAAACSsAAAAJLAAAAAktAAAACS4AAAAJKQAAAAkqAAAADQIH1QAAAAABAAAABAAAAAQcQXBsb3Jpcy5CYXNlLlVJLlZpc3VhbE9iamVjdAMAAAAJMQAAAAk1AAAADQIB1gAAAJYAAAAJWAEAAAAAAAAAAAAAAdcAAAAkAAAACS4BAAAAAAAAAAAAAAHaAAAAJgAAAAksAQAAAAAAAAAAAAAB2wAAAJsAAAAJWwEAAAAAAAAAAAAAAdwAAAAkAAAACS4BAAAAAAAAAAAAAAHfAAAAJgAAAAksAQAAAAAAAAAAAAAB+AAAALYAAAAJewEAAAYAAAAmAAAAAfkAAAAkAAAACXwBAAAGAAAAJgAAAAH8AAAAJgAAAAksAQAAAAAAAAAAAAAB/wAAAHkAAAAKCgAAAEA/CX4BAAAJfwEAAAEAAAD+////AAAAAAEAAAAAAAAAAAAAAAEAAAAAAAAAAAAAAQABAAB+AAAACYABAAAJgQEAAAUN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KEEJfwAAAAmAAAAACYUBAAABAAmGAQAAAQ4BAACBAAAACgoBAAAAAAAAAP////8AAQETAQAA0QAAAAlqAQAAAAAAAAAAAAABFQEAAH4AAAAJiAEAAAmJAQAABxYBAAAAAQAAAAgAAAAEH0FwbG9yaXMuQmFzZS5PYmplY3RzLkRhdGFPYmplY3QDAAAACT0AAAAJPgAAAAk/AAAACUAAAAAJOwAAAAk8AAAADQIHFwEAAAABAAAABAAAAAQcQXBsb3Jpcy5CYXNlLlVJLlZpc3VhbE9iamVjdAMAAAAJQwAAAAlHAAAADQIFGQEAABpBcGxvcmlzLkNoYXJ0LkRhdGEuRGF0YVJvdwUAAAAGbUl0ZW1zCW1JdGVtTGlzdAltRXhjZWxSb3cMbU5ld0V4Y2VsUm93Bm1BZGRlZAMDAAAAogFTeXN0ZW0uQ29sbGVjdGlvbnMuT2JqZWN0TW9kZWwuQ29sbGVjdGlvbmAxW1tBcGxvcmlzLkNoYXJ0LkRhdGEuRGF0YUVsZW1lbnQsIEFwbG9yaXMuQ2hhcnQsIFZlcnNpb249NC4yLjAuMTkxMSwgQ3VsdHVyZT1uZXV0cmFsLCBQdWJsaWNLZXlUb2tlbj0xNmZjMTNhMjI2YzBlOTUxXV2YAVN5c3RlbS5Db2xsZWN0aW9ucy5HZW5lcmljLkxpc3RgMVtbQXBsb3Jpcy5DaGFydC5EYXRhLkRhdGFFbGVtZW50LCBBcGxvcmlzLkNoYXJ0LCBWZXJzaW9uPTQuMi4wLjE5MTEsIEN1bHR1cmU9bmV1dHJhbCwgUHVibGljS2V5VG9rZW49MTZmYzEzYTIyNmMwZTk1MV1dCAgBAgAAAAoJkgEAAAIAAAD/////AAEcAQAAGQEAAAoJkwEAAAMAAAD/////AAEfAQAAGQEAAAoJlAEAAAQAAAD/////AAEiAQAAGQEAAAoJlQEAAAUAAAD/////AAElAQAAGQEAAAoJlgEAAAYAAAD/////AAcqAQAAAAEAAAAIAAAABB1BcGxvcmlzLkNoYXJ0LkNoYXJ0RGF0YVNlcmllcwIAAAAJlwEAAAmYAQAACZkBAAANBQcrAQAAAAEAAAAIAAAABB9BcGxvcmlzLkJhc2UuT2JqZWN0cy5EYXRhT2JqZWN0AwAAAAmZAQAACZgBAAAJlwEAAA0FBywBAAAAAQAAAAAAAAAEHEFwbG9yaXMuQmFzZS5VSS5WaXN1YWxPYmplY3QDAAAABy0BAAAAAQAAAAAAAAAEIkFwbG9yaXMuQ2hhcnQuQW5ub3RhdGlvbkRhdGFTZXJpZXMCAAAABy4BAAAAAQAAAAAAAAAEH0FwbG9yaXMuQmFzZS5PYmplY3RzLkRhdGFPYmplY3QDAAAABzABAAAAAQAAAAAAAAAEHUFwbG9yaXMuQ2hhcnQuQW5ub3RhdGlvbkdyb3VwAgAAAAczAQAAAAEAAAAIAAAABBxBcGxvcmlzLkNoYXJ0LkNoYXJ0RGF0YUdyb3VwAgAAAAmcAQAACZ0BAAAJngEAAAmfAQAADQQHNAEAAAABAAAACAAAAAQfQXBsb3Jpcy5CYXNlLk9iamVjdHMuRGF0YU9iamVjdAMAAAAJnAEAAAmfAQAACZ4BAAAJnQEAAA0EBzYBAAAAAQAAAAAAAAAEFkFwbG9yaXMuQ2hhcnQuRGVsdGFCYXICAAAABzkBAAAAAQAAAAAAAAAEGUFwbG9yaXMuQ2hhcnQuRGVsdGFCcmlkZ2UCAAAABzwBAAAAAQAAAAAAAAAEGUFwbG9yaXMuQ2hhcnQuR3Jvd3RoQXJyb3cCAAAABz8BAAAAAQAAAAAAAAAEIEFwbG9yaXMuQ2hhcnQuV2F0ZXJmYWxsQ29ubmVjdG9yAgAAAAdCAQAAAAEAAAAAAAAABB5BcGxvcmlzLkNoYXJ0LkVsZW1lbnRDb25uZWN0b3ICAAAAAUUBAACBAAAACgoAAAAAAAAAAA0AAAAAAQFGAQAAgQAAAAoKAQAAAAAAAAD/////AAEBRwEAAIEAAAAKCgEAAAD///8A/////wABAUgBAACBAAAACgoBAAAAAAAAAP////8AAQ9JAQAAAQAAAAg6AAAAB0oBAAAAAQAAAAEAAAADDVN5c3RlbS5JbnRQdHIEXP7//w1TeXN0ZW0uSW50UHRyAQAAAAV2YWx1ZQAJAAAAAAAAAAAHWAEAAAABAAAAAAAAAAQXQXBsb3Jpcy5DaGFydC5WYWx1ZUxpbmUCAAAAB1sBAAAAAQAAAAAAAAAEF0FwbG9yaXMuQ2hhcnQuQXhpc0JyZWFrAgAAAAdeAQAAAAEAAAAAAAAABBZBcGxvcmlzLkNoYXJ0LlRpY2tNYXJrAgAAAAVhAQAAGkFwbG9yaXMuQmFzZS5PYmplY3RzLkNvbG9yBwAAABJEYXRhT2JqZWN0K21QYXJlbnQVRGF0YU9iamVjdCttQ29udGFpbmVyBW1UeXBlBG1SR0IQbVRoZW1lQ29sb3JJbmRleAxtQXV0b1VwZGF0ZWQJbU1vZGlmaWVkBAIAAAAAAB9BcGxvcmlzLkJhc2UuT2JqZWN0cy5MaW5lRm9ybWF0AwAAAAgICAEBAwAAAAm9AAAACgAAAAAAAAAADQAAAAAABWIBAAAaQXBsb3Jpcy5CYXNlLk9iamVjdHMuQ29sb3IHAAAAEkRhdGFPYmplY3QrbVBhcmVudBVEYXRhT2JqZWN0K21Db250YWluZXIFbVR5cGUEbVJHQhBtVGhlbWVDb2xvckluZGV4DG1BdXRvVXBkYXRlZAltTW9kaWZpZWQEAgAAAAAAH0FwbG9yaXMuQmFzZS5PYmplY3RzLkxpbmVGb3JtYXQDAAAACAgIAQEDAAAACb0AAAAKAQAAAAAAAAD/////AAEPYwEAAAEAAAAIMgAAAAdkAQAAAAEAAAABAAAAAw1TeXN0ZW0uSW50UHRyAVr+//9c/v//AAAAAAAAAAABaAEAAIEAAAAKCgAAAAAAAAAADQAAAAABAWkBAACBAAAACgoBAAAAAAAAAP////8AAQdqAQAAAAEAAAAAAAAABB1BcGxvcmlzLkJhc2UuT2JqZWN0cy5WYXJpYWJsZQMAAAAPawEAAAEAAAAIPAAAAAdsAQAAAAEAAAABAAAAAw1TeXN0ZW0uSW50UHRyAVn+//9c/v//AAAAAAAAAAAHewEAAAABAAAAEAAAAAQWQXBsb3Jpcy5DaGFydC5UaWNrTWFyawIAAAAJqAEAAAmpAQAACaoBAAAJqwEAAAmsAQAACa0BAAANCgd8AQAAAAEAAAAQAAAABB9BcGxvcmlzLkJhc2UuT2JqZWN0cy5EYXRhT2JqZWN0AwAAAAmoAQAACakBAAAJqgEAAAmrAQAACawBAAAJrQEAAA0KBX4BAAAaQXBsb3Jpcy5CYXNlLk9iamVjdHMuQ29sb3IHAAAAEkRhdGFPYmplY3QrbVBhcmVudBVEYXRhT2JqZWN0K21Db250YWluZXIFbVR5cGUEbVJHQhBtVGhlbWVDb2xvckluZGV4DG1BdXRvVXBkYXRlZAltTW9kaWZpZWQEAgAAAAAAH0FwbG9yaXMuQmFzZS5PYmplY3RzLkxpbmVGb3JtYXQDAAAACAgIAQEDAAAACf8AAAAKAAAAAAAAAAANAAAAAAAFfwEAABpBcGxvcmlzLkJhc2UuT2JqZWN0cy5Db2xvcgcAAAASRGF0YU9iamVjdCttUGFyZW50FURhdGFPYmplY3QrbUNvbnRhaW5lcgVtVHlwZQRtUkdCEG1UaGVtZUNvbG9ySW5kZXgMbUF1dG9VcGRhdGVkCW1Nb2RpZmllZAQCAAAAAAAfQXBsb3Jpcy5CYXNlLk9iamVjdHMuTGluZUZvcm1hdAMAAAAICAgBAQMAAAAJ/wAAAAoBAAAAAAAAAP////8AAQ+AAQAAAQAAAAgzAAAAB4EBAAAAAQAAAAEAAAADDVN5c3RlbS5JbnRQdHIBS/7//1z+//8AAAAAAAAAAAGFAQAAgQAAAAoKAAAAAAAAAAANAAAAAAEBhgEAAIEAAAAKCgEAAAAAAAAA/////wABD4gBAAABAAAACDsAAAAHiQEAAAABAAAAAQAAAAMNU3lzdGVtLkludFB0cgFK/v//XP7//wAAAAAAAAAABJIBAACYAVN5c3RlbS5Db2xsZWN0aW9ucy5HZW5lcmljLkxpc3RgMVtbQXBsb3Jpcy5DaGFydC5EYXRhLkRhdGFFbGVtZW50LCBBcGxvcmlzLkNoYXJ0LCBWZXJzaW9uPTQuMi4wLjE5MTEsIEN1bHR1cmU9bmV1dHJhbCwgUHVibGljS2V5VG9rZW49MTZmYzEzYTIyNmMwZTk1MV1dAwAAAAZfaXRlbXMFX3NpemUIX3ZlcnNpb24EAAAgQXBsb3Jpcy5DaGFydC5EYXRhLkRhdGFFbGVtZW50W10CAAAACAgJtwEAAAUAAAAFAAAAAZMBAACSAQAACbgBAAAFAAAABQAAAAGUAQAAkgEAAAm5AQAABQAAAAUAAAABlQEAAJIBAAAJugEAAAUAAAAFAAAAAZYBAACSAQAACbsBAAAFAAAABQAAAAWX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TE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IAAAAJAQAAAAFD/v//7f///wAAAAAIAAAA/////wkHAAAACb8BAAAGwAEAAAxTZWxkb20vTmV2ZXIKCgAAAAAAAAAAAAAAAAoKAAnBAQAACcIBAAAJwwEAAAAAAAAAAAAAAAAAAAAAAAAAAAnEAQAACQEAAAAJAQAAAAnGAQAAAZgBAACXAQAACQEAAAABOP7//+3///8AAAAACQAAAP////8JBwAAAAnKAQAABssBAAAKU29tZXRpbWVzMgoKAAAAAAAAAAAAAAAACgoACcwBAAAJzQEAAAnOAQAAAAAAAAABAAAAAAAAAAAAAAAACc8BAAAJAQAAAAkBAAAACdEBAAABmQEAAJcBAAAJAQAAAAEt/v//7f///wAAAAAKAAAA/////wkHAAAACdUBAAAG1gEAAAxBbHdheXMvT2Z0ZW4KCgAAAAAAAAAAAAAAAAoKAAnXAQAACdgBAAAJ2QEAAAAAAAAAAgAAAAAAAAAAAAAAAAnaAQAACQEAAAAJAQAAAAncAQAABZw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IAAAAJAQAAAAbeAQAAFFNlbGYtY29udGFpbmVkIG1vZGVsAAUh/v//HkFwbG9yaXMuQ2hhcnQuQ2hhcnRHcm91cEFuY2hvcgEAAAAHdmFsdWVfXwAIAgAAAAAAAAAKAAAAAAEAAAABAAAACeABAAAJ4QEAAAniAQAACgoJ4wEAAAkBAAAACQEAAAAJ5QEAAAGdAQAAnAEAAAkBAAAABucBAAALU3BsaXQgbW9kZWwAARj+//8h/v//AAAAAAoAAAAAAQAAAAEAAAAJ6QEAAAnqAQAACesBAAAKCgnsAQAACQEAAAAJAQAAAAnuAQAAAZ4BAACcAQAACQEAAAAG8AEAABNTdXBwbGVtZW50YXJ5IG1vZGVsAAEP/v//If7//wAAAAAKAAAAAAEAAAABAAAACfIBAAAJ8wEAAAn0AQAACgoJ9QEAAAkBAAAACQEAAAAJ9wEAAAGfAQAAnAEAAAkBAAAABvkBAAASRmFjdWx0eSBvbmx5IG1vZGVsAAEG/v//If7//wAAAAAKAAAAAAEAAAABAAAACfsBAAAJ/AEAAAn9AQAACgoJ/gEAAAkBAAAACQEAAAAJAAIAAAWo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JUFwbG9yaXMuQ2hhcnQuQ29sdW1uT3JpZW50ZWRDaGFydEF4aXMCAAAAAQYVU3lzdGVtLkRyYXdpbmcuUG9pbnRGBAAAABVTeXN0ZW0uRHJhd2luZy5Qb2ludEYEAAAAAZgBU3lzdGVtLkNvbGxlY3Rpb25zLkdlbmVyaWMuTGlzdGAxW1tBcGxvcmlzLkJhc2UuT2JqZWN0cy5EYXRhT2JqZWN0LCBBcGxvcmlzLkJhc2UsIFZlcnNpb249NC4yLjAuMTkxMSwgQ3VsdHVyZT1uZXV0cmFsLCBQdWJsaWNLZXlUb2tlbj0xNmZjMTNhMjI2YzBlOTUxXV0lQXBsb3Jpcy5DaGFydC5Db2x1bW5PcmllbnRlZENoYXJ0QXhpcwIAAAAhQXBsb3Jpcy5DaGFydC5Db2x1bW5PcmllbnRlZENoYXJ0AgAAAJUBU3lzdGVtLkNvbGxlY3Rpb25zLkdlbmVyaWMuTGlzdGAxW1tBcGxvcmlzLkJhc2UuVUkuVmlzdWFsT2JqZWN0LCBBcGxvcmlzLkJhc2UsIFZlcnNpb249NC4yLjAuMTkxMSwgQ3VsdHVyZT1uZXV0cmFsLCBQdWJsaWNLZXlUb2tlbj0xNmZjMTNhMjI2YzBlOTUxXV0CAAAACQECAAAKCQICAAAJBwAAAAEAAAAAAAAAAAH8/f//4P////qKQEJEtXlDAfv9///g////+oowQkS1eUMACQYCAAAJBwAAAAkBAAAACQkCAAABqQEAAKgBAAAJCgIAAAoJCwIAAAkHAAAAAZqZmZmZmck/AfP9///g////+opAQsULTUMB8v3//+D////6ijBCxQtNQwAJDwIAAAkHAAAACQEAAAAJEgIAAAGqAQAAqAEAAAkTAgAACgkUAgAACQcAAAABmpmZmZmZ2T8B6v3//+D////6ikBCRmIgQwHp/f//4P////qKMEJGYiBDAAkYAgAACQcAAAAJAQAAAAkbAgAAAasBAACoAQAACRwCAAAKCR0CAAAJBwAAAAEzMzMzMzPjPwHh/f//4P////qKQEKQcedCAeD9///g////+oowQpBx50IACSECAAAJBwAAAAkBAAAACSQCAAABrAEAAKgBAAAJJQIAAAoJJgIAAAkHAAAAAZqZmZmZmek/Adj9///g////+opAQpIejkIB1/3//+D////6ijBCkh6OQgAJKgIAAAkHAAAACQEAAAAJLQIAAAGtAQAAqAEAAAkuAgAACgkvAgAACQcAAAABAAAAAAAA8D8Bz/3//+D////6ikBCUi7TQQHO/f//4P////qKMEJSLtNBAAkzAgAACQcAAAAJAQAAAAk2AgAAB7cBAAAAAQAAAAoAAAAEHkFwbG9yaXMuQ2hhcnQuRGF0YS5EYXRhRWxlbWVudAIAAAAJNwIAAAk4AgAACTkCAAAJOgIAAAk7AgAADQUHuAEAAAABAAAACgAAAAQeQXBsb3Jpcy5DaGFydC5EYXRhLkRhdGFFbGVtZW50AgAAAAk8AgAACT0CAAAJPgIAAAk/AgAACUACAAANBQe5AQAAAAEAAAAKAAAABB5BcGxvcmlzLkNoYXJ0LkRhdGEuRGF0YUVsZW1lbnQCAAAACUECAAAJQgIAAAlDAgAACUQCAAAJRQIAAA0FB7oBAAAAAQAAAAoAAAAEHkFwbG9yaXMuQ2hhcnQuRGF0YS5EYXRhRWxlbWVudAIAAAAJRgIAAAlHAgAACUgCAAAJSQIAAAlKAgAADQUHuwEAAAABAAAACgAAAAQeQXBsb3Jpcy5DaGFydC5EYXRhLkRhdGFFbGVtZW50AgAAAAlLAgAACUwCAAAJTQIAAAlOAgAACU8CAAANBQW/AQAAogFBcGxvcmlzLkJhc2UuT2JqZWN0cy5EYXRhT2JqZWN0Q29sbGVjdGlvbmAxW1tBcGxvcmlzLkNoYXJ0LkNoYXJ0RGF0YUVsZW1lbnQsIEFwbG9yaXMuQ2hhcnQsIFZlcnNpb249NC4yLjAuMTkxMS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xMSwgQ3VsdHVyZT1uZXV0cmFsLCBQdWJsaWNLZXlUb2tlbj0xNmZjMTNhMjI2YzBlOTUxXV0DAAAAmAFTeXN0ZW0uQ29sbGVjdGlvbnMuR2VuZXJpYy5MaXN0YDFbW0FwbG9yaXMuQ2hhcnQuQ2hhcnREYXRhRWxlbWVudC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dQXBsb3Jpcy5DaGFydC5DaGFydERhdGFTZXJpZXMCAAAAIUFwbG9yaXMuQ2hhcnQuQ29sdW1uT3JpZW50ZWRDaGFydAIAAACVAVN5c3RlbS5Db2xsZWN0aW9ucy5HZW5lcmljLkxpc3RgMVtbQXBsb3Jpcy5CYXNlLlVJLlZpc3VhbE9iamVjdCwgQXBsb3Jpcy5CYXNlLCBWZXJzaW9uPTQuMi4wLjE5MTEsIEN1bHR1cmU9bmV1dHJhbCwgUHVibGljS2V5VG9rZW49MTZmYzEzYTIyNmMwZTk1MV1dAwAAAAoJUAIAAAlRAgAACZcBAAAJAQAAAAlUAgAABcEBAAAcQXBsb3Jpcy5DaGFydC5Db25uZWN0ZWRMYWJlbCcAAAAObUNvbm5lY3RvckxpbmUQbVpPcmRlckNvbm5lY3Rvcg5tQ29ubmVjdG9yTW9kZRltQW5nbGVkQ29ubmVjdG9yRGlyZWN0aW9uEG1Db25uZWN0b3JUYXJnZXQZbUNvbm5lY3RvclRhcmdldEFyZWFTaGFwZRptQ29ubmVjdG9yRGlzcGxheVRocmVzaG9sZBNtQ29ubmVjdEFuY2hvclBvaW50CW1QZXJzRGF0YR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PTGFiZWwr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AgQEAAAABAAEAAAABAQEAAEDAwEC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ExLCBDdWx0dXJlPW5ldXRyYWwsIFB1YmxpY0tleVRva2VuPTE2ZmMxM2EyMjZjMGU5NTFdXZYBU3lzdGVtLkNvbGxlY3Rpb25zLkdlbmVyaWMuTGlzdGAxW1tBcGxvcmlzLkJhc2UuT2JqZWN0cy5WYXJpYWJsZSwgQXBsb3Jpcy5CYXNlLCBWZXJzaW9uPTQuMi4wLjE5MTEsIEN1bHR1cmU9bmV1dHJhbCwgUHVibGljS2V5VG9rZW49MTZmYzEzYTIyNmMwZTk1MV1dCAgBAQgBAQ9TeXN0ZW0uSW50UHRyW10BAgAAAApYAgAABav9//8rQXBsb3Jpcy5DaGFydC5Db25uZWN0ZWRMYWJlbCtlQ29ubmVjdG9yTW9kZQEAAAAHdmFsdWVfXwAIAgAAAAEAAAAFqv3//zZBcGxvcmlzLkNoYXJ0LkNvbm5lY3RlZExhYmVsK2VBbmdsZWRDb25uZWN0b3JEaXJlY3Rpb24BAAAAB3ZhbHVlX18ACAIAAAAAAAAAAan9///s////PjUFRFIu60GA5rBCkNSKQAWo/f//LUFwbG9yaXMuQ2hhcnQuQ29ubmVjdGVkTGFiZWwrZVRhcmdldEFyZWFTaGFwZQEAAAAHdmFsdWVfXwAIAgAAAAAAAAAAABBBAQlZAgAAAab9///g////DlIdROSI/EEBpf3//zz///8EAAAAAAAAAAAAAAAACVwCAAAAAAAACV0CAAAAAAABov3//zP///8AAAAAAaH9//+F////ABS+QgAQlUEBoP3//+z///8AAB1EZmbGQdPdnkIAgG5BXrrZPwnAAQAACgliAgAABmMCAAAACVkCAAAgAwAA/////wEBCglZAgAAAQAKAQfCAQAAAAEAAAACAAAABBVTeXN0ZW0uRHJhd2luZy5Qb2ludEYEAAAAAZv9///g////DlIdROSI/EEBmv3//+D////6iixChKwyQgfDAQAAAAEAAAACAAAABBdBcGxvcmlzLkJhc2UuQW5jaG9yTW9kZQMAAAABmf3//zz///8EAAAAAZj9//88////AgAAAAHEAQAAJAAAAAlpAgAAAQAAAAEAAAABxgEAACYAAAAJagIAAAEAAAABAAAAAcoBAAC/AQAACglrAgAACWwCAAAJmAEAAAkBAAAACW8CAAABzAEAAMEBAAAKWAIAAAGQ/f//q/3//wEAAAABj/3//6r9//8AAAAAAY79///s////PjUFRLvxHkKA5rBCCqrYQQGN/f//qP3//wAAAAAAABBBAQl0AgAAAYv9///g////DlIdRD4cVUIBiv3//zz///8EAAAAAAAAAAAAAAAACXcCAAAAAAAACXgCAAAAAAABh/3//zP///8AAAAAAYb9//+F////QAuWQgAQlUEBhf3//+z///8AAB1Empk5QqatfUIAgG5BXrrZPwZ8AgAACVNvbWV0aW1lcwoJfQIAAAl8AgAACXQCAAAgAwAA/////wEBCgl0AgAAAQAKAQfNAQAAAAEAAAACAAAABBVTeXN0ZW0uRHJhd2luZy5Qb2ludEYEAAAAAYD9///g////DlIdRD4cVUIBf/3//+D////6iixC4ubCQgfOAQAAAAEAAAACAAAABBdBcGxvcmlzLkJhc2UuQW5jaG9yTW9kZQMAAAABfv3//zz///8EAAAAAX39//88////AgAAAAHPAQAAJAAAAAmEAgAAAQAAAAEAAAAB0QEAACYAAAAJhQIAAAEAAAABAAAAAdUBAAC/AQAACgmGAgAACYcCAAAJmQEAAAkBAAAACYoCAAAB1wEAAMEBAAAKWAIAAAF1/f//q/3//wEAAAABdP3//6r9//8AAAAAAXP9///s////PjUFRGCjkUKA5rBClOMtQwFy/f//qP3//wAAAAAAABBBAQmPAgAAAXD9///g////DlIdRHrDH0MBb/3//zz///8EAAAAAAAAAAAAAAAACZICAAAAAAAACZMCAAAAAAABbP3//zP///8AAAAAAWv9//+F////wLuwQgAQlUEBav3//+z///8AAB1EzcwYQ9MwlEIAgG5BXrrZPwnWAQAACgmYAgAACWMCAAAJjwIAACADAAD/////AQEKCY8CAAABAAoBB9gBAAAAAQAAAAIAAAAEFVN5c3RlbS5EcmF3aW5nLlBvaW50RgQAAAABZf3//+D///8OUh1EesMfQwFk/f//4P///09Wh0HX1T5DB9kBAAAAAQAAAAIAAAAEF0FwbG9yaXMuQmFzZS5BbmNob3JNb2RlAwAAAAFj/f//PP///wQAAAABYv3//zz///8CAAAAAdoBAAAkAAAACZ8CAAABAAAAAQAAAAHcAQAAJgAAAAmgAgAAAQAAAAEAAAAP4AEAAAEAAAAIAAAAAAfhAQAAAAEAAAABAAAABBVBcGxvcmlzLkJhc2UuVUkuTGFiZWwDAAAACaECAAAB4gEAADUAAAABXv3//+D///9OZPdCRLV+QwFd/f//PP///wMAAAAAAAAAAAAAAAAJpAIAAAAAAAAJpQIAAAAAAAFa/f//M////wAAAAABWf3//4X///8A6wxDABCVQQFY/f//7P///83MhEIzM39D00XoQgCAbkFeutk/Cd4BAAAKCaoCAAAJYwIAAAmsAgAAIAMAAP////8BAQoJrAIAAAEACgEB4wEAACQAAAAJLgEAAAAAAAAAAAAAAeUBAAAmAAAACa4CAAACAAAAAgAAAA/pAQAAAQAAAAgAAAAAB+oBAAAAAQAAAAEAAAAEFUFwbG9yaXMuQmFzZS5VSS5MYWJlbAMAAAAJrwIAAAHrAQAANQAAAAFQ/f//4P///3xoiUNEtX5DAU/9//88////AwAAAAAAAAAAAAAAAAmyAgAAAAAAAAmzAgAAAAAAAUz9//8z////AAAAAAFL/f//hf///0BnlEIAEJVBAUr9///s////AAB0QzMzf0OmDXtCAIBuQV662T8J5wEAAAoJuAIAAAljAgAACboCAAAgAwAA/////wEBCgm6AgAAAQAKAQHsAQAAJAAAAAkuAQAAAAAAAAAAAAAB7gEAACYAAAAJvAIAAAIAAAACAAAAD/IBAAABAAAACAAAAAAH8wEAAAABAAAAAQAAAAQVQXBsb3Jpcy5CYXNlLlVJLkxhYmVsAwAAAAm9AgAAAfQBAAA1AAAAAUL9///g////5PfUQ0S1fkMBQf3//zz///8DAAAAAAAAAAAAAAAACcACAAAAAAAACcECAAAAAAABPv3//zP///8AAAAAAT39//+F////wOkRQwAQlUEBPP3//+z///8zM7dDMzN/Q9ND8EIAgG5BXrrZPwnwAQAACgnGAgAACWMCAAAJyAIAACADAAD/////AQEKCcgCAAABAAoBAfUBAAAkAAAACS4BAAAAAAAAAAAAAAH3AQAAJgAAAAnKAgAAAgAAAAIAAAAP+wEAAAEAAAAIAAAAAAf8AQAAAAEAAAABAAAABBVBcGxvcmlzLkJhc2UuVUkuTGFiZWwDAAAACcsCAAAB/QEAADUAAAABNP3//+D///+mQxBERLV+QwEz/f//PP///wMAAAAAAAAAAAAAAAAJzgIAAAAAAAAJzwIAAAAAAAEw/f//M////wAAAAABL/3//4X///+AG/pCABCVQQEu/f//7P///2ZmA0QzM39D0+POQgCAbkFeutk/CfkBAAAKCdQCAAAJYwIAAAnWAgAAIAMAAP////8BAQoJ1gIAAAEACgEB/gEAACQAAAAJLgEAAAAAAAAAAAAAAQACAAAmAAAACdgCAAACAAAAAgAAAAEBAgAAMQAAAAEn/f//4P////qKQEJEtXlDASb9///g////+oowQkS1eUMJ2wIAAAncAgAAzAEAAP////8BAQoJ3AIAAAEACgEBAgIAADUAAAABI/3//+D////6iipCRLV5QwEi/f//PP///wIAAAAAAAAAAAAAAAAJ3wIAAAAAAAAJ4AIAAAAAAAEf/f//M////wAAAAABHv3//4X///8AcK1BABCVQQEd/f//7P///wAAwEFmZnJDTPelQQCAbkFeutk/BuQCAAACMCUKCeUCAAAJYwIAAAnnAgAA0AIAAP////8BAQoJ5wIAAAEACgEBBgIAACQAAAAJLgEAAAAAAAAAAAAAAQkCAAAmAAAACekCAAACAAAAAgAAAAEKAgAAMQAAAAEW/f//4P////qKQELFC01DARX9///g////+oowQsULTUMJ7AIAAAntAgAAzAEAAP////8BAQoJ7QIAAAEACgEBCwIAADUAAAABEv3//+D////6iipCxQtNQwER/f//PP///wIAAAAAAAAAAAAAAAAJ8AIAAAAAAAAJ8QIAAAAAAAEO/f//M////wAAAAABDf3//4X///8ALfBBABCVQQEM/f//7P///83MjEGamUVDS1vbQQCAbkFeutk/BvUCAAADMjAlCgn2AgAACWMCAAAJ+AIAANACAAD/////AQEKCfgCAAABAAoBAQ8CAAAkAAAACS4BAAAAAAAAAAAAAAESAgAAJgAAAAn6AgAAAgAAAAIAAAABEwIAADEAAAABBf3//+D////6ikBCRmIgQwEE/f//4P////qKMEJGYiBDCf0CAAAJ/gIAAMwBAAD/////AQEKCf4CAAABAAoBARQCAAA1AAAAAQH9///g////+ooqQkZiIEMBAP3//zz///8CAAAAAAAAAAAAAAAACQEDAAAAAAAACQIDAAAAAAAB/fz//zP///8AAAAAAfz8//+F////AC3wQQAQlUEB+/z//+z////NzIxBmpkZQ0tb20EAgG5BXrrZPwYGAwAAAzQwJQoJBwMAAAljAgAACQkDAADQAgAA/////wEBCgkJAwAAAQAKAQEYAgAAJAAAAAkuAQAAAAAAAAAAAAABGwIAACYAAAAJCwMAAAIAAAACAAAAARwCAAAxAAAAAfT8///g////+opAQpBx50IB8/z//+D////6ijBCkHHnQgkOAwAACQ8DAADMAQAA/////wEBCgkPAwAAAQAKAQEdAgAANQAAAAHw/P//4P////qKKkKQcedCAe/8//88////AgAAAAAAAAAAAAAAAAkSAwAAAAAAAAkTAwAAAAAAAez8//8z////AAAAAAHr/P//hf///wAt8EEAEJVBAer8///s////zcyMQZqZ2UJLW9tBAIBuQV662T8GFwMAAAM2MCUKCRgDAAAJYwIAAAkaAwAA0AIAAP////8BAQoJGgMAAAEACgEBIQIAACQAAAAJLgEAAAAAAAAAAAAAASQCAAAmAAAACRwDAAACAAAAAgAAAAElAgAAMQAAAAHj/P//4P////qKQEKSHo5CAeL8///g////+oowQpIejkIJHwMAAAkgAwAAzAEAAP////8BAQoJIAMAAAEACgEBJgIAADUAAAAB3/z//+D////6iipCkh6OQgHe/P//PP///wIAAAAAAAAAAAAAAAAJIwMAAAAAAAAJJAMAAAAAAAHb/P//M////wAAAAAB2vz//4X///8ALfBBABCVQQHZ/P//7P///83MjEEAAIBCS1vbQQCAbkFeutk/BigDAAADODAlCgkpAwAACWMCAAAJKwMAANACAAD/////AQEKCSsDAAABAAoBASoCAAAkAAAACS4BAAAAAAAAAAAAAAEtAgAAJgAAAAktAwAAAgAAAAIAAAABLgIAADEAAAAB0vz//+D////6ikBCUi7TQQHR/P//4P////qKMEJSLtNBCTADAAAJMQMAAMwBAAD/////AQEKCTEDAAABAAoBAS8CAAA1AAAAAc78///g////+ooqQlIu00EBzfz//zz///8CAAAAAAAAAAAAAAAACTQDAAAAAAAACTUDAAAAAAAByvz//zP///8AAAAAAcn8//+F////AHUZQgAQlUEByPz//+z///9mZiZBmpmZQaZfCEIAgG5BXrrZPwY5AwAABDEwMCUKCToDAAAJYwIAAAk8AwAA0AIAAP////8BAQoJPAMAAAEACgEBMwIAACQAAAAJLgEAAAAAAAAAAAAAATYCAAAmAAAACT4DAAACAAAAAgAAAAU3AgAAHkFwbG9yaXMuQ2hhcnQuRGF0YS5EYXRhRWxlbWVudAUAAAAGbVZhbHVlBW1UZXh0DW1OdW1iZXJGb3JtYXQKbUJhY2tDb2xvcgttQmFja0NvbG9yMgIBAQAACA8CAAAABj8DAAAGQWx3YXlzCT8DAAAJYwIAAAAAAADMzMz/ATgCAAA3AgAACAZGF1100UXHPwoGQQMAAAcjIyMwLjAlAAAAAMzMzP8BOQIAADcCAAAIBlQLKz21sNI/CglBAwAAAAAAAMzMzP8BOgIAADcCAAAIBsQdcUfcEdc/CglBAwAAAAAAAMzMzP8BOwIAADcCAAAIBl9CewntJdQ/CglBAwAAAAAAAMzMzP8BPAIAADcCAAAGQgMAAAVPZnRlbglCAwAACWMCAAAAAAAAzMzM/wE9AgAANwIAAAgGHNa+Ye0b1j8KCUEDAAAAAAAAzMzM/wE+AgAANwIAAAgGaPJlgyZf1j8KCUEDAAAAAAAAzMzM/wE/AgAANwIAAAgGlDVlTVlT1j8KCUEDAAAAAAAAzMzM/wFAAgAANwIAAAgGhfYS2kto3z8KCUEDAAAAAAAAzMzM/wFBAgAANwIAAAZFAwAACVNvbWV0aW1lcwlFAwAACWMCAAAAAAAAzMzM/wFCAgAANwIAAAgGyFOCPCXI0z8KCUEDAAAAAAAAzMzM/wFDAgAANwIAAAgGocmXDZp8yT8KCUEDAAAAAAAAzMzM/wFEAgAANwIAAAgG9AV9QV/Qxz8KCUEDAAAAAAAAzMzM/wFFAgAANwIAAAgGaC+hvYT2wj8KCUEDAAAAAAAAzMzM/wFGAgAANwIAAAZIAwAABlNlbGRvbQlIAwAACWMCAAAAAAAAzMzM/wFHAgAANwIAAAgG7RvWvmHtuz8KCUEDAAAAAAAAzMzM/wFIAgAANwIAAAgG5csGTb5swD8KCUEDAAAAAAAAzMzM/wFJAgAANwIAAAgGNmVNWVPWtD8KCUEDAAAAAAAAzMzM/wFKAgAANwIAAAgGHMdxHMdxnD8KCUEDAAAAAAAAzMzM/wFLAgAANwIAAAZLAwAABU5ldmVyCUsDAAAJYwIAAAAAAADMzMz/AUwCAAA3AgAACAbtG9a+Ye2rPwoJQQMAAAAAAADMzMz/AU0CAAA3AgAACAYSePshgbefPwoJQQMAAAAAAADMzMz/AU4CAAA3AgAACAb0BX1BX9CXPwoJQQMAAAAAAADMzMz/AU8CAAA3AgAACAZoL6G9hPaSPwoJQQMAAAAAAADMzMz/BFACAACYAVN5c3RlbS5Db2xsZWN0aW9ucy5HZW5lcmljLkxpc3RgMVtbQXBsb3Jpcy5DaGFydC5DaGFydERhdGFFbGVtZW50LCBBcGxvcmlzLkNoYXJ0LCBWZXJzaW9uPTQuMi4wLjE5MTEsIEN1bHR1cmU9bmV1dHJhbCwgUHVibGljS2V5VG9rZW49MTZmYzEzYTIyNmMwZTk1MV1dAwAAAAZfaXRlbXMFX3NpemUIX3ZlcnNpb24EAAAgQXBsb3Jpcy5DaGFydC5DaGFydERhdGFFbGVtZW50W10CAAAACAgJTgMAAAQAAAAKAAAAAVECAAAkAAAACU8DAAAEAAAABgAAAAFUAgAAJgAAAAksAQAAAAAAAAAAAAABWQIAAH4AAAAJUQMAAAlSAwAAAVwCAAAiAAAACgoAAAAAAEBBCX8AAAAJgAAAAAlVAwAAAAAJVgMAAAFdAgAAgQAAAAoKAAAAAP///wAOAAAAAAEBYgIAANEAAAAJVwMAAAEAAAABAAAAB2kCAAAAAQAAAAQAAAAEH0FwbG9yaXMuQmFzZS5PYmplY3RzLkRhdGFPYmplY3QDAAAACb8BAAANAwdqAgAAAAEAAAAEAAAABBxBcGxvcmlzLkJhc2UuVUkuVmlzdWFsT2JqZWN0AwAAAAnBAQAADQMBawIAAFACAAAJWgMAAAQAAAAKAAAAAWwCAAAkAAAACVsDAAAEAAAABgAAAAFvAgAAJgAAAAksAQAAAAAAAAAAAAABdAIAAH4AAAAJXQMAAAleAwAAAXcCAAAiAAAACgoAAAAAAEBBCX8AAAAJgAAAAAlhAwAAAAAJYgMAAAF4AgAAgQAAAAoKAAAAAP///wAOAAAAAAEBfQIAANEAAAAJYwMAAAAAAAACAAAAB4QCAAAAAQAAAAQAAAAEH0FwbG9yaXMuQmFzZS5PYmplY3RzLkRhdGFPYmplY3QDAAAACcoBAAANAweFAgAAAAEAAAAEAAAABBxBcGxvcmlzLkJhc2UuVUkuVmlzdWFsT2JqZWN0AwAAAAnMAQAADQMBhgIAAFACAAAJZgMAAAQAAAAKAAAAAYcCAAAkAAAACWcDAAAEAAAABgAAAAGKAgAAJgAAAAksAQAAAAAAAAAAAAABjwIAAH4AAAAJaQMAAAlqAwAAAZICAAAiAAAACgoAAAAAAEBBCX8AAAAJgAAAAAltAwAAAAAJbgMAAAGTAgAAgQAAAAoKAAAAAP///wAOAAAAAAEBmAIAANEAAAAJbwMAAAEAAAABAAAAB58CAAAAAQAAAAQAAAAEH0FwbG9yaXMuQmFzZS5PYmplY3RzLkRhdGFPYmplY3QDAAAACdUBAAANAwegAgAAAAEAAAAEAAAABBxBcGxvcmlzLkJhc2UuVUkuVmlzdWFsT2JqZWN0AwAAAAnXAQAADQMBoQIAADUAAAABjvz//+D///9OZPdCUi67QQGN/P//PP///wEAAAAAAAAAAAAAAAAJdAMAAAAAAAAJdQMAAAAAAAGK/P//M////wAAAAABifz//4X////wbBNCAG6CQQGI/P//7P///wAA2EJmZiZB8dgBQgCwUEESg74/BnkDAAAGbiA9IDU1Cgl6AwAACXkDAAAJfAMAADQDAAD/////AQEKCXwDAAABAAoBAaQCAAAiAAAACgoAAAAAAEBBCX8AAAAJgAAAAAl/AwAAAAAJgAMAAAGlAgAAgQAAAAoKAAAAAP///wAOAAAAAAEBqgIAANEAAAAJgQMAAAEAAAABAAAAAawCAAB+AAAACYIDAAAJgwMAAAeuAgAAAAEAAAAEAAAABBxBcGxvcmlzLkJhc2UuVUkuVmlzdWFsT2JqZWN0AwAAAAniAQAACaECAAANAgGvAgAANQAAAAF6/P//4P///3xoiUNSLrtBAXn8//88////AQAAAAAAAAAAAAAAAAmIAwAAAAAAAAmJAwAAAAAAAXb8//8z////AAAAAAF1/P//hf///yAwr0EAboJBAXT8///s////ZmaEQ2ZmJkHi9qNBALBQQRKDvj8GjQMAAAMyMjYKCY4DAAAJjQMAAAmQAwAANAMAAP////8BAQoJkAMAAAEACgEBsgIAACIAAAAKCgAAAAAAQEEJfwAAAAmAAAAACZMDAAAAAAmUAwAAAbMCAACBAAAACgoAAAAA////AA4AAAAAAQG4AgAA0QAAAAmVAwAAAQAAAAEAAAABugIAAH4AAAAJlgMAAAmXAwAAB7wCAAAAAQAAAAQAAAAEHEFwbG9yaXMuQmFzZS5VSS5WaXN1YWxPYmplY3QDAAAACesBAAAJrwIAAA0CAb0CAAA1AAAAAWb8///g////5PfUQ1Iuu0EBZfz//zz///8BAAAAAAAAAAAAAAAACZwDAAAAAAAACZ0DAAAAAAABYvz//zP///8AAAAAAWH8//+F////gJVpQQBugkEBYPz//+z///+amdFDZmYmQcV+akEAsFBBEoO+PwahAwAAAjg2CgmiAwAACaEDAAAJpAMAADQDAAD/////AQEKCaQDAAABAAoBAcACAAAiAAAACgoAAAAAAEBBCX8AAAAJgAAAAAmnAwAAAAAJqAMAAAHBAgAAgQAAAAoKAAAAAP///wAOAAAAAAEBxgIAANEAAAAJqQMAAAEAAAABAAAAAcgCAAB+AAAACaoDAAAJqwMAAAfKAgAAAAEAAAAEAAAABBxBcGxvcmlzLkJhc2UuVUkuVmlzdWFsT2JqZWN0AwAAAAn0AQAACb0CAAANAgHLAgAANQAAAAFS/P//4P///6ZDEERSLrtBAVH8//88////AQAAAAAAAAAAAAAAAAmwAwAAAAAAAAmxAwAAAAAAAU78//8z////AAAAAAFN/P//hf///yAwr0EAboJBAUz8///s////zcwNRGZmJkHi9qNBALBQQRKDvj8GtQMAAAMxMDgKCbYDAAAJtQMAAAm4AwAANAMAAP////8BAQoJuAMAAAEACgEBzgIAACIAAAAKCgAAAAAAQEEJfwAAAAmAAAAACbsDAAAAAAm8AwAAAc8CAACBAAAACgoAAAAA////AA4AAAAAAQHUAgAA0QAAAAm9AwAAAQAAAAEAAAAB1gIAAH4AAAAJvgMAAAm/AwAAB9gCAAAAAQAAAAQAAAAEHEFwbG9yaXMuQmFzZS5VSS5WaXN1YWxPYmplY3QDAAAACf0BAAAJywIAAA0CAdsCAAB5AAAACgoAAABAPwnCAwAACcMDAAABAAAA/v///wAAAAABAAAAAAAAAAAAAAABAAAAAAAAAAAAAAHcAgAAfgAAAAnEAwAACcUDAAAB3wIAACIAAAAKCgAAAAAAQEEJfwAAAAmAAAAACcgDAAAAAAnJAwAAAeACAACBAAAACgoAAAAA////AA4AAAAAAQHlAgAA0QAAAAnKAwAAAQAAAAEAAAAB5wIAAH4AAAAJywMAAAnMAwAAB+kCAAAAAQAAAAQAAAAEHEFwbG9yaXMuQmFzZS5VSS5WaXN1YWxPYmplY3QDAAAACQECAAAJAgIAAA0CAewCAAB5AAAACgoAAABAPwnPAwAACdADAAABAAAA/v///wAAAAABAAAAAAAAAAAAAAABAAAAAAAAAAAAAAHtAgAAfgAAAAnRAwAACdIDAAAB8AIAACIAAAAKCgAAAAAAQEEJfwAAAAmAAAAACdUDAAAAAAnWAwAAAfECAACBAAAACgoAAAAA////AA4AAAAAAQH2AgAA0QAAAAnXAwAAAQAAAAMAAAAB+AIAAH4AAAAJ2AMAAAnZAwAAB/oCAAAAAQAAAAQAAAAEHEFwbG9yaXMuQmFzZS5VSS5WaXN1YWxPYmplY3QDAAAACQoCAAAJCwIAAA0CAf0CAAB5AAAACgoAAABAPwncAwAACd0DAAABAAAA/v///wAAAAABAAAAAAAAAAAAAAABAAAAAAAAAAAAAAH+AgAAfgAAAAneAwAACd8DAAABAQMAACIAAAAKCgAAAAAAQEEJfwAAAAmAAAAACeIDAAAAAAnjAwAAAQIDAACBAAAACgoAAAAA////AA4AAAAAAQEHAwAA0QAAAAnkAwAAAQAAAAMAAAABCQMAAH4AAAAJ5QMAAAnmAwAABwsDAAAAAQAAAAQAAAAEHEFwbG9yaXMuQmFzZS5VSS5WaXN1YWxPYmplY3QDAAAACRMCAAAJFAIAAA0CAQ4DAAB5AAAACgoAAABAPwnpAwAACeoDAAABAAAA/v///wAAAAABAAAAAAAAAAAAAAABAAAAAAAAAAAAAAEPAwAAfgAAAAnrAwAACewDAAABEgMAACIAAAAKCgAAAAAAQEEJfwAAAAmAAAAACe8DAAAAAAnwAwAAARMDAACBAAAACgoAAAAA////AA4AAAAAAQEYAwAA0QAAAAnxAwAAAQAAAAMAAAABGgMAAH4AAAAJ8gMAAAnzAwAABxwDAAAAAQAAAAQAAAAEHEFwbG9yaXMuQmFzZS5VSS5WaXN1YWxPYmplY3QDAAAACRwCAAAJHQIAAA0CAR8DAAB5AAAACgoAAABAPwn2AwAACfcDAAABAAAA/v///wAAAAABAAAAAAAAAAAAAAABAAAAAAAAAAAAAAEgAwAAfgAAAAn4AwAACfkDAAABIwMAACIAAAAKCgAAAAAAQEEJfwAAAAmAAAAACfwDAAAAAAn9AwAAASQDAACBAAAACgoAAAAA////AA4AAAAAAQEpAwAA0QAAAAn+AwAAAQAAAAMAAAABKwMAAH4AAAAJ/wMAAAkABAAABy0DAAAAAQAAAAQAAAAEHEFwbG9yaXMuQmFzZS5VSS5WaXN1YWxPYmplY3QDAAAACSUCAAAJJgIAAA0CATADAAB5AAAACgoAAABAPwkDBAAACQQEAAABAAAA/v///wAAAAABAAAAAAAAAAAAAAABAAAAAAAAAAAAAAExAwAAfgAAAAkFBAAACQYEAAABNAMAACIAAAAKCgAAAAAAQEEJfwAAAAmAAAAACQkEAAAAAAkKBAAAATUDAACBAAAACgoAAAAA////AA4AAAAAAQE6AwAA0QAAAAkLBAAAAQAAAAMAAAABPAMAAH4AAAAJDAQAAAkNBAAABz4DAAAAAQAAAAQAAAAEHEFwbG9yaXMuQmFzZS5VSS5WaXN1YWxPYmplY3QDAAAACS4CAAAJLwIAAA0CB04DAAAAAQAAAAgAAAAEHkFwbG9yaXMuQ2hhcnQuQ2hhcnREYXRhRWxlbWVudAIAAAAJEAQAAAkRBAAACRIEAAAJEwQAAA0EB08DAAAAAQAAAAgAAAAEH0FwbG9yaXMuQmFzZS5PYmplY3RzLkRhdGFPYmplY3QDAAAACRAEAAAJEwQAAAkSBAAACREEAAANBA9RAwAAAQAAAAgbAAAAB1IDAAAAAQAAAAEAAAADDVN5c3RlbS5JbnRQdHIB6Pv//1z+//8AAAAAAAAAAAFVAwAAgQAAAAoKAAAAAAAAAAANAAAAAAABVgMAAIEAAAAKCgAAAAAAAAAADQAAAAABB1cDAAAAAQAAAAQAAAAEHUFwbG9yaXMuQmFzZS5PYmplY3RzLlZhcmlhYmxlAwAAAAXn+///HUFwbG9yaXMuQmFzZS5PYmplY3RzLlZhcmlhYmxlAgAAAAZOdW1iZXIIUG9zaXRpb24AAAgIAwAAAAEAAAAAAAAAAeb7///n+///AAAAAAAAAAAB5fv//+f7//8AAAAAAAAAAAHk+///5/v//wAAAAAAAAAAB1oDAAAAAQAAAAgAAAAEHkFwbG9yaXMuQ2hhcnQuQ2hhcnREYXRhRWxlbWVudAIAAAAJHQQAAAkeBAAACR8EAAAJIAQAAA0EB1sDAAAAAQAAAAgAAAAEH0FwbG9yaXMuQmFzZS5PYmplY3RzLkRhdGFPYmplY3QDAAAACR0EAAAJIAQAAAkfBAAACR4EAAANBA9dAwAAAQAAAAgdAAAAB14DAAAAAQAAAAEAAAADDVN5c3RlbS5JbnRQdHIB2/v//1z+//8AAAAAAAAAAAFhAwAAgQAAAAoKAAAAAAAAAAANAAAAAAABYgMAAIEAAAAKCgAAAAAAAAAADQAAAAABB2MDAAAAAQAAAAQAAAAEHUFwbG9yaXMuQmFzZS5PYmplY3RzLlZhcmlhYmxlAwAAAAHa+///5/v//wAAAAAAAAAAAdn7///n+///AAAAAAAAAAAB2Pv//+f7//8AAAAAAAAAAAHX+///5/v//wAAAAAAAAAAB2YDAAAAAQAAAAgAAAAEHkFwbG9yaXMuQ2hhcnQuQ2hhcnREYXRhRWxlbWVudAIAAAAJKgQAAAkrBAAACSwEAAAJLQQAAA0EB2cDAAAAAQAAAAgAAAAEH0FwbG9yaXMuQmFzZS5PYmplY3RzLkRhdGFPYmplY3QDAAAACSoEAAAJLQQAAAksBAAACSsEAAANBA9pAwAAAQAAAAgfAAAAB2oDAAAAAQAAAAEAAAADDVN5c3RlbS5JbnRQdHIBzvv//1z+//8AAAAAAAAAAAFtAwAAgQAAAAoKAAAAAAAAAAANAAAAAAABbgMAAIEAAAAKCgAAAAAAAAAADQAAAAABB28DAAAAAQAAAAQAAAAEHUFwbG9yaXMuQmFzZS5PYmplY3RzLlZhcmlhYmxlAwAAAAHN+///5/v//wEAAAAAAAAAAcz7///n+///AAAAAAAAAAABy/v//+f7//8AAAAAAAAAAAHK+///5/v//wAAAAAAAAAABXQ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ZwBAAAKAAAAAAAoQQl/AAAACYAAAAAJOgQAAAEACTsEAAABdQMAAIEAAAAKCgAAAAD///8ADgAAAAABAXoDAADRAAAACTwEAAAAAAAAAgAAAAF8AwAAfgAAAAk9BAAACT4EAAABfwMAAIEAAAAKCgAAAAAAAAAADQAAAAAAAYADAACBAAAACgoAAAAAAAAAAA0AAAAAAQeBAwAAAAEAAAAEAAAABB1BcGxvcmlzLkJhc2UuT2JqZWN0cy5WYXJpYWJsZQMAAAABwfv//+f7//8BAAAAAAAAAAHA+///5/v//wAAAAAAAAAAAb/7///n+///AAAAAAAAAAABvvv//+f7//8AAAAAAAAAAA+CAwAAAQAAAAghAAAAB4MDAAAAAQAAAAEAAAADDVN5c3RlbS5JbnRQdHIBvfv//1z+//8AAAAAAAAAAAWI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mdAQAACgAAAAAAKEEJfwAAAAmAAAAACUcEAAABAAlIBAAAAYkDAACBAAAACgoAAAAA////AA4AAAAAAQGOAwAA0QAAAAlJBAAAAAAAAAQAAAABkAMAAH4AAAAJSgQAAAlLBAAAAZMDAACBAAAACgoAAAAAAAAAAA0AAAAAAAGUAwAAgQAAAAoKAAAAAAAAAAANAAAAAAEHlQMAAAABAAAABAAAAAQdQXBsb3Jpcy5CYXNlLk9iamVjdHMuVmFyaWFibGUDAAAAAbT7///n+///AQAAAAAAAAABs/v//+f7//8AAAAAAAAAAAGy+///5/v//wAAAAAAAAAAAbH7///n+///AAAAAAAAAAAPlgMAAAEAAAAIHAAAAAeXAwAAAAEAAAABAAAAAw1TeXN0ZW0uSW50UHRyAbD7//9c/v//AAAAAAAAAAAFnA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ngEAAAoAAAAAAChBCX8AAAAJgAAAAAlUBAAAAQAJVQQAAAGdAwAAgQAAAAoKAAAAAP///wAOAAAAAAEBogMAANEAAAAJVgQAAAAAAAAEAAAAAaQDAAB+AAAACVcEAAAJWAQAAAGnAwAAgQAAAAoKAAAAAAAAAAANAAAAAAABqAMAAIEAAAAKCgAAAAAAAAAADQAAAAABB6kDAAAAAQAAAAQAAAAEHUFwbG9yaXMuQmFzZS5PYmplY3RzLlZhcmlhYmxlAwAAAAGn+///5/v//wEAAAAAAAAAAab7///n+///AAAAAAAAAAABpfv//+f7//8AAAAAAAAAAAGk+///5/v//wAAAAAAAAAAD6oDAAABAAAACB4AAAAHqwMAAAABAAAAAQAAAAMNU3lzdGVtLkludFB0cgGj+///XP7//wAAAAAAAAAABbA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Z8BAAAKAAAAAAAoQQl/AAAACYAAAAAJYQQAAAEACWIEAAABsQMAAIEAAAAKCgAAAAD///8ADgAAAAABAbYDAADRAAAACWMEAAAAAAAABAAAAAG4AwAAfgAAAAlkBAAACWUEAAABuwMAAIEAAAAKCgAAAAAAAAAADQAAAAAAAbwDAACBAAAACgoAAAAAAAAAAA0AAAAAAQe9AwAAAAEAAAAEAAAABB1BcGxvcmlzLkJhc2UuT2JqZWN0cy5WYXJpYWJsZQMAAAABmvv//+f7//8BAAAAAAAAAAGZ+///5/v//wAAAAAAAAAAAZj7///n+///AAAAAAAAAAABl/v//+f7//8AAAAAAAAAAA++AwAAAQAAAAggAAAAB78DAAAAAQAAAAEAAAADDVN5c3RlbS5JbnRQdHIBlvv//1z+//8AAAAAAAAAAAHCAwAAgQAAAAoKAAAAAAAAAAANAAAAAAAFwwMAABpBcGxvcmlzLkJhc2UuT2JqZWN0cy5Db2xvcgcAAAASRGF0YU9iamVjdCttUGFyZW50FURhdGFPYmplY3QrbUNvbnRhaW5lcgVtVHlwZQRtUkdCEG1UaGVtZUNvbG9ySW5kZXgMbUF1dG9VcGRhdGVkCW1Nb2RpZmllZAQCAAAAAAAfQXBsb3Jpcy5CYXNlLk9iamVjdHMuTGluZUZvcm1hdAMAAAAICAgBAQMAAAAJ2wIAAAoBAAAAAAAAAP////8AAQ/EAwAAAQAAAAg2AAAAB8UDAAAAAQAAAAEAAAADDVN5c3RlbS5JbnRQdHIBlPv//1z+//8AAAAAAAAAAAHIAwAAgQAAAAoKAAAAAAAAAAANAAAAAAAByQMAAIEAAAAKCgAAAAAAAAAADQAAAAABB8oDAAAAAQAAAAQAAAAEHUFwbG9yaXMuQmFzZS5PYmplY3RzLlZhcmlhYmxlAwAAAAGT+///5/v//wEAAAAAAAAAAZL7///n+///AAAAAAAAAAABkfv//+f7//8AAAAAAAAAAAGQ+///5/v//wAAAAAAAAAAD8sDAAABAAAACBYAAAAHzAMAAAABAAAAAQAAAAMNU3lzdGVtLkludFB0cgGP+///XP7//wAAAAAAAAAAAc8DAACBAAAACgoAAAAAAAAAAA0AAAAAAAXQAwAAGkFwbG9yaXMuQmFzZS5PYmplY3RzLkNvbG9yBwAAABJEYXRhT2JqZWN0K21QYXJlbnQVRGF0YU9iamVjdCttQ29udGFpbmVyBW1UeXBlBG1SR0IQbVRoZW1lQ29sb3JJbmRleAxtQXV0b1VwZGF0ZWQJbU1vZGlmaWVkBAIAAAAAAB9BcGxvcmlzLkJhc2UuT2JqZWN0cy5MaW5lRm9ybWF0AwAAAAgICAEBAwAAAAnsAgAACgEAAAAAAAAA/////wABD9EDAAABAAAACDQAAAAH0gMAAAABAAAAAQAAAAMNU3lzdGVtLkludFB0cgGN+///XP7//wAAAAAAAAAAAdUDAACBAAAACgoAAAAAAAAAAA0AAAAAAAHWAwAAgQAAAAoKAAAAAAAAAAANAAAAAAEH1wMAAAABAAAABAAAAAQdQXBsb3Jpcy5CYXNlLk9iamVjdHMuVmFyaWFibGUDAAAAAYz7///n+///AQAAAAAAAAABi/v//+f7//8AAAAAAAAAAAGK+///5/v//wAAAAAAAAAAAYn7///n+///AAAAAAAAAAAP2AMAAAEAAAAIFwAAAAfZAwAAAAEAAAABAAAAAw1TeXN0ZW0uSW50UHRyAYj7//9c/v//AAAAAAAAAAAB3AMAAIEAAAAKCgAAAAAAAAAADQAAAAAABd0DAAAaQXBsb3Jpcy5CYXNlLk9iamVjdHMuQ29sb3IHAAAAEkRhdGFPYmplY3QrbVBhcmVudBVEYXRhT2JqZWN0K21Db250YWluZXIFbVR5cGUEbVJHQhBtVGhlbWVDb2xvckluZGV4DG1BdXRvVXBkYXRlZAltTW9kaWZpZWQEAgAAAAAAH0FwbG9yaXMuQmFzZS5PYmplY3RzLkxpbmVGb3JtYXQDAAAACAgIAQEDAAAACf0CAAAKAQAAAAAAAAD/////AAEP3gMAAAEAAAAINQAAAAffAwAAAAEAAAABAAAAAw1TeXN0ZW0uSW50UHRyAYb7//9c/v//AAAAAAAAAAAB4gMAAIEAAAAKCgAAAAAAAAAADQAAAAAAAeMDAACBAAAACgoAAAAAAAAAAA0AAAAAAQfkAwAAAAEAAAAEAAAABB1BcGxvcmlzLkJhc2UuT2JqZWN0cy5WYXJpYWJsZQMAAAABhfv//+f7//8BAAAAAAAAAAGE+///5/v//wAAAAAAAAAAAYP7///n+///AAAAAAAAAAABgvv//+f7//8AAAAAAAAAAA/lAwAAAQAAAAgZAAAAB+YDAAAAAQAAAAEAAAADDVN5c3RlbS5JbnRQdHIBgfv//1z+//8AAAAAAAAAAAHpAwAAgQAAAAoKAAAAAAAAAAANAAAAAAAF6gMAABpBcGxvcmlzLkJhc2UuT2JqZWN0cy5Db2xvcgcAAAASRGF0YU9iamVjdCttUGFyZW50FURhdGFPYmplY3QrbUNvbnRhaW5lcgVtVHlwZQRtUkdCEG1UaGVtZUNvbG9ySW5kZXgMbUF1dG9VcGRhdGVkCW1Nb2RpZmllZAQCAAAAAAAfQXBsb3Jpcy5CYXNlLk9iamVjdHMuTGluZUZvcm1hdAMAAAAICAgBAQMAAAAJDgMAAAoBAAAAAAAAAP////8AAQ/rAwAAAQAAAAg3AAAAB+wDAAAAAQAAAAEAAAADDVN5c3RlbS5JbnRQdHIBf/v//1z+//8AAAAAAAAAAAHvAwAAgQAAAAoKAAAAAAAAAAANAAAAAAAB8AMAAIEAAAAKCgAAAAAAAAAADQAAAAABB/EDAAAAAQAAAAQAAAAEHUFwbG9yaXMuQmFzZS5PYmplY3RzLlZhcmlhYmxlAwAAAAF++///5/v//wEAAAAAAAAAAX37///n+///AAAAAAAAAAABfPv//+f7//8AAAAAAAAAAAF7+///5/v//wAAAAAAAAAAD/IDAAABAAAACBgAAAAH8wMAAAABAAAAAQAAAAMNU3lzdGVtLkludFB0cgF6+///XP7//wAAAAAAAAAAAfYDAACBAAAACgoAAAAAAAAAAA0AAAAAAAX3AwAAGkFwbG9yaXMuQmFzZS5PYmplY3RzLkNvbG9yBwAAABJEYXRhT2JqZWN0K21QYXJlbnQVRGF0YU9iamVjdCttQ29udGFpbmVyBW1UeXBlBG1SR0IQbVRoZW1lQ29sb3JJbmRleAxtQXV0b1VwZGF0ZWQJbU1vZGlmaWVkBAIAAAAAAB9BcGxvcmlzLkJhc2UuT2JqZWN0cy5MaW5lRm9ybWF0AwAAAAgICAEBAwAAAAkfAwAACgEAAAAAAAAA/////wABD/gDAAABAAAACDgAAAAH+QMAAAABAAAAAQAAAAMNU3lzdGVtLkludFB0cgF4+///XP7//wAAAAAAAAAAAfwDAACBAAAACgoAAAAAAAAAAA0AAAAAAAH9AwAAgQAAAAoKAAAAAAAAAAANAAAAAAEH/gMAAAABAAAABAAAAAQdQXBsb3Jpcy5CYXNlLk9iamVjdHMuVmFyaWFibGUDAAAAAXf7///n+///AQAAAAAAAAABdvv//+f7//8AAAAAAAAAAAF1+///5/v//wAAAAAAAAAAAXT7///n+///AAAAAAAAAAAP/wMAAAEAAAAIFQAAAAcABAAAAAEAAAABAAAAAw1TeXN0ZW0uSW50UHRyAXP7//9c/v//AAAAAAAAAAABAwQAAIEAAAAKCgAAAAAAAAAADQAAAAAABQQEAAAaQXBsb3Jpcy5CYXNlLk9iamVjdHMuQ29sb3IHAAAAEkRhdGFPYmplY3QrbVBhcmVudBVEYXRhT2JqZWN0K21Db250YWluZXIFbVR5cGUEbVJHQhBtVGhlbWVDb2xvckluZGV4DG1BdXRvVXBkYXRlZAltTW9kaWZpZWQEAgAAAAAAH0FwbG9yaXMuQmFzZS5PYmplY3RzLkxpbmVGb3JtYXQDAAAACAgIAQEDAAAACTADAAAKAQAAAAAAAAD/////AAEPBQQAAAEAAAAIOQAAAAcGBAAAAAEAAAABAAAAAw1TeXN0ZW0uSW50UHRyAXH7//9c/v//AAAAAAAAAAABCQQAAIEAAAAKCgAAAAAAAAAADQAAAAAAAQoEAACBAAAACgoAAAAAAAAAAA0AAAAAAQcLBAAAAAEAAAAEAAAABB1BcGxvcmlzLkJhc2UuT2JqZWN0cy5WYXJpYWJsZQMAAAABcPv//+f7//8BAAAAAAAAAAFv+///5/v//wAAAAAAAAAAAW77///n+///AAAAAAAAAAABbfv//+f7//8AAAAAAAAAAA8MBAAAAQAAAAgaAAAABw0EAAAAAQAAAAEAAAADDVN5c3RlbS5JbnRQdHIBbPv//1z+//8AAAAAAAAAAAUQBA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xMSwgQ3VsdHVyZT1uZXV0cmFsLCBQdWJsaWNLZXlUb2tlbj0xNmZjMTNhMjI2YzBlOTUxXV0dQXBsb3Jpcy5DaGFydC5DaGFydERhdGFTZXJpZXMCAAAAIUFwbG9yaXMuQ2hhcnQuQ29sdW1uT3JpZW50ZWRDaGFydAIAAACVAVN5c3RlbS5Db2xsZWN0aW9ucy5HZW5lcmljLkxpc3RgMVtbQXBsb3Jpcy5CYXNlLlVJLlZpc3VhbE9iamVjdCwgQXBsb3Jpcy5CYXNlLCBWZXJzaW9uPTQuMi4wLjE5MTEsIEN1bHR1cmU9bmV1dHJhbCwgUHVibGljS2V5VG9rZW49MTZmYzEzYTIyNmMwZTk1MV1dAgAAAAmVBAAACZYEAAAKCZcEAAAKCZcBAAAIBvKUIE8J8sQ/CgAAAAAJmQQAAAmaBAAAAAAAAAAJmwQAAAmXAQAACQEAAAAJngQAAAERBAAAEAQAAAmfBAAACaAEAAAKCaEEAAAKCZcBAAAIBuc6RnGuY8Q/CgEAAAAJowQAAAmkBAAAAAAAAAAJpQQAAAmXAQAACQEAAAAJqAQAAAESBAAAEAQAAAmpBAAACaoEAAAKCasEAAAKCZcBAAAIBrOmrClryro/CgIAAAAJrQQAAAmuBAAAAAAAAAAJrwQAAAmXAQAACQEAAAAJsgQAAAETBAAAEAQAAAmzBAAACbQEAAAKCbUEAAAKCZcBAAAIBkJ7Ce0ltKc/CgMAAAAJtwQAAAm4BAAAAAAAAAAJuQQAAAmXAQAACQEAAAAJvAQAAAEdBAAAEAQAAAm9BAAACb4EAAAKCb8EAAAKCZgBAAAIBshTgjwlyNM/CgAAAAAJwQQAAAnCBAAAAAAAAAAJwwQAAAmYAQAACQEAAAAJxgQAAAEeBAAAEAQAAAnHBAAACcgEAAAKCckEAAAKCZgBAAAIBqHJlw2afMk/CgEAAAAJywQAAAnMBAAAAAAAAAAJzQQAAAmYAQAACQEAAAAJ0AQAAAEfBAAAEAQAAAnRBAAACdIEAAAKCdMEAAAKCZgBAAAIBvQFfUFf0Mc/CgIAAAAJ1QQAAAnWBAAAAAAAAAAJ1wQAAAmYAQAACQEAAAAJ2gQAAAEgBAAAEAQAAAnbBAAACdwEAAAKCd0EAAAKCZgBAAAIBmgvob2E9sI/CgMAAAAJ3wQAAAngBAAAAAAAAAAJ4QQAAAmYAQAACQEAAAAJ5AQAAAEqBAAAEAQAAAnlBAAACeYEAAAKCecEAAAKCZkBAAAIBuCw9g1r3+A/CgAAAAAJ6QQAAAnqBAAAAAAAAAAJ6wQAAAmZAQAACQEAAAAJ7gQAAAErBAAAEAQAAAnvBAAACfAEAAAKCfEEAAAKCZkBAAAIBt5+SODth+Q/CgEAAAAJ8wQAAAn0BAAAAAAAAAAJ9QQAAAmZAQAACQEAAAAJ+AQAAAEsBAAAEAQAAAn5BAAACfoEAAAKCfsEAAAKCZkBAAAIBqwpa8qasuY/CgIAAAAJ/QQAAAn+BAAAAAAAAAAJ/wQAAAmZAQAACQEAAAAJAgUAAAEtBAAAEAQAAAkDBQAACQQFAAAKCQUFAAAKCZkBAAAIBnIcx3Ecx+k/CgMAAAAJBwUAAAkIBQAAAAAAAAAJCQUAAAmZAQAACQEAAAAJDAUAAAE6BAAAgQAAAAoKAAAAAAAAAAANAAAAAAEBOwQAAIEAAAAKCgAAAAAAAAAADQAAAAABBzwEAAAAAQAAAAQAAAAEHUFwbG9yaXMuQmFzZS5PYmplY3RzLlZhcmlhYmxlAwAAAAHz+v//5/v//wAAAAAAAAAAAfL6///n+///AAAAAAAAAAAB8fr//+f7//8AAAAAAAAAAAHw+v//5/v//wAAAAAAAAAADz0EAAABAAAACCsAAAAHPgQAAAABAAAAAQAAAAMNU3lzdGVtLkludFB0cgHv+v//XP7//wAAAAAAAAAAAUcEAACBAAAACgoAAAAAAAAAAA0AAAAAAQFIBAAAgQAAAAoKAAAAAAAAAAANAAAAAAEHSQQAAAABAAAABAAAAAQdQXBsb3Jpcy5CYXNlLk9iamVjdHMuVmFyaWFibGUDAAAAAe76///n+///AAAAAAAAAAAB7fr//+f7//8AAAAAAAAAAAHs+v//5/v//wAAAAAAAAAAAev6///n+///AAAAAAAAAAAPSgQAAAEAAAAILAAAAAdLBAAAAAEAAAABAAAAAw1TeXN0ZW0uSW50UHRyAer6//9c/v//AAAAAAAAAAABVAQAAIEAAAAKCgAAAAAAAAAADQAAAAABAVUEAACBAAAACgoAAAAAAAAAAA0AAAAAAQdWBAAAAAEAAAAEAAAABB1BcGxvcmlzLkJhc2UuT2JqZWN0cy5WYXJpYWJsZQMAAAAB6fr//+f7//8AAAAAAAAAAAHo+v//5/v//wAAAAAAAAAAAef6///n+///AAAAAAAAAAAB5vr//+f7//8AAAAAAAAAAA9XBAAAAQAAAAgtAAAAB1gEAAAAAQAAAAEAAAADDVN5c3RlbS5JbnRQdHIB5fr//1z+//8AAAAAAAAAAAFhBAAAgQAAAAoKAAAAAAAAAAANAAAAAAEBYgQAAIEAAAAKCgAAAAAAAAAADQAAAAABB2MEAAAAAQAAAAQAAAAEHUFwbG9yaXMuQmFzZS5PYmplY3RzLlZhcmlhYmxlAwAAAAHk+v//5/v//wAAAAAAAAAAAeP6///n+///AAAAAAAAAAAB4vr//+f7//8AAAAAAAAAAAHh+v//5/v//wAAAAAAAAAAD2QEAAABAAAACCoAAAAHZQQAAAABAAAAAQAAAAMNU3lzdGVtLkludFB0cgHg+v//XP7//wAAAAAAAAAAAZUEAADBAQAAClgCAAAB3/r//6v9//8CAAAAAd76//+q/f//AQAAAAHd+v//7P///wzxnkJSLutBhOawQmxV9EEB3Pr//6j9//8AAAAAAACgQAAJJQUAAAHa+v//4P///05k90KErDJCAdn6//88////AAAAAAAAAAAAAAAAAAkoBQAAAAAAAAkpBQAAAAAAAdb6//8z////AAAAAAHV+v//hf///wAt8EEAEJVBAdT6///s////zczcQmZmFkJLW9tBAIBuQV662T8GLQUAAAMxNiUKCS4FAAAJYwIAAAklBQAANAMAAP////8BAQoJJQUAAAEACgEBlgQAABsAAAABz/r//+D///8M8ZhC38F7QgHO+v//4P///8jrKkNSLtNBCTMFAAAJNAUAAAAAAAAKAcv6//+F////AAAAAAAAAAAByvr//4X///8AAAAAAAAAAAAAAAAByfr//+z///8AAAAAAAAAAAAAAAAAAAAACTgFAACkAQAA/////wEBCgk4BQAAAQAKAQeXBAAAAAEAAAACAAAABBpBcGxvcmlzLkJhc2UuVUkuVmlzdWFsTGluZQMAAAANAgeZBAAAAAEAAAADAAAABBVTeXN0ZW0uRHJhd2luZy5Qb2ludEYEAAAAAcf6///g////TmT3QoSsMkIBxvr//+D///8M8ZJChKwyQgHF+v//4P///8jrLUOErDJCB5oEAAAAAQAAAAMAAAAEF0FwbG9yaXMuQmFzZS5BbmNob3JNb2RlAwAAAAHE+v//PP///wAAAAABw/r//zz///8CAAAAAcL6//88////BAAAAAGbBAAAJAAAAAkuAQAAAAAAAAAAAAABngQAACYAAAAJQAUAAAIAAAACAAAAAZ8EAADBAQAAClgCAAABv/r//6v9//8CAAAAAb76//+q/f//AQAAAAG9+v//7P///1eXZkNSLutBhuawQpaS7EEBvPr//6j9//8AAAAAAACgQAAJRQUAAAG6+v//4P///3xoiUPOuzBCAbn6//88////AAAAAAAAAAAAAAAAAAlIBQAAAAAAAAlJBQAAAAAAAbb6//8z////AAAAAAG1+v//hf///wAt8EEAEJVBAbT6///s////zcyCQzMzE0JLW9tBAIBuQV662T8GTQUAAAMxNiUKCU4FAAAJYwIAAAlFBQAANAMAAP////8BAQoJRQUAAAEACgEBoAQAABsAAAABr/r//+D///9Xl2NDdOB3QgGu+v//4P///00FoUNSLtNBCVMFAAAJVAUAAAAAAAAKAav6//+F////AAAAAAAAAAABqvr//4X///8AAAAAAAAAAAAAAAABqfr//+z///8AAAAAAAAAAAAAAAAAAAAACVgFAACkAQAA/////wEBCglYBQAAAQAKAQehBAAAAAEAAAACAAAABBpBcGxvcmlzLkJhc2UuVUkuVmlzdWFsTGluZQMAAAANAgejBAAAAAEAAAADAAAABBVTeXN0ZW0uRHJhd2luZy5Qb2ludEYEAAAAAaf6///g////fGiJQ867MEIBpvr//+D///9Xl2BDzrswQgGl+v//4P///02FokPOuzBCB6QEAAAAAQAAAAMAAAAEF0FwbG9yaXMuQmFzZS5BbmNob3JNb2RlAwAAAAGk+v//PP///wAAAAABo/r//zz///8CAAAAAaL6//88////BAAAAAGlBAAAJAAAAAkuAQAAAAAAAAAAAAABqAQAACYAAAAJYAUAAAIAAAACAAAAAakEAADBAQAAClgCAAABn/r//6v9//8CAAAAAZ76//+q/f//AQAAAAGd+v//7P///xPbvkNSLutBiOawQiT1ikEBnPr//6j9//8AAAAAAACgQAAJZQUAAAGa+v//4P///+T31ENyVBhCAZn6//88////AAAAAAAAAAAAAAAAAAloBQAAAAAAAAlpBQAAAAAAAZb6//8z////AAAAAAGV+v//hf///wAt8EEAEJVBAZT6///s////ZmbOQ5qZ+UFLW9tBAIBuQV662T8GbQUAAAMxMCUKCW4FAAAJYwIAAAllBQAANAMAAP////8BAQoJZQUAAAEACgEBqgQAABsAAAABj/r//+D///8TW71DuxFHQgGO+v//4P///7WU7ENSLtNBCXMFAAAJdAUAAAAAAAAKAYv6//+F////AAAAAAAAAAABivr//4X///8AAAAAAAAAAAAAAAABifr//+z///8AAAAAAAAAAAAAAAAAAAAACXgFAACkAQAA/////wEBCgl4BQAAAQAKAQerBAAAAAEAAAACAAAABBpBcGxvcmlzLkJhc2UuVUkuVmlzdWFsTGluZQMAAAANAgetBAAAAAEAAAADAAAABBVTeXN0ZW0uRHJhd2luZy5Qb2ludEYEAAAAAYf6///g////5PfUQ3JUGEIBhvr//+D///8T27tDclQYQgGF+v//4P///7UU7kNyVBhCB64EAAAAAQAAAAMAAAAEF0FwbG9yaXMuQmFzZS5BbmNob3JNb2RlAwAAAAGE+v//PP///wAAAAABg/r//zz///8CAAAAAYL6//88////BAAAAAGvBAAAJAAAAAkuAQAAAAAAAAAAAAABsgQAACYAAAAJgAUAAAIAAAACAAAAAbMEAADBAQAAClgCAAABf/r//6v9//8CAAAAAX76//+q/f//AQAAAAF9+v//7P///z41BURSLutBgOawQpDUikABfPr//6j9//8AAAAAAACgQAAJhQUAAAF6+v//4P///6ZDEETkiPxBAXn6//88////AAAAAAAAAAAAAAAAAAmIBQAAAAAAAAmJBQAAAQAAAXb6//8z////AAAAAAF1+v//hf///wBwrUEAEJVBAXT6///s////zcwNRGZmxkFM96VBAIBuQV662T8GjQUAAAI1JQoJjgUAAAljAgAACYUFAAA0AwAA/////wEBCgmFBQAAAQAKAQG0BAAAGwAAAAFv+v//4P///z51BES78RJCAW76///g////DhIcRFIu00EJkwUAAAmUBQAAAAAAAAoBa/r//4X///8AAAAAAAAAAAFq+v//hf///wAAAAAAAAAAAAAAAAFp+v//7P///wAAAAAAAAAAAAAAAAAAAAAJmAUAAKQBAAD/////AQEKCZgFAAABAAoBB7UEAAAAAQAAAAIAAAAEGkFwbG9yaXMuQmFzZS5VSS5WaXN1YWxMaW5lAwAAAA0CB7cEAAAAAQAAAAMAAAAEFVN5c3RlbS5EcmF3aW5nLlBvaW50RgQAAAABZ/r//+D///+mQxBE5Ij8QQFm+v//4P///z61A0TkiPxBAWX6///g////DtIcROSI/EEHuAQAAAABAAAAAwAAAAQXQXBsb3Jpcy5CYXNlLkFuY2hvck1vZGUDAAAAAWT6//88////AAAAAAFj+v//PP///wIAAAABYvr//zz///8EAAAAAbkEAAAkAAAACS4BAAAAAAAAAAAAAAG8BAAAJgAAAAmgBQAAAgAAAAIAAAABvQQAAMEBAAAKWAIAAAFf+v//q/3//wIAAAABXvr//6r9//8BAAAAAV36///s////DPGeQvDgg0KE5rBCyBd8QgFc+v//qP3//wAAAAAAAKBAAAmlBQAAAVr6///g////TmT3QuLmwkIBWfr//zz///8AAAAAAAAAAAAAAAAACagFAAAAAAAACakFAAAAAAABVvr//zP///8AAAAAAVX6//+F////AC3wQQAQlUEBVPr//+z////NzNxCzcy0Qktb20EAgG5BXrrZPwatBQAAAzMxJQoJrgUAAAljAgAACaUFAAA0AwAA/////wEBCgmlBQAAAQAKAQG+BAAAGwAAAAFP+v//4P///wzxmEJq9gNDAU76///g////yOsqQ9/Be0IJswUAAAm0BQAAAAAAAAoBS/r//4X///8AAAAAAAAAAAFK+v//hf///wAAAAAAAAAAAAAAAAFJ+v//7P///wAAAAAAAAAAAAAAAAAAAAAJuAUAAKQBAAD/////AQEKCbgFAAABAAoBB78EAAAAAQAAAAIAAAAEGkFwbG9yaXMuQmFzZS5VSS5WaXN1YWxMaW5lAwAAAA0CB8EEAAAAAQAAAAMAAAAEFVN5c3RlbS5EcmF3aW5nLlBvaW50RgQAAAABR/r//+D///9OZPdC4ubCQgFG+v//4P///wzxkkLi5sJCAUX6///g////yOstQ+LmwkIHwgQAAAABAAAAAwAAAAQXQXBsb3Jpcy5CYXNlLkFuY2hvck1vZGUDAAAAAUT6//88////AAAAAAFD+v//PP///wIAAAABQvr//zz///8EAAAAAcMEAAAkAAAACS4BAAAAAAAAAAAAAAHGBAAAJgAAAAnABQAAAgAAAAIAAAABxwQAAMEBAAAKWAIAAAE/+v//q/3//wIAAAABPvr//6r9//8BAAAAAT36///s////V5dmQzrwgUKG5rBCntsZQgE8+v//qP3//wAAAAAAAKBAAAnFBQAAATr6///g////fGiJQyJnqEIBOfr//zz///8AAAAAAAAAAAAAAAAACcgFAAAAAAAACckFAAAAAAABNvr//zP///8AAAAAATX6//+F////AC3wQQAQlUEBNPr//+z////NzIJDmpmZQktb20EAgG5BXrrZPwbNBQAAAzIwJQoJzgUAAAljAgAACcUFAAA0AwAA/////wEBCgnFBQAAAQAKAQHIBAAAGwAAAAEv+v//4P///1eXY0MJ3tRCAS76///g////TQWhQ3Tgd0IJ0wUAAAnUBQAAAAAAAAoBK/r//4X///8AAAAAAAAAAAEq+v//hf///wAAAAAAAAAAAAAAAAEp+v//7P///wAAAAAAAAAAAAAAAAAAAAAJ2AUAAKQBAAD/////AQEKCdgFAAABAAoBB8kEAAAAAQAAAAIAAAAEGkFwbG9yaXMuQmFzZS5VSS5WaXN1YWxMaW5lAwAAAA0CB8sEAAAAAQAAAAMAAAAEFVN5c3RlbS5EcmF3aW5nLlBvaW50RgQAAAABJ/r//+D///98aIlDImeoQgEm+v//4P///1eXYEMiZ6hCASX6///g////TYWiQyJnqEIHzAQAAAABAAAAAwAAAAQXQXBsb3Jpcy5CYXNlLkFuY2hvck1vZGUDAAAAAST6//88////AAAAAAEj+v//PP///wIAAAABIvr//zz///8EAAAAAc0EAAAkAAAACS4BAAAAAAAAAAAAAAHQBAAAJgAAAAngBQAAAgAAAAIAAAAB0QQAAMEBAAAKWAIAAAEf+v//q/3//wIAAAABHvr//6r9//8BAAAAAR36///s////E9u+Q7sRU0KI5rBCPS8OQgEc+v//qP3//wAAAAAAAKBAAAnlBQAAARr6///g////5PfUQ60UjUIBGfr//zz///8AAAAAAAAAAAAAAAAACegFAAAAAAAACekFAAAAAAABFvr//zP///8AAAAAARX6//+F////AC3wQQAQlUEBFPr//+z///9mZs5Dzcx8Qktb20EAgG5BXrrZPwbtBQAAAzE5JQoJ7gUAAAljAgAACeUFAAA0AwAA/////wEBCgnlBQAAAQAKAQHSBAAAGwAAAAEP+v//4P///xNbvUN8oLZCAQ76///g////tZTsQ7sRR0IJ8wUAAAn0BQAAAAAAAAoBC/r//4X///8AAAAAAAAAAAEK+v//hf///wAAAAAAAAAAAAAAAAEJ+v//7P///wAAAAAAAAAAAAAAAAAAAAAJ+AUAAKQBAAD/////AQEKCfgFAAABAAoBB9MEAAAAAQAAAAIAAAAEGkFwbG9yaXMuQmFzZS5VSS5WaXN1YWxMaW5lAwAAAA0CB9UEAAAAAQAAAAMAAAAEFVN5c3RlbS5EcmF3aW5nLlBvaW50RgQAAAABB/r//+D////k99RDrRSNQgEG+v//4P///xPbu0OtFI1CAQX6///g////tRTuQ60UjUIH1gQAAAABAAAAAwAAAAQXQXBsb3Jpcy5CYXNlLkFuY2hvck1vZGUDAAAAAQT6//88////AAAAAAED+v//PP///wIAAAABAvr//zz///8EAAAAAdcEAAAkAAAACS4BAAAAAAAAAAAAAAHaBAAAJgAAAAkABgAAAgAAAAIAAAAB2wQAAMEBAAAKWAIAAAH/+f//q/3//wIAAAAB/vn//6r9//8BAAAAAf35///s////PjUFRLvxHkKA5rBCCqrYQQH8+f//qP3//wAAAAAAAKBAAAkFBgAAAfr5///g////pkMQRD4cVUIB+fn//zz///8AAAAAAAAAAAAAAAAACQgGAAAAAAAACQkGAAAAAAAB9vn//zP///8AAAAAAfX5//+F////AC3wQQAQlUEB9Pn//+z///8AAA1Empk5Qktb20EAgG5BXrrZPwYNBgAAAzE1JQoJDgYAAAljAgAACQUGAAA0AwAA/////wEBCgkFBgAAAQAKAQHcBAAAGwAAAAHv+f//4P///z51BERgo4tCAe75///g////DhIcRLvxEkIJEwYAAAkUBgAAAAAAAAoB6/n//4X///8AAAAAAAAAAAHq+f//hf///wAAAAAAAAAAAAAAAAHp+f//7P///wAAAAAAAAAAAAAAAAAAAAAJGAYAAKQBAAD/////AQEKCRgGAAABAAoBB90EAAAAAQAAAAIAAAAEGkFwbG9yaXMuQmFzZS5VSS5WaXN1YWxMaW5lAwAAAA0CB98EAAAAAQAAAAMAAAAEFVN5c3RlbS5EcmF3aW5nLlBvaW50RgQAAAAB5/n//+D///+mQxBEPhxVQgHm+f//4P///z61A0Q+HFVCAeX5///g////DtIcRD4cVUIH4AQAAAABAAAAAwAAAAQXQXBsb3Jpcy5CYXNlLkFuY2hvck1vZGUDAAAAAeT5//88////AAAAAAHj+f//PP///wIAAAAB4vn//zz///8EAAAAAeEEAAAkAAAACS4BAAAAAAAAAAAAAAHkBAAAJgAAAAkgBgAAAgAAAAIAAAAB5QQAAMEBAAAKWAIAAAHf+f//q/3//wIAAAAB3vn//6r9//8BAAAAAd35///s////DPGeQmr2BkOE5rBCtH3fQgHc+f//qP3//wAAAAAAAKBAAAklBgAAAdr5///g////TmT3QtfVPkMB2fn//zz///8AAAAAAAAAAAAAAAAACSgGAAAAAAAACSkGAAAAAAAB1vn//zP///8AAAAAAdX5//+F////AC3wQQAQlUEB1Pn//+z////NzNxCAAA4Q0tb20EAgG5BXrrZPwYtBgAAAzUzJQoJLgYAAAljAgAACSUGAAA0AwAA/////wEBCgklBgAAAQAKAQHmBAAAGwAAAAHP+f//4P///wzxmEJEtXlDAc75///g////yOsqQ2r2A0MJMwYAAAk0BgAAAAAAAAoBy/n//4X///8AAAAAAAAAAAHK+f//hf///wAAAAAAAAAAAAAAAAHJ+f//7P///wAAAAAAAAAAAAAAAAAAAAAJOAYAAKQBAAD/////AQEKCTgGAAABAAoBB+cEAAAAAQAAAAIAAAAEGkFwbG9yaXMuQmFzZS5VSS5WaXN1YWxMaW5lAwAAAA0CB+kEAAAAAQAAAAMAAAAEFVN5c3RlbS5EcmF3aW5nLlBvaW50RgQAAAABx/n//+D///9OZPdC19U+QwHG+f//4P///wzxkkLX1T5DAcX5///g////yOstQ9fVPkMH6gQAAAABAAAAAwAAAAQXQXBsb3Jpcy5CYXNlLkFuY2hvck1vZGUDAAAAAcT5//88////AAAAAAHD+f//PP///wIAAAABwvn//zz///8EAAAAAesEAAAkAAAACS4BAAAAAAAAAAAAAAHuBAAAJgAAAAlABgAAAgAAAAIAAAAB7wQAAMEBAAAKWAIAAAG/+f//q/3//wIAAAABvvn//6r9//8BAAAAAb35///s////V5dmQwne2kKG5rBCQEYJQwG8+f//qP3//wAAAAAAAKBAAAlFBgAAAbr5///g////fGiJQyQSMkMBufn//zz///8AAAAAAAAAAAAAAAAACUgGAAAAAAAACUkGAAAAAAABtvn//zP///8AAAAAAbX5//+F////AC3wQQAQlUEBtPn//+z////NzIJDMzMrQ0tb20EAgG5BXrrZPwZNBgAAAzY0JQoJTgYAAAljAgAACUUGAAA0AwAA/////wEBCglFBgAAAQAKAQHwBAAAGwAAAAGv+f//4P///1eXY0NEtXlDAa75///g////TQWhQwne1EIJUwYAAAlUBgAAAAAAAAoBq/n//4X///8AAAAAAAAAAAGq+f//hf///wAAAAAAAAAAAAAAAAGp+f//7P///wAAAAAAAAAAAAAAAAAAAAAJWAYAAKQBAAD/////AQEKCVgGAAABAAoBB/EEAAAAAQAAAAIAAAAEGkFwbG9yaXMuQmFzZS5VSS5WaXN1YWxMaW5lAwAAAA0CB/MEAAAAAQAAAAMAAAAEFVN5c3RlbS5EcmF3aW5nLlBvaW50RgQAAAABp/n//+D///98aIlDJBIyQwGm+f//4P///1eXYEMkEjJDAaX5///g////TYWiQyQSMkMH9AQAAAABAAAAAwAAAAQXQXBsb3Jpcy5CYXNlLkFuY2hvck1vZGUDAAAAAaT5//88////AAAAAAGj+f//PP///wIAAAABovn//zz///8EAAAAAfUEAAAkAAAACS4BAAAAAAAAAAAAAAH4BAAAJgAAAAlgBgAAAgAAAAIAAAAB+QQAAMEBAAAKWAIAAAGf+f//q/3//wIAAAABnvn//6r9//8BAAAAAZ35///s////E9u+Q3ygvEKI5rBCBmUYQwGc+f//qP3//wAAAAAAAKBAAAllBgAAAZr5///g////5PfUQ8GCKkMBmfn//zz///8AAAAAAAAAAAAAAAAACWgGAAAAAAAACWkGAAAAAAABlvn//zP///8AAAAAAZX5//+F////AC3wQQAQlUEBlPn//+z///9mZs5DMzMjQ0tb20EAgG5BXrrZPwZtBgAAAzcxJQoJbgYAAAljAgAACWUGAAA0AwAA/////wEBCgllBgAAAQAKAQH6BAAAGwAAAAGP+f//4P///xNbvUNEtXlDAY75///g////tZTsQ3ygtkIJcwYAAAl0BgAAAAAAAAoBi/n//4X///8AAAAAAAAAAAGK+f//hf///wAAAAAAAAAAAAAAAAGJ+f//7P///wAAAAAAAAAAAAAAAAAAAAAJeAYAAKQBAAD/////AQEKCXgGAAABAAoBB/sEAAAAAQAAAAIAAAAEGkFwbG9yaXMuQmFzZS5VSS5WaXN1YWxMaW5lAwAAAA0CB/0EAAAAAQAAAAMAAAAEFVN5c3RlbS5EcmF3aW5nLlBvaW50RgQAAAABh/n//+D////k99RDwYIqQwGG+f//4P///xPbu0PBgipDAYX5///g////tRTuQ8GCKkMH/gQAAAABAAAAAwAAAAQXQXBsb3Jpcy5CYXNlLkFuY2hvck1vZGUDAAAAAYT5//88////AAAAAAGD+f//PP///wIAAAABgvn//zz///8EAAAAAf8EAAAkAAAACS4BAAAAAAAAAAAAAAECBQAAJgAAAAmABgAAAgAAAAIAAAABAwUAAMEBAAAKWAIAAAF/+f//q/3//wIAAAABfvn//6r9//8BAAAAAX35///s////PjUFRGCjkUKA5rBClOMtQwF8+f//qP3//wAAAAAAAKBAAAmFBgAAAXr5///g////pkMQRHrDH0MBefn//zz///8AAAAAAAAAAAAAAAAACYgGAAAAAAAACYkGAAAAAAABdvn//zP///8AAAAAAXX5//+F////AC3wQQAQlUEBdPn//+z///8AAA1EzcwYQ0tb20EAgG5BXrrZPwaNBgAAAzgxJQoJjgYAAAljAgAACYUGAAA0AwAA/////wEBCgmFBgAAAQAKAQEEBQAAGwAAAAFv+f//4P///z51BEREtXlDAW75///g////DhIcRGCji0IJkwYAAAmUBgAAAAAAAAoBa/n//4X///8AAAAAAAAAAAFq+f//hf///wAAAAAAAAAAAAAAAAFp+f//7P///wAAAAAAAAAAAAAAAAAAAAAJmAYAAKQBAAD/////AQEKCZgGAAABAAoBBwUFAAAAAQAAAAIAAAAEGkFwbG9yaXMuQmFzZS5VSS5WaXN1YWxMaW5lAwAAAA0CBwcFAAAAAQAAAAMAAAAEFVN5c3RlbS5EcmF3aW5nLlBvaW50RgQAAAABZ/n//+D///+mQxBEesMfQwFm+f//4P///z61A0R6wx9DAWX5///g////DtIcRHrDH0MHCAUAAAABAAAAAwAAAAQXQXBsb3Jpcy5CYXNlLkFuY2hvck1vZGUDAAAAAWT5//88////AAAAAAFj+f//PP///wIAAAABYvn//zz///8EAAAAAQkFAAAkAAAACS4BAAAAAAAAAAAAAAEMBQAAJgAAAAmgBgAAAgAAAAIAAAABJQUAAH4AAAAJoQYAAAmiBgAAASgFAAAiAAAACgoAAAAAAEBBCX8AAAAJgAAAAAmlBgAAAAAJpgYAAAEpBQAAgQAAAAoKAAAAADZshwAFAAAAAAEBLgUAANEAAAAJpwYAAAEAAAADAAAAATMFAAB5AAAACgoAAABAPwmoBgAACakGAAABAAAA/v///wAAAAABAAAAAAAAAAAAAAABAAAAAAAAAAAAAAE0BQAAegAAAAoKCaoGAAAJqwYAAAEAAAD+////AAAAAP////8BAAE4BQAAfgAAAAmsBgAACa0GAAAHQAUAAAABAAAABAAAAAQcQXBsb3Jpcy5CYXNlLlVJLlZpc3VhbE9iamVjdAMAAAAJlgQAAAmVBAAADQIBRQUAAH4AAAAJsAYAAAmxBgAAAUgFAAAiAAAACgoAAAAAAEBBCX8AAAAJgAAAAAm0BgAAAAAJtQYAAAFJBQAAgQAAAAoKAAAAADZshwAFAAAAAAEBTgUAANEAAAAJtgYAAAEAAAADAAAAAVMFAAB5AAAACgoAAABAPwm3BgAACbgGAAABAAAA/v///wAAAAABAAAAAAAAAAAAAAABAAAAAAAAAAAAAAFUBQAAegAAAAoKCbkGAAAJugYAAAEAAAD+////AAAAAP////8BAAFYBQAAfgAAAAm7BgAACbwGAAAHYAUAAAABAAAABAAAAAQcQXBsb3Jpcy5CYXNlLlVJLlZpc3VhbE9iamVjdAMAAAAJoAQAAAmfBAAADQIBZQUAAH4AAAAJvwYAAAnABgAAAWgFAAAiAAAACgoAAAAAAEBBCX8AAAAJgAAAAAnDBgAAAAAJxAYAAAFpBQAAgQAAAAoKAAAAADZshwAFAAAAAAEBbgUAANEAAAAJxQYAAAEAAAADAAAAAXMFAAB5AAAACgoAAABAPwnGBgAACccGAAABAAAA/v///wAAAAABAAAAAAAAAAAAAAABAAAAAAAAAAAAAAF0BQAAegAAAAoKCcgGAAAJyQYAAAEAAAD+////AAAAAP////8BAAF4BQAAfgAAAAnKBgAACcsGAAAHgAUAAAABAAAABAAAAAQcQXBsb3Jpcy5CYXNlLlVJLlZpc3VhbE9iamVjdAMAAAAJqgQAAAmpBAAADQIBhQUAAH4AAAAJzgYAAAnPBgAAAYgFAAAiAAAACgoAAAAAAEBBCX8AAAAJgAAAAAnSBgAAAAAJ0wYAAAGJBQAAgQAAAAoKAAAAADZshwAFAAAAAAEBjgUAANEAAAAJ1AYAAAEAAAADAAAAAZMFAAB5AAAACgoAAABAPwnVBgAACdYGAAABAAAA/v///wAAAAABAAAAAAAAAAAAAAABAAAAAAAAAAAAAAGUBQAAegAAAAoKCdcGAAAJ2AYAAAEAAAD+////AAAAAP////8BAAGYBQAAfgAAAAnZBgAACdoGAAAHoAUAAAABAAAABAAAAAQcQXBsb3Jpcy5CYXNlLlVJLlZpc3VhbE9iamVjdAMAAAAJtAQAAAmzBAAADQIBpQUAAH4AAAAJ3QYAAAneBgAAAagFAAAiAAAACgoAAAAAAEBBCX8AAAAJgAAAAAnhBgAAAAAJ4gYAAAGpBQAAgQAAAAoKAAAAAHKEjAAGAAAAAAEBrgUAANEAAAAJ4wYAAAEAAAADAAAAAbMFAAB5AAAACgoAAABAPwnkBgAACeUGAAABAAAA/v///wAAAAABAAAAAAAAAAAAAAABAAAAAAAAAAAAAAG0BQAAegAAAAoKCeYGAAAJ5wYAAAEAAAD+////AAAAAP////8BAAG4BQAAfgAAAAnoBgAACekGAAAHwAUAAAABAAAABAAAAAQcQXBsb3Jpcy5CYXNlLlVJLlZpc3VhbE9iamVjdAMAAAAJvgQAAAm9BAAADQIBxQUAAH4AAAAJ7AYAAAntBgAAAcgFAAAiAAAACgoAAAAAAEBBCX8AAAAJgAAAAAnwBgAAAAAJ8QYAAAHJBQAAgQAAAAoKAAAAAHKEjAAGAAAAAAEBzgUAANEAAAAJ8gYAAAEAAAADAAAAAdMFAAB5AAAACgoAAABAPwnzBgAACfQGAAABAAAA/v///wAAAAABAAAAAAAAAAAAAAABAAAAAAAAAAAAAAHUBQAAegAAAAoKCfUGAAAJ9gYAAAEAAAD+////AAAAAP////8BAAHYBQAAfgAAAAn3BgAACfgGAAAH4AUAAAABAAAABAAAAAQcQXBsb3Jpcy5CYXNlLlVJLlZpc3VhbE9iamVjdAMAAAAJyAQAAAnHBAAADQIB5QUAAH4AAAAJ+wYAAAn8BgAAAegFAAAiAAAACgoAAAAAAEBBCX8AAAAJgAAAAAn/BgAAAAAJAAcAAAHpBQAAgQAAAAoKAAAAAHKEjAAGAAAAAAEB7gUAANEAAAAJAQcAAAEAAAADAAAAAfMFAAB5AAAACgoAAABAPwkCBwAACQMHAAABAAAA/v///wAAAAABAAAAAAAAAAAAAAABAAAAAAAAAAAAAAH0BQAAegAAAAoKCQQHAAAJBQcAAAEAAAD+////AAAAAP////8BAAH4BQAAfgAAAAkGBwAACQcHAAAHAAYAAAABAAAABAAAAAQcQXBsb3Jpcy5CYXNlLlVJLlZpc3VhbE9iamVjdAMAAAAJ0gQAAAnRBAAADQIBBQYAAH4AAAAJCgcAAAkLBwAAAQgGAAAiAAAACgoAAAAAAEBBCX8AAAAJgAAAAAkOBwAAAAAJDwcAAAEJBgAAgQAAAAoKAAAAAHKEjAAGAAAAAAEBDgYAANEAAAAJEAcAAAEAAAADAAAAARMGAAB5AAAACgoAAABAPwkRBwAACRIHAAABAAAA/v///wAAAAABAAAAAAAAAAAAAAABAAAAAAAAAAAAAAEUBgAAegAAAAoKCRMHAAAJFAcAAAEAAAD+////AAAAAP////8BAAEYBgAAfgAAAAkVBwAACRYHAAAHIAYAAAABAAAABAAAAAQcQXBsb3Jpcy5CYXNlLlVJLlZpc3VhbE9iamVjdAMAAAAJ3AQAAAnbBAAADQIBJQYAAH4AAAAJGQcAAAkaBwAAASgGAAAiAAAACgoAAAAAAEBBCX8AAAAJgAAAAAkdBwAAAAAJHgcAAAEpBgAAgQAAAAoKAAAAAO0hJQAHAAAAAAEBLgYAANEAAAAJHwcAAAEAAAADAAAAATMGAAB5AAAACgoAAABAPwkgBwAACSEHAAABAAAA/v///wAAAAABAAAAAAAAAAAAAAABAAAAAAAAAAAAAAE0BgAAegAAAAoKCSIHAAAJIwcAAAEAAAD+////AAAAAP////8BAAE4BgAAfgAAAAkkBwAACSUHAAAHQAYAAAABAAAABAAAAAQcQXBsb3Jpcy5CYXNlLlVJLlZpc3VhbE9iamVjdAMAAAAJ5gQAAAnlBAAADQIBRQYAAH4AAAAJKAcAAAkpBwAAAUgGAAAiAAAACgoAAAAAAEBBCX8AAAAJgAAAAAksBwAAAAAJLQcAAAFJBgAAgQAAAAoKAAAAAO0hJQAHAAAAAAEBTgYAANEAAAAJLgcAAAEAAAADAAAAAVMGAAB5AAAACgoAAABAPwkvBwAACTAHAAABAAAA/v///wAAAAABAAAAAAAAAAAAAAABAAAAAAAAAAAAAAFUBgAAegAAAAoKCTEHAAAJMgcAAAEAAAD+////AAAAAP////8BAAFYBgAAfgAAAAkzBwAACTQHAAAHYAYAAAABAAAABAAAAAQcQXBsb3Jpcy5CYXNlLlVJLlZpc3VhbE9iamVjdAMAAAAJ8AQAAAnvBAAADQIBZQYAAH4AAAAJNwcAAAk4BwAAAWgGAAAiAAAACgoAAAAAAEBBCX8AAAAJgAAAAAk7BwAAAAAJPAcAAAFpBgAAgQAAAAoKAAAAAO0hJQAHAAAAAAEBbgYAANEAAAAJPQcAAAEAAAADAAAAAXMGAAB5AAAACgoAAABAPwk+BwAACT8HAAABAAAA/v///wAAAAABAAAAAAAAAAAAAAABAAAAAAAAAAAAAAF0BgAAegAAAAoKCUAHAAAJQQcAAAEAAAD+////AAAAAP////8BAAF4BgAAfgAAAAlCBwAACUMHAAAHgAYAAAABAAAABAAAAAQcQXBsb3Jpcy5CYXNlLlVJLlZpc3VhbE9iamVjdAMAAAAJ+gQAAAn5BAAADQIBhQYAAH4AAAAJRgcAAAlHBwAAAYgGAAAiAAAACgoAAAAAAEBBCX8AAAAJgAAAAAlKBwAAAAAJSwcAAAGJBgAAgQAAAAoKAAAAAO0hJQAHAAAAAAEBjgYAANEAAAAJTAcAAAEAAAADAAAAAZMGAAB5AAAACgoAAABAPwlNBwAACU4HAAABAAAA/v///wAAAAABAAAAAAAAAAAAAAABAAAAAAAAAAAAAAGUBgAAegAAAAoKCU8HAAAJUAcAAAEAAAD+////AAAAAP////8BAAGYBgAAfgAAAAlRBwAACVIHAAAHoAYAAAABAAAABAAAAAQcQXBsb3Jpcy5CYXNlLlVJLlZpc3VhbE9iamVjdAMAAAAJBAUAAAkDBQAADQIPoQYAAAEAAAAILwAAAAeiBgAAAAEAAAABAAAAAw1TeXN0ZW0uSW50UHRyAav4//9c/v//AAAAAAAAAAABpQYAAIEAAAAKCgAAAAD///8ADgAAAAAAAaYGAACBAAAACgoAAAAA////AA4AAAAAAQenBgAAAAEAAAAEAAAABB1BcGxvcmlzLkJhc2UuT2JqZWN0cy5WYXJpYWJsZQMAAAABqvj//+f7//8BAAAAAAAAAAGp+P//5/v//wAAAAAAAAAAAaj4///n+///AAAAAAAAAAABp/j//+f7//8AAAAAAAAAAAWoBgAAGkFwbG9yaXMuQmFzZS5PYmplY3RzLkNvbG9yBwAAABJEYXRhT2JqZWN0K21QYXJlbnQVRGF0YU9iamVjdCttQ29udGFpbmVyBW1UeXBlBG1SR0IQbVRoZW1lQ29sb3JJbmRleAxtQXV0b1VwZGF0ZWQJbU1vZGlmaWVkBAIAAAAAAB9BcGxvcmlzLkJhc2UuT2JqZWN0cy5MaW5lRm9ybWF0AwAAAAgICAEBAwAAAAkzBQAACgAAAAD///8ADgAAAAAABakGAAAaQXBsb3Jpcy5CYXNlLk9iamVjdHMuQ29sb3IHAAAAEkRhdGFPYmplY3QrbVBhcmVudBVEYXRhT2JqZWN0K21Db250YWluZXIFbVR5cGUEbVJHQhBtVGhlbWVDb2xvckluZGV4DG1BdXRvVXBkYXRlZAltTW9kaWZpZWQEAgAAAAAAH0FwbG9yaXMuQmFzZS5PYmplY3RzLkxpbmVGb3JtYXQDAAAACAgIAQEDAAAACTMFAAAKAQAAAAAAAAD/////AAEBqgYAAIEAAAAKCgAAAAA2bIcABQAAAAAAAasGAACBAAAACgoBAAAA////AP////8AAA+sBgAAAQAAAAgHAAAAB60GAAAAAQAAAAEAAAADDVN5c3RlbS5JbnRQdHIBpfj//1z+//8AAAAAAAAAAA+wBgAAAQAAAAgwAAAAB7EGAAAAAQAAAAEAAAADDVN5c3RlbS5JbnRQdHIBpPj//1z+//8AAAAAAAAAAAG0BgAAgQAAAAoKAAAAAP///wAOAAAAAAABtQYAAIEAAAAKCgAAAAD///8ADgAAAAABB7YGAAAAAQAAAAQAAAAEHUFwbG9yaXMuQmFzZS5PYmplY3RzLlZhcmlhYmxlAwAAAAGj+P//5/v//wEAAAAAAAAAAaL4///n+///AAAAAAAAAAABofj//+f7//8AAAAAAAAAAAGg+P//5/v//wAAAAAAAAAABbcGAAAaQXBsb3Jpcy5CYXNlLk9iamVjdHMuQ29sb3IHAAAAEkRhdGFPYmplY3QrbVBhcmVudBVEYXRhT2JqZWN0K21Db250YWluZXIFbVR5cGUEbVJHQhBtVGhlbWVDb2xvckluZGV4DG1BdXRvVXBkYXRlZAltTW9kaWZpZWQEAgAAAAAAH0FwbG9yaXMuQmFzZS5PYmplY3RzLkxpbmVGb3JtYXQDAAAACAgIAQEDAAAACVMFAAAKAAAAAP///wAOAAAAAAAFuAYAABpBcGxvcmlzLkJhc2UuT2JqZWN0cy5Db2xvcgcAAAASRGF0YU9iamVjdCttUGFyZW50FURhdGFPYmplY3QrbUNvbnRhaW5lcgVtVHlwZQRtUkdCEG1UaGVtZUNvbG9ySW5kZXgMbUF1dG9VcGRhdGVkCW1Nb2RpZmllZAQCAAAAAAAfQXBsb3Jpcy5CYXNlLk9iamVjdHMuTGluZUZvcm1hdAMAAAAICAgBAQMAAAAJUwUAAAoBAAAAAAAAAP////8AAQG5BgAAgQAAAAoKAAAAADZshwAFAAAAAAABugYAAIEAAAAKCgEAAAD///8A/////wAAD7sGAAABAAAACAYAAAAHvAYAAAABAAAAAQAAAAMNU3lzdGVtLkludFB0cgGe+P//XP7//wAAAAAAAAAAD78GAAABAAAACDEAAAAHwAYAAAABAAAAAQAAAAMNU3lzdGVtLkludFB0cgGd+P//XP7//wAAAAAAAAAAAcMGAACBAAAACgoAAAAA////AA4AAAAAAAHEBgAAgQAAAAoKAAAAAP///wAOAAAAAAEHxQYAAAABAAAABAAAAAQdQXBsb3Jpcy5CYXNlLk9iamVjdHMuVmFyaWFibGUDAAAAAZz4///n+///AQAAAAAAAAABm/j//+f7//8AAAAAAAAAAAGa+P//5/v//wAAAAAAAAAAAZn4///n+///AAAAAAAAAAAFxgYAABpBcGxvcmlzLkJhc2UuT2JqZWN0cy5Db2xvcgcAAAASRGF0YU9iamVjdCttUGFyZW50FURhdGFPYmplY3QrbUNvbnRhaW5lcgVtVHlwZQRtUkdCEG1UaGVtZUNvbG9ySW5kZXgMbUF1dG9VcGRhdGVkCW1Nb2RpZmllZAQCAAAAAAAfQXBsb3Jpcy5CYXNlLk9iamVjdHMuTGluZUZvcm1hdAMAAAAICAgBAQMAAAAJcwUAAAoAAAAA////AA4AAAAAAAXHBgAAGkFwbG9yaXMuQmFzZS5PYmplY3RzLkNvbG9yBwAAABJEYXRhT2JqZWN0K21QYXJlbnQVRGF0YU9iamVjdCttQ29udGFpbmVyBW1UeXBlBG1SR0IQbVRoZW1lQ29sb3JJbmRleAxtQXV0b1VwZGF0ZWQJbU1vZGlmaWVkBAIAAAAAAB9BcGxvcmlzLkJhc2UuT2JqZWN0cy5MaW5lRm9ybWF0AwAAAAgICAEBAwAAAAlzBQAACgEAAAAAAAAA/////wABAcgGAACBAAAACgoAAAAANmyHAAUAAAAAAAHJBgAAgQAAAAoKAQAAAP///wD/////AAAPygYAAAEAAAAIBQAAAAfLBgAAAAEAAAABAAAAAw1TeXN0ZW0uSW50UHRyAZf4//9c/v//AAAAAAAAAAAPzgYAAAEAAAAILgAAAAfPBgAAAAEAAAABAAAAAw1TeXN0ZW0uSW50UHRyAZb4//9c/v//AAAAAAAAAAAB0gYAAIEAAAAKCgAAAAD///8ADgAAAAAAAdMGAACBAAAACgoAAAAA////AA4AAAAAAQfUBgAAAAEAAAAEAAAABB1BcGxvcmlzLkJhc2UuT2JqZWN0cy5WYXJpYWJsZQMAAAABlfj//+f7//8BAAAAAAAAAAGU+P//5/v//wAAAAAAAAAAAZP4///n+///AAAAAAAAAAABkvj//+f7//8AAAAAAAAAAAXVBgAAGkFwbG9yaXMuQmFzZS5PYmplY3RzLkNvbG9yBwAAABJEYXRhT2JqZWN0K21QYXJlbnQVRGF0YU9iamVjdCttQ29udGFpbmVyBW1UeXBlBG1SR0IQbVRoZW1lQ29sb3JJbmRleAxtQXV0b1VwZGF0ZWQJbU1vZGlmaWVkBAIAAAAAAB9BcGxvcmlzLkJhc2UuT2JqZWN0cy5MaW5lRm9ybWF0AwAAAAgICAEBAwAAAAmTBQAACgAAAAD///8ADgAAAAAABdYGAAAaQXBsb3Jpcy5CYXNlLk9iamVjdHMuQ29sb3IHAAAAEkRhdGFPYmplY3QrbVBhcmVudBVEYXRhT2JqZWN0K21Db250YWluZXIFbVR5cGUEbVJHQhBtVGhlbWVDb2xvckluZGV4DG1BdXRvVXBkYXRlZAltTW9kaWZpZWQEAgAAAAAAH0FwbG9yaXMuQmFzZS5PYmplY3RzLkxpbmVGb3JtYXQDAAAACAgIAQEDAAAACZMFAAAKAQAAAAAAAAD/////AAEB1wYAAIEAAAAKCgAAAAA2bIcABQAAAAAAAdgGAACBAAAACgoBAAAA////AP////8AAA/ZBgAAAQAAAAgIAAAAB9oGAAAAAQAAAAEAAAADDVN5c3RlbS5JbnRQdHIBkPj//1z+//8AAAAAAAAAAA/dBgAAAQAAAAgjAAAAB94GAAAAAQAAAAEAAAADDVN5c3RlbS5JbnRQdHIBj/j//1z+//8AAAAAAAAAAAHhBgAAgQAAAAoKAAAAAP///wAOAAAAAAAB4gYAAIEAAAAKCgAAAAD///8ADgAAAAABB+MGAAAAAQAAAAQAAAAEHUFwbG9yaXMuQmFzZS5PYmplY3RzLlZhcmlhYmxlAwAAAAGO+P//5/v//wEAAAAAAAAAAY34///n+///AAAAAAAAAAABjPj//+f7//8AAAAAAAAAAAGL+P//5/v//wAAAAAAAAAABeQGAAAaQXBsb3Jpcy5CYXNlLk9iamVjdHMuQ29sb3IHAAAAEkRhdGFPYmplY3QrbVBhcmVudBVEYXRhT2JqZWN0K21Db250YWluZXIFbVR5cGUEbVJHQhBtVGhlbWVDb2xvckluZGV4DG1BdXRvVXBkYXRlZAltTW9kaWZpZWQEAgAAAAAAH0FwbG9yaXMuQmFzZS5PYmplY3RzLkxpbmVGb3JtYXQDAAAACAgIAQEDAAAACbMFAAAKAAAAAP///wAOAAAAAAAF5QYAABpBcGxvcmlzLkJhc2UuT2JqZWN0cy5Db2xvcgcAAAASRGF0YU9iamVjdCttUGFyZW50FURhdGFPYmplY3QrbUNvbnRhaW5lcgVtVHlwZQRtUkdCEG1UaGVtZUNvbG9ySW5kZXgMbUF1dG9VcGRhdGVkCW1Nb2RpZmllZAQCAAAAAAAfQXBsb3Jpcy5CYXNlLk9iamVjdHMuTGluZUZvcm1hdAMAAAAICAgBAQMAAAAJswUAAAoBAAAAAAAAAP////8AAQHmBgAAgQAAAAoKAAAAAHKEjAAGAAAAAAAB5wYAAIEAAAAKCgEAAAD///8A/////wAAD+gGAAABAAAACAMAAAAH6QYAAAABAAAAAQAAAAMNU3lzdGVtLkludFB0cgGJ+P//XP7//wAAAAAAAAAAD+wGAAABAAAACCQAAAAH7QYAAAABAAAAAQAAAAMNU3lzdGVtLkludFB0cgGI+P//XP7//wAAAAAAAAAAAfAGAACBAAAACgoAAAAA////AA4AAAAAAAHxBgAAgQAAAAoKAAAAAP///wAOAAAAAAEH8gYAAAABAAAABAAAAAQdQXBsb3Jpcy5CYXNlLk9iamVjdHMuVmFyaWFibGUDAAAAAYf4///n+///AQAAAAAAAAABhvj//+f7//8AAAAAAAAAAAGF+P//5/v//wAAAAAAAAAAAYT4///n+///AAAAAAAAAAAF8wYAABpBcGxvcmlzLkJhc2UuT2JqZWN0cy5Db2xvcgcAAAASRGF0YU9iamVjdCttUGFyZW50FURhdGFPYmplY3QrbUNvbnRhaW5lcgVtVHlwZQRtUkdCEG1UaGVtZUNvbG9ySW5kZXgMbUF1dG9VcGRhdGVkCW1Nb2RpZmllZAQCAAAAAAAfQXBsb3Jpcy5CYXNlLk9iamVjdHMuTGluZUZvcm1hdAMAAAAICAgBAQMAAAAJ0wUAAAoAAAAA////AA4AAAAAAAX0BgAAGkFwbG9yaXMuQmFzZS5PYmplY3RzLkNvbG9yBwAAABJEYXRhT2JqZWN0K21QYXJlbnQVRGF0YU9iamVjdCttQ29udGFpbmVyBW1UeXBlBG1SR0IQbVRoZW1lQ29sb3JJbmRleAxtQXV0b1VwZGF0ZWQJbU1vZGlmaWVkBAIAAAAAAB9BcGxvcmlzLkJhc2UuT2JqZWN0cy5MaW5lRm9ybWF0AwAAAAgICAEBAwAAAAnTBQAACgEAAAAAAAAA/////wABAfUGAACBAAAACgoAAAAAcoSMAAYAAAAAAAH2BgAAgQAAAAoKAQAAAP///wD/////AAAP9wYAAAEAAAAIAgAAAAf4BgAAAAEAAAABAAAAAw1TeXN0ZW0uSW50UHRyAYL4//9c/v//AAAAAAAAAAAP+wYAAAEAAAAIJQAAAAf8BgAAAAEAAAABAAAAAw1TeXN0ZW0uSW50UHRyAYH4//9c/v//AAAAAAAAAAAB/wYAAIEAAAAKCgAAAAD///8ADgAAAAAAAQAHAACBAAAACgoAAAAA////AA4AAAAAAQcBBwAAAAEAAAAEAAAABB1BcGxvcmlzLkJhc2UuT2JqZWN0cy5WYXJpYWJsZQMAAAABgPj//+f7//8BAAAAAAAAAAF/+P//5/v//wAAAAAAAAAAAX74///n+///AAAAAAAAAAABffj//+f7//8AAAAAAAAAAAUCBwAAGkFwbG9yaXMuQmFzZS5PYmplY3RzLkNvbG9yBwAAABJEYXRhT2JqZWN0K21QYXJlbnQVRGF0YU9iamVjdCttQ29udGFpbmVyBW1UeXBlBG1SR0IQbVRoZW1lQ29sb3JJbmRleAxtQXV0b1VwZGF0ZWQJbU1vZGlmaWVkBAIAAAAAAB9BcGxvcmlzLkJhc2UuT2JqZWN0cy5MaW5lRm9ybWF0AwAAAAgICAEBAwAAAAnzBQAACgAAAAD///8ADgAAAAAABQMHAAAaQXBsb3Jpcy5CYXNlLk9iamVjdHMuQ29sb3IHAAAAEkRhdGFPYmplY3QrbVBhcmVudBVEYXRhT2JqZWN0K21Db250YWluZXIFbVR5cGUEbVJHQhBtVGhlbWVDb2xvckluZGV4DG1BdXRvVXBkYXRlZAltTW9kaWZpZWQEAgAAAAAAH0FwbG9yaXMuQmFzZS5PYmplY3RzLkxpbmVGb3JtYXQDAAAACAgIAQEDAAAACfMFAAAKAQAAAAAAAAD/////AAEBBAcAAIEAAAAKCgAAAAByhIwABgAAAAAAAQUHAACBAAAACgoBAAAA////AP////8AAA8GBwAAAQAAAAgBAAAABwcHAAAAAQAAAAEAAAADDVN5c3RlbS5JbnRQdHIBe/j//1z+//8AAAAAAAAAAA8KBwAAAQAAAAgiAAAABwsHAAAAAQAAAAEAAAADDVN5c3RlbS5JbnRQdHIBevj//1z+//8AAAAAAAAAAAEOBwAAgQAAAAoKAAAAAP///wAOAAAAAAABDwcAAIEAAAAKCgAAAAD///8ADgAAAAABBxAHAAAAAQAAAAQAAAAEHUFwbG9yaXMuQmFzZS5PYmplY3RzLlZhcmlhYmxlAwAAAAF5+P//5/v//wEAAAAAAAAAAXj4///n+///AAAAAAAAAAABd/j//+f7//8AAAAAAAAAAAF2+P//5/v//wAAAAAAAAAABREHAAAaQXBsb3Jpcy5CYXNlLk9iamVjdHMuQ29sb3IHAAAAEkRhdGFPYmplY3QrbVBhcmVudBVEYXRhT2JqZWN0K21Db250YWluZXIFbVR5cGUEbVJHQhBtVGhlbWVDb2xvckluZGV4DG1BdXRvVXBkYXRlZAltTW9kaWZpZWQEAgAAAAAAH0FwbG9yaXMuQmFzZS5PYmplY3RzLkxpbmVGb3JtYXQDAAAACAgIAQEDAAAACRMGAAAKAAAAAP///wAOAAAAAAAFEgcAABpBcGxvcmlzLkJhc2UuT2JqZWN0cy5Db2xvcgcAAAASRGF0YU9iamVjdCttUGFyZW50FURhdGFPYmplY3QrbUNvbnRhaW5lcgVtVHlwZQRtUkdCEG1UaGVtZUNvbG9ySW5kZXgMbUF1dG9VcGRhdGVkCW1Nb2RpZmllZAQCAAAAAAAfQXBsb3Jpcy5CYXNlLk9iamVjdHMuTGluZUZvcm1hdAMAAAAICAgBAQMAAAAJEwYAAAoBAAAAAAAAAP////8AAQETBwAAgQAAAAoKAAAAAHKEjAAGAAAAAAABFAcAAIEAAAAKCgEAAAD///8A/////wAADxUHAAABAAAACAQAAAAHFgcAAAABAAAAAQAAAAMNU3lzdGVtLkludFB0cgF0+P//XP7//wAAAAAAAAAADxkHAAABAAAACCcAAAAHGgcAAAABAAAAAQAAAAMNU3lzdGVtLkludFB0cgFz+P//XP7//wAAAAAAAAAAAR0HAACBAAAACgoAAAAA////AA4AAAAAAAEeBwAAgQAAAAoKAAAAAP///wAOAAAAAAEHHwcAAAABAAAABAAAAAQdQXBsb3Jpcy5CYXNlLk9iamVjdHMuVmFyaWFibGUDAAAAAXL4///n+///AQAAAAAAAAABcfj//+f7//8AAAAAAAAAAAFw+P//5/v//wAAAAAAAAAAAW/4///n+///AAAAAAAAAAAFIAcAABpBcGxvcmlzLkJhc2UuT2JqZWN0cy5Db2xvcgcAAAASRGF0YU9iamVjdCttUGFyZW50FURhdGFPYmplY3QrbUNvbnRhaW5lcgVtVHlwZQRtUkdCEG1UaGVtZUNvbG9ySW5kZXgMbUF1dG9VcGRhdGVkCW1Nb2RpZmllZAQCAAAAAAAfQXBsb3Jpcy5CYXNlLk9iamVjdHMuTGluZUZvcm1hdAMAAAAICAgBAQMAAAAJMwYAAAoAAAAA////AA4AAAAAAAUhBwAAGkFwbG9yaXMuQmFzZS5PYmplY3RzLkNvbG9yBwAAABJEYXRhT2JqZWN0K21QYXJlbnQVRGF0YU9iamVjdCttQ29udGFpbmVyBW1UeXBlBG1SR0IQbVRoZW1lQ29sb3JJbmRleAxtQXV0b1VwZGF0ZWQJbU1vZGlmaWVkBAIAAAAAAB9BcGxvcmlzLkJhc2UuT2JqZWN0cy5MaW5lRm9ybWF0AwAAAAgICAEBAwAAAAkzBgAACgEAAAAAAAAA/////wABASIHAACBAAAACgoAAAAA7SElAAcAAAAAAAEjBwAAgQAAAAoKAQAAAP///wD/////AAAPJAcAAAEAAAAICQAAAAclBwAAAAEAAAABAAAAAw1TeXN0ZW0uSW50UHRyAW34//9c/v//AAAAAAAAAAAPKAcAAAEAAAAIKAAAAAcpBwAAAAEAAAABAAAAAw1TeXN0ZW0uSW50UHRyAWz4//9c/v//AAAAAAAAAAABLAcAAIEAAAAKCgAAAAD///8ADgAAAAAAAS0HAACBAAAACgoAAAAA////AA4AAAAAAQcuBwAAAAEAAAAEAAAABB1BcGxvcmlzLkJhc2UuT2JqZWN0cy5WYXJpYWJsZQMAAAABa/j//+f7//8BAAAAAAAAAAFq+P//5/v//wAAAAAAAAAAAWn4///n+///AAAAAAAAAAABaPj//+f7//8AAAAAAAAAAAUvBwAAGkFwbG9yaXMuQmFzZS5PYmplY3RzLkNvbG9yBwAAABJEYXRhT2JqZWN0K21QYXJlbnQVRGF0YU9iamVjdCttQ29udGFpbmVyBW1UeXBlBG1SR0IQbVRoZW1lQ29sb3JJbmRleAxtQXV0b1VwZGF0ZWQJbU1vZGlmaWVkBAIAAAAAAB9BcGxvcmlzLkJhc2UuT2JqZWN0cy5MaW5lRm9ybWF0AwAAAAgICAEBAwAAAAlTBgAACgAAAAD///8ADgAAAAAABTAHAAAaQXBsb3Jpcy5CYXNlLk9iamVjdHMuQ29sb3IHAAAAEkRhdGFPYmplY3QrbVBhcmVudBVEYXRhT2JqZWN0K21Db250YWluZXIFbVR5cGUEbVJHQhBtVGhlbWVDb2xvckluZGV4DG1BdXRvVXBkYXRlZAltTW9kaWZpZWQEAgAAAAAAH0FwbG9yaXMuQmFzZS5PYmplY3RzLkxpbmVGb3JtYXQDAAAACAgIAQEDAAAACVMGAAAKAQAAAAAAAAD/////AAEBMQcAAIEAAAAKCgAAAADtISUABwAAAAAAATIHAACBAAAACgoBAAAA////AP////8AAA8zBwAAAQAAAAgMAAAABzQHAAAAAQAAAAEAAAADDVN5c3RlbS5JbnRQdHIBZvj//1z+//8AAAAAAAAAAA83BwAAAQAAAAgpAAAABzgHAAAAAQAAAAEAAAADDVN5c3RlbS5JbnRQdHIBZfj//1z+//8AAAAAAAAAAAE7BwAAgQAAAAoKAAAAAP///wAOAAAAAAABPAcAAIEAAAAKCgAAAAD///8ADgAAAAABBz0HAAAAAQAAAAQAAAAEHUFwbG9yaXMuQmFzZS5PYmplY3RzLlZhcmlhYmxlAwAAAAFk+P//5/v//wEAAAAAAAAAAWP4///n+///AAAAAAAAAAABYvj//+f7//8AAAAAAAAAAAFh+P//5/v//wAAAAAAAAAABT4HAAAaQXBsb3Jpcy5CYXNlLk9iamVjdHMuQ29sb3IHAAAAEkRhdGFPYmplY3QrbVBhcmVudBVEYXRhT2JqZWN0K21Db250YWluZXIFbVR5cGUEbVJHQhBtVGhlbWVDb2xvckluZGV4DG1BdXRvVXBkYXRlZAltTW9kaWZpZWQEAgAAAAAAH0FwbG9yaXMuQmFzZS5PYmplY3RzLkxpbmVGb3JtYXQDAAAACAgIAQEDAAAACXMGAAAKAAAAAP///wAOAAAAAAAFPwcAABpBcGxvcmlzLkJhc2UuT2JqZWN0cy5Db2xvcgcAAAASRGF0YU9iamVjdCttUGFyZW50FURhdGFPYmplY3QrbUNvbnRhaW5lcgVtVHlwZQRtUkdCEG1UaGVtZUNvbG9ySW5kZXgMbUF1dG9VcGRhdGVkCW1Nb2RpZmllZAQCAAAAAAAfQXBsb3Jpcy5CYXNlLk9iamVjdHMuTGluZUZvcm1hdAMAAAAICAgBAQMAAAAJcwYAAAoBAAAAAAAAAP////8AAQFABwAAgQAAAAoKAAAAAO0hJQAHAAAAAAABQQcAAIEAAAAKCgEAAAD///8A/////wAAD0IHAAABAAAACAsAAAAHQwcAAAABAAAAAQAAAAMNU3lzdGVtLkludFB0cgFf+P//XP7//wAAAAAAAAAAD0YHAAABAAAACCYAAAAHRwcAAAABAAAAAQAAAAMNU3lzdGVtLkludFB0cgFe+P//XP7//wAAAAAAAAAAAUoHAACBAAAACgoAAAAA////AA4AAAAAAAFLBwAAgQAAAAoKAAAAAP///wAOAAAAAAEHTAcAAAABAAAABAAAAAQdQXBsb3Jpcy5CYXNlLk9iamVjdHMuVmFyaWFibGUDAAAAAV34///n+///AQAAAAAAAAABXPj//+f7//8AAAAAAAAAAAFb+P//5/v//wAAAAAAAAAAAVr4///n+///AAAAAAAAAAAFTQcAABpBcGxvcmlzLkJhc2UuT2JqZWN0cy5Db2xvcgcAAAASRGF0YU9iamVjdCttUGFyZW50FURhdGFPYmplY3QrbUNvbnRhaW5lcgVtVHlwZQRtUkdCEG1UaGVtZUNvbG9ySW5kZXgMbUF1dG9VcGRhdGVkCW1Nb2RpZmllZAQCAAAAAAAfQXBsb3Jpcy5CYXNlLk9iamVjdHMuTGluZUZvcm1hdAMAAAAICAgBAQMAAAAJkwYAAAoAAAAA////AA4AAAAAAAVOBwAAGkFwbG9yaXMuQmFzZS5PYmplY3RzLkNvbG9yBwAAABJEYXRhT2JqZWN0K21QYXJlbnQVRGF0YU9iamVjdCttQ29udGFpbmVyBW1UeXBlBG1SR0IQbVRoZW1lQ29sb3JJbmRleAxtQXV0b1VwZGF0ZWQJbU1vZGlmaWVkBAIAAAAAAB9BcGxvcmlzLkJhc2UuT2JqZWN0cy5MaW5lRm9ybWF0AwAAAAgICAEBAwAAAAmTBgAACgEAAAAAAAAA/////wABAU8HAACBAAAACgoAAAAA7SElAAcAAAAAAAFQBwAAgQAAAAoKAQAAAP///wD/////AAAPUQcAAAEAAAAICgAAAAdSBwAAAAEAAAABAAAAAw1TeXN0ZW0uSW50UHRyAVj4//9c/v//AAAAAAAAAAAL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6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1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1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1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9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6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4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6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3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57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3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6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7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7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3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29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9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8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8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37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6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2Rb/XjILPR+82Sd.47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2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Fo3J0KkLo9Bh6jgQ+TwjEMABB0AAAALU3lzdGVtLkd1aWQLAAAAAl9hAl9iAl9jAl9kAl9lAl9mAl9nAl9oAl9pAl9qAl9rAAAAAAAAAAAAAAAIBwcCAgICAgICAgAAAAAAAAAAAAAAAAAAAAAACgoJHgAAAAAKCgoBAAAAAAAAAP////8AAQEfAAAAFAAAAP//H0H//x9B/lC/Qyd2mUNEjcVCZqQkQ3L/+kMn9qNDBSAAAAAVU3lzdGVtLkRyYXdpbmcuUG9pbnRGAgAAAAF4AXkAAAsLBAAAAEyuy0NSzVdDBiEAAAAQajBjUEpFSjBqSnB4WFZPa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BaNydCzuOVQwEuAAAAIAAAAHKP9UPO45VDCS8AAAAJMAAAAAkxAAAACTIAAAAAAAAAAAAAAAAAAAAJMwAAAAAAAAAAAAk0AAAACQEAAAAJAQAAAAk1AAAAAQcAAAAGAAAACQEAAAABNgAAACYAAAAAAAAAzcxMPwAAAAgBAAkBAAAACTcAAAAJOAAAAAEAAAAAAAAAAAAAAAAAAADgPwCamZmZmZm5PwAAACBBAAEJOQAAAAoJOgAAAAk7AAAACTwAAAABPQAAACAAAABaNydCzuOVQwE+AAAAIAAAAFo3J0KkLo9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AwAAAAgBAAAAAgAAAAM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WjcnQqQuj0EBaQAAACAAAAByj/VDzuOVQwlqAAAACWsAAAAAAAAACgVsAAAAFFN5c3RlbS5EcmF3aW5nLlNpemVGAgAAAAV3aWR0aAZoZWlnaHQAAAsLBAAAAAAAAAAAAAAAAW0AAABsAAAAAAAAAAAAAAAAAAAAAW4AAAAUAAAAAAAAAAAAAAAAAAAAAAAAABQAAAD/////AQEKCW8AAAABAAoBDx4AAACHJgAAAlBLAwQUAAYACAAAACEAkleNNXI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8MwDL4j8R+qXFGbjQNCaN0ODI4wifEDQuKu0ZqH4uz173GzDSE0WtB2adQk38N27NFka5psDQG1syUbFgOWgZVOabso2fv8Ob9nGUZhlWichZLtANlkfH01mu88YEZoiyWrY/QPnKOswQgsnAdLJ5ULRkT6DQvuhVyKBfDbweCOS2cj2JjHloONR1OoxKqJ2dOWtvdOCM6yx/29VqpkwvtGSxHJKG9P+UncuhO3tuqHudxVlZagnFwZslQQfhrEhsL/RSBAgx3OTigcQi8ImdxjrT3eHEJ4pdwHrSCbiRBfhKFA+bbhGxeWH84ti+489MeDPoBQWANE0xRpLYzQ9g/66TLytAwvbKSNLxH3+Ij0oICn7/kWEk2PIMZdA3jptCfSPuVaBFBvMdDbu7iB79w9PqQzbSfgpUt+5O2SpzacBeeRJkSA/xfh2GktOvdEBCFq6Oy1L0UaL2dXHdr5pUCd0OZpXo4/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/uTt5/JoE2hdJdcDJ+Ev+8noe3uZxzEFybqg1dQFSUI9CbY3ncKPprXuycQxNpbPQSPCiYk2NW3N9s3HDTnT+T6SCK7eFLgmOOzlGQcjpqKENHnThvSqDnL1MmozUF3KDdl+SjT0gPqM0+xtwrS3t6DaKaYk//3Dm3bG3wJ5nNEzxciJPE05AFEo1OHrOBPF5kR5OX4h1XjnU5o3znl7S4pluVrMNWaMN8hHcgh8mkdxxLJuVNdg9msCcP5YPAEMks5v0cGeXZx9S8AAAD//wMAUEsDBBQABgAIAAAAIQC2sai9oAIAAE0FAAAPAAAAeGwvd29ya2Jvb2sueG1spFTJbtswEL0X6D8IuisUqcULLAWOF9RAUQRFmhwLmqItIlwUkoqdFv33jqQ6TptL2uogDhc9vnlvRrPLo5LBI7dOGF2E+CIOA66ZqYTeF+GXm3U0DgPnqa6oNJoX4RN34WX5/t3sYOz91pj7AAC0K8La+2aKkGM1V9RdmIZr2NkZq6iHqd0j11hOK1dz7pVEJI5zpKjQ4YAwtW/BMLudYHxpWKu49gOI5ZJ6oO9q0bgTmmJvgVPU3rdNxIxqAGIrpPBPPWgYKDbd7LWxdCsh7SPOTsgQvoJWglnjzM5fABQaSL7KF8cI4yHlcrYTkt8Osge0aT5R1d0iw0BS51eV8Lwqwhym5sDPC0DCts1VKyTsknHesULlsxfXtpsB87n03Grq+cJoD0L9kvh/RemxF7UBC4LP/KEVloPznTblDN6UTenWXVNfB62VRYgeqUU7IyvIEz0cEKknpP7GKpLgxOLq0ae60V/jcQzPXqMb5FWTk2yEY1JdQIxeSE5f+/kXolPW64RAmoF+OeviP2UqZ11F3wp+cGdRu2lwvBO6MocijEiSjKFJns4LGKewcOgP3InK17018fPaBy72tYfmyiDTgceLa/p+gOv6MdB9HcwbaaxwS+opdF/XMBvwG4P5UwGB3VQQg9Po9DGjkoH53dCfTLOcwBFmNGuthQJYwE4RDrfzo//ofDmDEXwSRfh9NFln6WSUR3g5z6I0x+PoCqejKF0sV+nVJEvmyfjH2Yz03+o/nqDJqfyPOJ2e/iBAvOI72kq/UXTPlw1QSsgoHw05As3fuGYkWWXLJCLZOonm2SqOcJ6QKE/XJEsXhKQZeeaqjm+jqihD/Mh4/1san0iq43RuWb1ZBmtJ91Dp5AUjOD/IiE55lD8BAAD//wMAUEsDBBQABgAIAAAAIQBonLPgmwAAALUAAAAUAAAAeGwvc2hhcmVkU3RyaW5ncy54bWw0jUEKwjAQRfeCdwiz16kuRCRJEcET6AFCO7aBZlIzU9HbGxcu3/88nm3faTIvKhIzO9htGzDEXe4jDw7ut+vmCEY0cB+mzOTgQwKtX6+siJrqsjgYVecTonQjpSDbPBPX55FLClqxDChzodDLSKRpwn3THDCFyGC6vLDWLpiF43Ohy5+9leit+vNQiCyqt/gbsGb9Fw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NHxzYb4CAABdBwAADQAAAHhsL3N0eWxlcy54bWzEVclu2zAQvRfoPwi8O7IdO7EMSQG8CAiQFgXsAr1SEiUT4SKQVGq16L93SEm20jTI0kN98XA4fO9xZjgKb46ceQ9EaSpFhCYXY+QRkcmcijJCX/fJaIE8bbDIMZOCRKghGt3EHz+E2jSM7A6EGA8ghI7QwZhq6fs6OxCO9YWsiICdQiqODSxV6etKEZxre4gzfzoeX/kcU4FahCXPXgPCsbqvq1EmeYUNTSmjpnFYyOPZ8rYUUuGUgdTjZIazHtstnsBzmimpZWEuAM6XRUEz8lRl4Ac+IMVhIYXRXiZrYSI0BWjLsLwX8rtI7BYksIuKQ/3De8AMPBPk+XGYSSaVZyA1oKx1CcxJG7PGjKaKusACc8qa1g8UcNQltIvkFK7nvL4V00qKw9TFdYzBgJCKnBxJHqHFn5x7fJAcP0PZgbs/DSSUsdO9Z/aK4IhDyL8hSiSw8Dp731RwPwGt0ol0gS+Elwo3k+n8DSe0ZDS3Osq1y6sq0wgl8FtvO5y02zkl4GrW4g9Ex6HfKntB37Ns2+sgcahvYnOkkNVUqhweXt9PtnVaVxwyUhhbUkXLgzOMrOw6lcZIbq2c4lIKzKzt98c6A7AzwtjOvtBvxSOCY+GJmifc3EJPwFu3TdSbUKrObPG6hSUYwrXgA9w5CH8H7rE4E/zH47iqWGNbuH+Wr9AC7/JRik5XeQ/Y5avBXBkg8YPyPiruqUqeHS0R+mxHL4Mx1Wc6rSkzVPytsACaH8+9Aq0BdTd2kLo2OvHARk4KXDOzP21G6Gx/IjmtOSSoi/pCH6RxEBE623e2rydXjoQczZ2GSQb/Xq1ohH5uV9fBZptMR4vxajGaXZL5KJivNqP5bL3abJJgPB2vfw0G+z+Mdff5gfadzJaawfBX3W079buzL0KDRau/HSigG15Ifwv//F2MfwMAAP//AwBQSwMEFAAGAAgAAAAhACzkf5laAgAAKwUAABgAAAB4bC93b3Jrc2hlZXRzL3NoZWV0MS54bWyMVMtu2zAQvBfoPxC8Rw/baWzBcpDYDZpDgaLPM02tJCKkqJL06++7FG1VtovCOggUdzk7OzvU/HGvJNmCsUI3OU2jhBJouC5EU+X0x/eXuykl1rGmYFI3kNMDWPq4eP9uvtPmzdYAjiBCY3NaO9dmcWx5DYrZSLfQYKTURjGHn6aKbWuAFd0hJeNRknyIFRMNDQiZuQVDl6XgsNJ8o6BxAcSAZA7521q09oS2L27CKwzbYa8nPgOKqxDp8dLJFT8luNFWly7iWsWB2nWXs3h21qfitzSqmHnbtHcI3GJzayGFO3TtUqJ49lo12rC1xIns0wnjA5bsGv52noi0mBcCtfWGIAbKnD6l2XJESbyYd6P7KWBnB2vi2PobSOAOCnQQJd4Za63ffOIrbiUIabsED8m4E1tYgpQ5/fiA5vrdFfFLrBD3JYbrU7mXzkxfDFkzC0stf4nC1VgTTVtAyTbS/d2cRtPxKBmno/s++FXvPoGoaodHcLcTLisOK7AcvYREo9Am1xIr4pso4S8FKs72obVQcIht3cFPYRLoh6NdEyvm2GJu9I6gERHDtsxfkzQb4zqn+OYb67QKTXUp/2SETDzCk4fI6ZGh33kOO2OUd7sYJen9PN6iavx4YHkRfujDMZLqmSHgkNl/KfjcrlUUy3Zlk/OazyEjDbFofD+eDZ/pBcPz7MkkvaAY3BCEbFkFn5mpRGOJhLIbF3rGhHkmEa6dbv0QH3C2a+1Q2tNXjb8dQMWSCFUvtXb9B1pOQsX44XjbickEWta8Fqie92P/m1v8AQAA//8DAFBLAwQUAAYACAAAACEAjFC8tpoCAAA9BwAAGwAAAHhsL2RyYXdpbmdzL3ZtbERyYXdpbmcxLnZtbOxVy27bMBC8F+g/EMrBFxt6NElbRjIQpMitLdD0cQxoibaYkFxBXMtyvj5LSnbsIi0C5NBLBUsid5fLmeEIznujGd3W8a6I1q3lrqylEW5mVNmCgyXOSjC8Mzp6+2ashL9VwnKpSsmH19Oa/gVrZF/Kg20MIaoRGx7HRpQ/jb4J0H60KpoTlhy4q0UjtdjCGlnHZY9FJCuFIe3zqjKiOcqwSqAoojSKQ4v4qMc874aWuG0kU1UR3fYJXbeYJVnESoC2cupBFlGWnifJNDwjRj0a2tnXECzWCKyLyCTTRI8lQ+HRM+nliJK2xBbuJbsDZR1uNbU3CmU7QGSEyXdkq1ZUSloMnOG+iNDvXIK1skQPuIhaGu2IHTDZ0zqk5NIkO4vYsPDkiOcAYtKAU6jAcrFwoNcoLzw7I9qVsjMtl8jPPzR4MQYQGp4mNN+oCmueZqc0rqVa1cgzH3+YKVvJnqehTaecWiitcMtrVVXSXhgHs00rmlnYnqNfOWFLpXUJGtoiOlnSJVPPmoSSaKAizmKNsFfSV9MxUXn2VB9O2stIylWwYWAH7RauXLeSDnnUbK/0b6pasPLpLJBctoCejSJ51JXywpNSM6GRe0ATby7G8kp1u0K/jvJqZbnXbjLPY8qGujzu+Nh2mPf8Svuj/kReZV8Xd9T9ezjgL4CjbVje88/QyV8K6yuptRtY+vANOfSZ8KUta2gHYCydsvRsyhJ60f2OfnT74Mc87vlhKTW8JEbXpOz8WmgnQ8EuMtDs+TfYzFOf8YNd8IpcY+w88fFx7FNhuuc3fIajW//o1PNXOjXN0mOrZgdO9S7eOdXHd07N/jv13zs12zuVRqdk1PfBqK/wafDjMz4N/n2pT2P6z5w/AgAA//8DAFBLAwQUAAYACAAAACEAvVubazcBAAAV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HubZitTQtuByp4cCm4ovoXkdgs2f0ii3b69WTfrZD5ezrk/zrm3mu90h77AB2VNjWleYARGWKnMpsbr1SK7xShEbiTvrIEa7yHgeXN9VQnHhPXw7K0DHxUElEgmMOFqvI3RMUKC2ILmIU8Ok8TWes1jGv2GOC4++AbIpChmREPkkkdODsDMjUR8QkoxIt2n7waAFAQ60GBiIDSn5Ncbwevw78KgnDm1inuXOp3inrOlOIqjexfUaOz7Pu+nQ4yUn5K35ePLUDVT5nArAbippGDCA4/WNxU5H9LhOh7iMt24VSDv9s1SCW+DbSN6alslAK0D+IpcGhN06MD0aRmlWOxY4kd6nd4/rBa4mRT0JqNFVsxWtGSTkpXl+yHIX0DKdvHI5hsAAP//AwBQSwMEFAAGAAgAAAAhAN9SO6ISAQAALQIAABAAAAB4bC9jb21tZW50czEueG1sxFDLTsMwELwj8Q/W3qnTHlBBsatyKELigET5ABNvGkt+RF63Svl6tknDgRM3JMvyjGdnRltvhuDFCTO5FBUsFxUIjE2yLh4UfOx3d2sQVEy0xqeICs5IsNG3N3WTQsBYSLBBJAVdKf2jlNR0GAwtUo+Rf9qUgykM80FSn9FY6hBL8HJVVfcyGBdB1+ZYupRpfgipa/nDXYNeHRU9p4qMrYKnJYhJ9mIVVGxUcGBR5vPG1+fFiL7EyXgFD3BBTfIpCxctDsgza3ZgNu9SLJNsb7oUzMi2Jjh/nujVyMjRtujnnI69sEhNdn3hzVEtOVdyppwqyGvrX4237PMvjd8xO6Q/Vp7LTyufEelv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LaxqL2gAgAATQUAAA8AAAAAAAAAAAAAAAAAAgkAAHhsL3dvcmtib29rLnhtbFBLAQItABQABgAIAAAAIQBonLPgmwAAALUAAAAUAAAAAAAAAAAAAAAAAM8LAAB4bC9zaGFyZWRTdHJpbmdzLnhtbFBLAQItABQABgAIAAAAIQDnZXW41gAAALgBAAAjAAAAAAAAAAAAAAAAAJwMAAB4bC93b3Jrc2hlZXRzL19yZWxzL3NoZWV0MS54bWwucmVsc1BLAQItABQABgAIAAAAIQDcBge+egYAANkbAAATAAAAAAAAAAAAAAAAALMNAAB4bC90aGVtZS90aGVtZTEueG1sUEsBAi0AFAAGAAgAAAAhADR8c2G+AgAAXQcAAA0AAAAAAAAAAAAAAAAAXhQAAHhsL3N0eWxlcy54bWxQSwECLQAUAAYACAAAACEALOR/mVoCAAArBQAAGAAAAAAAAAAAAAAAAABHFwAAeGwvd29ya3NoZWV0cy9zaGVldDEueG1sUEsBAi0AFAAGAAgAAAAhAIxQvLaaAgAAPQcAABsAAAAAAAAAAAAAAAAA1xkAAHhsL2RyYXdpbmdzL3ZtbERyYXdpbmcxLnZtbFBLAQItABQABgAIAAAAIQC9W5trNwEAABUCAAARAAAAAAAAAAAAAAAAAKocAABkb2NQcm9wcy9jb3JlLnhtbFBLAQItABQABgAIAAAAIQDfUjuiEgEAAC0CAAAQAAAAAAAAAAAAAAAAABgfAAB4bC9jb21tZW50czEueG1sUEsBAi0AFAAGAAgAAAAhAF6k9QCLAQAADQMAABAAAAAAAAAAAAAAAAAAWCAAAGRvY1Byb3BzL2FwcC54bWxQSwUGAAAAAA0ADQBYAwAAGS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BbvvK3vvLMg77yw44K044K344OD44KvCXIAAAABAAlzAAAAByMAAAAAAQAAABEAAAAEFFN5c3RlbS5EcmF3aW5nLkNvbG9yBAAAAAV0AAAAFFN5c3RlbS5EcmF3aW5nLkNvbG9yBAAAAAV2YWx1ZQVzdGF0ZQprbm93bkNvbG9yBG5hbWUAAAABCQcHBAAAAAAAAAAAAAAAAAAAAAoBdQAAAHQAAAAAAAD//////wIAAAAKAXYAAAB0AAAA//////////8CAAAACgF3AAAAdAAAAE5BIv//////AgAAAAoBeAAAAHQAAADe3Nv//////wIAAAAKAXkAAAB0AAAAfmk///////8CAAAACgF6AAAAdAAAAIyEcv//////AgAAAAoBewAAAHQAAAAlIe3//////wIAAAAKAXwAAAB0AAAANDtG//////8CAAAACgF9AAAAdAAAAHSYw///////AgAAAAoBfgAAAHQAAAAelPf//////wIAAAAKAX8AAAB0AAAAHpT3//////8CAAAACgGAAAAAdAAAACUh7f//////AgAAAAoBgQAAAHQAAAAAAAD//////wIAAAAKAYIAAAB0AAAA//////////8CAAAACgGDAAAAdAAAAE5BIv//////AgAAAAoBhAAAAHQAAADe3Nv//////wIAAAAKBCQAAACYAVN5c3RlbS5Db2xsZWN0aW9ucy5HZW5lcmljLkxpc3RgMVtbQXBsb3Jpcy5CYXNlLk9iamVjdHMuRGF0YU9iamVjdCwgQXBsb3Jpcy5CYXNlLCBWZXJzaW9uPTQuMi4wLjE5MDgsIEN1bHR1cmU9bmV1dHJhbCwgUHVibGljS2V5VG9rZW49MTZmYzEzYTIyNmMwZTk1MV1dAwAAAAZfaXRlbXMFX3NpemUIX3ZlcnNpb24EAAAhQXBsb3Jpcy5CYXNlLk9iamVjdHMuRGF0YU9iamVjdFtdAwAAAAgICYUAAAAMAAAADAAAAAQlAAAAlQFTeXN0ZW0uQ29sbGVjdGlvbnMuR2VuZXJpYy5MaXN0YDFbW0FwbG9yaXMuQmFzZS5VSS5WaXN1YWxPYmplY3QsIEFwbG9yaXMuQmFzZSwgVmVyc2lvbj00LjIuMC4xOTA4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A4LCBDdWx0dXJlPW5ldXRyYWwsIFB1YmxpY0tleVRva2VuPTE2ZmMxM2EyMjZjMGU5NTFdXQMAAACRAVN5c3RlbS5Db2xsZWN0aW9ucy5HZW5lcmljLkxpc3RgMVtbQXBsb3Jpcy5DaGFydC5WYWx1ZUxpbm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hwAAAAmIAAAACQYAAAAJAQAAAAmJAAAABSgAAACbAUFwbG9yaXMuQmFzZS5PYmplY3RzLkRhdGFPYmplY3RDb2xsZWN0aW9uYDFbW0FwbG9yaXMuQ2hhcnQuQXhpc0JyZWFr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wOCwgQ3VsdHVyZT1uZXV0cmFsLCBQdWJsaWNLZXlUb2tlbj0xNmZjMTNhMjI2YzBlOTUxXV0DAAAAkQFTeXN0ZW0uQ29sbGVjdGlvbnMuR2VuZXJpYy5MaXN0YDFbW0FwbG9yaXMuQ2hhcnQuQXhpc0JyZWF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A4LCBDdWx0dXJlPW5ldXRyYWwsIFB1YmxpY0tleVRva2VuPTE2ZmMxM2EyMjZjMGU5NTFdXQMAAACQAVN5c3RlbS5Db2xsZWN0aW9ucy5HZW5lcmljLkxpc3RgMVtbQXBsb3Jpcy5DaGFydC5UaWNrTWFy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Fo3J0LO45VDAZIAAAAgAAAAco/1Q87jlUMJkwAAALgBAAD/////AQEKCZQAAAABAAoBBzAAAAAAAQAAAAUAAAAEFVN5c3RlbS5EcmF3aW5nLlBvaW50RgQAAAABlQAAACAAAAByD/dDzuOVQwGWAAAAIAAAAFo3J0Kn7Z5DAZcAAAAgAAAALzuFQ6ftnkMBmAAAACAAAAByj/VDp+2eQwGZAAAAIAAAAHIP90POY5hDBzEAAAAAAQAAAAUAAAAEF0FwbG9yaXMuQmFzZS5BbmNob3JNb2RlAwAAAAWaAAAAF0FwbG9yaXMuQmFzZS5BbmNob3JNb2RlAQAAAAd2YWx1ZV9fAAgDAAAABAAAAAGbAAAAmgAAAAUAAAABnAAAAJoAAAADAAAAAZ0AAACaAAAABgAAAAGeAAAAmgAAAAUAAAAPMgAAAAUAAAABAAAAAAEFMwAAABVBcGxvcmlzLkJhc2UuVUkuTGFiZWwdAAAAD21BbmNob3JQb3NpdGlvbgttQW5jaG9yTW9kZQ9tQWRkSW5uZXJNYXJnaW4WbU9mZnNldERpcmVjdGlvbkFuY2hvchdtT2Zmc2V0T3J0aG9nb25hbEFuY2hvcgttVGV4dEZvcm1hdAltUm90YXRpb24KbUJhY2tDb2xvcg1tVXNlQmFja0NvbG9yDm1Vc2VCYWNrZ3JvdW5kEW1DdXN0b21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AAQEBAABAwMB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wAAAAGfAAAAIAAAAHIP90PO45VDAaAAAACaAAAABAAAAAAAAAAAAAAAAAmhAAAAAAAAAAmiAAAAAAAABaMAAAAqQXBsb3Jpcy5CYXNlLlVJLkxhYmVsK0xpbmVBbGlnbm1lbnRPcHRpb25zAQAAAAd2YWx1ZV9fAAgDAAAAAAAAAAGkAAAAbAAAAAAAAAAAAAAAAaUAAAAUAAAAAAAAAAAAAAAAAAAAAAAAAAAAAAAGpgAAAA1DYXRlZ29yeSBheGlzCgmnAAAACaYAAADkAgAA/////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axAAAAASUJZgAAAAAAAAAKAAAAAAA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JsQAAAA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ATwAAAAsAAAACgmyAAAACbMAAAAJBwAAAAkBAAAACbQAAAABPwAAAC8AAAABtQAAACAAAABaNydCzuOVQwG2AAAAIAAAAFo3J0KkLo9BCbcAAAC4AQAA/////wEBCgm4AAAAAQAKAQdAAAAAAAEAAAAFAAAABBVTeXN0ZW0uRHJhd2luZy5Qb2ludEYEAAAAAbkAAAAgAAAAWjcnQr6/NUEBugAAACAAAABGHCxBzuOVQwG7AAAAIAAAAEYcLEG41h5DAbwAAAAgAAAARhwsQaQuj0EBvQAAACAAAABGHCxBvr81QQdBAAAAAAEAAAAFAAAABBdBcGxvcmlzLkJhc2UuQW5jaG9yTW9kZQMAAAABvgAAAJoAAAABAAAAAb8AAACaAAAACAAAAAHAAAAAmgAAAAIAAAABwQAAAJoAAAAGAAAAAcIAAACaAAAABwAAAA9CAAAABQAAAAEAAAAAAQFDAAAAMwAAAAHDAAAAIAAAAFo3J0K+vzVBAcQAAACaAAAAAQAAAAAAAAAAAAAAAAnFAAAAAAAAAAnGAAAAAAAAAccAAACjAAAAAAAAAAHIAAAAbAAAAAAAAAAAAAAAAckAAAAUAAAAAAAAAAAAAAAAAAAAAAAAAAAAAAAGygAAAApWYWx1ZSBheGlzCgnLAAAACcoAAADkAgAA/////wABCgnMAAAAAQAKAQFEAAAAJAAAAAnNAAAABgAAAAYAAAABRQAAACUAAAAJzgAAAAIAAAACAAAAB0YAAAAAAQAAAAAAAAAELkFwbG9yaXMuQ2hhcnQuQ29sdW1uT3JpZW50ZWRDaGFydCtVbnVzZWRTZXJpZXMCAAAABEcAAACXAVN5c3RlbS5Db2xsZWN0aW9ucy5HZW5lcmljLkxpc3RgMVtbQXBsb3Jpcy5DaGFydC5DaGFydERhdGFTZXJpZXMsIEFwbG9yaXMuQ2hhcnQsIFZlcnNpb249NC4yLjAuMTkwOCwgQ3VsdHVyZT1uZXV0cmFsLCBQdWJsaWNLZXlUb2tlbj0xNmZjMTNhMjI2YzBlOTUxXV0DAAAABl9pdGVtcwVfc2l6ZQhfdmVyc2lvbgQAAB9BcGxvcmlzLkNoYXJ0LkNoYXJ0RGF0YVNlcmllc1tdAgAAAAgICc8AAAABAAAADQAAAAFIAAAAJAAAAAnQAAAAAQAAAAUAAAABSQAAACUAAAAJ0QAAAAAAAAAAAAAABEoAAACcAVN5c3RlbS5Db2xsZWN0aW9ucy5HZW5lcmljLkxpc3RgMVtbQXBsb3Jpcy5DaGFydC5Bbm5vdGF0aW9uRGF0YVNlcmllcywgQXBsb3Jpcy5DaGFydCwgVmVyc2lvbj00LjIuMC4xOTA4LCBDdWx0dXJlPW5ldXRyYWwsIFB1YmxpY0tleVRva2VuPTE2ZmMxM2EyMjZjMGU5NTFdXQMAAAAGX2l0ZW1zBV9zaXplCF92ZXJzaW9uBAAAJEFwbG9yaXMuQ2hhcnQuQW5ub3RhdGlvbkRhdGFTZXJpZXNbXQIAAAAICAnSAAAAAAAAAAAAAAABSwAAACQAAAAJ0wAAAAAAAAAAAAAAAUwAAAAlAAAACdEAAAAAAAAAAAAAAARNAAAAlwFTeXN0ZW0uQ29sbGVjdGlvbnMuR2VuZXJpYy5MaXN0YDFbW0FwbG9yaXMuQ2hhcnQuQW5ub3RhdGlvbkdyb3VwLCBBcGxvcmlzLkNoYXJ0LCBWZXJzaW9uPTQuMi4wLjE5MDgsIEN1bHR1cmU9bmV1dHJhbCwgUHVibGljS2V5VG9rZW49MTZmYzEzYTIyNmMwZTk1MV1dAwAAAAZfaXRlbXMFX3NpemUIX3ZlcnNpb24EAAAfQXBsb3Jpcy5DaGFydC5Bbm5vdGF0aW9uR3JvdXBbXQIAAAAICAnUAAAAAAAAAAAAAAABTgAAACQAAAAJ0wAAAAAAAAAAAAAAAU8AAAAlAAAACdEAAAAAAAAAAAAAAARQAAAAlgFTeXN0ZW0uQ29sbGVjdGlvbnMuR2VuZXJpYy5MaXN0YDFbW0FwbG9yaXMuQ2hhcnQuQ2hhcnREYXRhR3JvdXAsIEFwbG9yaXMuQ2hhcnQsIFZlcnNpb249NC4yLjAuMTkwOCwgQ3VsdHVyZT1uZXV0cmFsLCBQdWJsaWNLZXlUb2tlbj0xNmZjMTNhMjI2YzBlOTUxXV0DAAAABl9pdGVtcwVfc2l6ZQhfdmVyc2lvbgQAAB5BcGxvcmlzLkNoYXJ0LkNoYXJ0RGF0YUdyb3VwW10CAAAACAgJ1QAAAAIAAAAGAAAAAVEAAAAkAAAACdYAAAACAAAABAAAAAFSAAAAJQAAAAnRAAAAAAAAAAAAAAAEUwAAAJABU3lzdGVtLkNvbGxlY3Rpb25zLkdlbmVyaWMuTGlzdGAxW1tBcGxvcmlzLkNoYXJ0LkRlbHRhQmFyLCBBcGxvcmlzLkNoYXJ0LCBWZXJzaW9uPTQuMi4wLjE5MDgsIEN1bHR1cmU9bmV1dHJhbCwgUHVibGljS2V5VG9rZW49MTZmYzEzYTIyNmMwZTk1MV1dAwAAAAZfaXRlbXMFX3NpemUIX3ZlcnNpb24EAAAYQXBsb3Jpcy5DaGFydC5EZWx0YUJhcltdAgAAAAgICdcAAAAAAAAAAAAAAAFUAAAAJAAAAAnTAAAAAAAAAAAAAAABVQAAACUAAAAJ0QAAAAAAAAAAAAAABFYAAACTAVN5c3RlbS5Db2xsZWN0aW9ucy5HZW5lcmljLkxpc3RgMVtbQXBsb3Jpcy5DaGFydC5EZWx0YUJyaWRnZSwgQXBsb3Jpcy5DaGFydCwgVmVyc2lvbj00LjIuMC4xOTA4LCBDdWx0dXJlPW5ldXRyYWwsIFB1YmxpY0tleVRva2VuPTE2ZmMxM2EyMjZjMGU5NTFdXQMAAAAGX2l0ZW1zBV9zaXplCF92ZXJzaW9uBAAAG0FwbG9yaXMuQ2hhcnQuRGVsdGFCcmlkZ2VbXQIAAAAICAnYAAAAAAAAAAAAAAABVwAAACQAAAAJ0wAAAAAAAAAAAAAAAVgAAAAlAAAACdEAAAAAAAAAAAAAAARZAAAAkwFTeXN0ZW0uQ29sbGVjdGlvbnMuR2VuZXJpYy5MaXN0YDFbW0FwbG9yaXMuQ2hhcnQuR3Jvd3RoQXJyb3csIEFwbG9yaXMuQ2hhcnQsIFZlcnNpb249NC4yLjAuMTkwOCwgQ3VsdHVyZT1uZXV0cmFsLCBQdWJsaWNLZXlUb2tlbj0xNmZjMTNhMjI2YzBlOTUxXV0DAAAABl9pdGVtcwVfc2l6ZQhfdmVyc2lvbgQAABtBcGxvcmlzLkNoYXJ0Lkdyb3d0aEFycm93W10CAAAACAgJ2QAAAAEAAAADAAAAAVoAAAAkAAAACdoAAAABAAAAAwAAAAFbAAAAJQAAAAnRAAAAAAAAAAAAAAAEXAAAAJoBU3lzdGVtLkNvbGxlY3Rpb25zLkdlbmVyaWMuTGlzdGAxW1tBcGxvcmlzLkNoYXJ0LldhdGVyZmFsbENvbm5lY3RvciwgQXBsb3Jpcy5DaGFydCwgVmVyc2lvbj00LjIuMC4xOTA4LCBDdWx0dXJlPW5ldXRyYWwsIFB1YmxpY0tleVRva2VuPTE2ZmMxM2EyMjZjMGU5NTFdXQMAAAAGX2l0ZW1zBV9zaXplCF92ZXJzaW9uBAAAIkFwbG9yaXMuQ2hhcnQuV2F0ZXJmYWxsQ29ubmVjdG9yW10CAAAACAgJ2wAAAAAAAAAAAAAAAV0AAAAkAAAACdMAAAAAAAAAAAAAAAFeAAAAJQAAAAnRAAAAAAAAAAAAAAAEXwAAAJgBU3lzdGVtLkNvbGxlY3Rpb25zLkdlbmVyaWMuTGlzdGAxW1tBcGxvcmlzLkNoYXJ0LkVsZW1lbnRDb25uZWN0b3IsIEFwbG9yaXMuQ2hhcnQsIFZlcnNpb249NC4yLjAuMTkwOCwgQ3VsdHVyZT1uZXV0cmFsLCBQdWJsaWNLZXlUb2tlbj0xNmZjMTNhMjI2YzBlOTUxXV0DAAAABl9pdGVtcwVfc2l6ZQhfdmVyc2lvbgQAACBBcGxvcmlzLkNoYXJ0LkVsZW1lbnRDb25uZWN0b3JbXQIAAAAICAncAAAAAAAAAAAAAAABYAAAACQAAAAJ0wAAAAAAAAAAAAAAAWEAAAAlAAAACdE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0AAAAJ3gAAAAEAAAD+////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wAAAAngAAAAAQAAAAAAAAAAAAAAAAAAAAABBW8AAAAfQXBsb3Jpcy5CYXNlLk9iamVjdHMuUGVyc0lkRGF0YQIAAAADbUlkC21DdXN0b21EYXRhBwIIAwAAAAnhAAAACeIAAAAFcgAAABpBcGxvcmlzLkJhc2UuT2JqZWN0cy5Db2xvcgcAAAASRGF0YU9iamVjdCttUGFyZW50FURhdGFPYmplY3QrbUNvbnRhaW5lcgVtVHlwZQRtUkdCEG1UaGVtZUNvbG9ySW5kZXgMbUF1dG9VcGRhdGVkCW1Nb2RpZmllZAICAAAAAAAICAgBAQMAAAAKCgAAAAAAAAAADQAAAAABAXMAAAByAAAACgoBAAAAAAAAAP////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i4wLjE5MDgsIEN1bHR1cmU9bmV1dHJhbCwgUHVibGljS2V5VG9rZW49MTZmYzEzYTIyNmMwZTk1MV1dAwAAAAZfaXRlbXMFX3NpemUIX3ZlcnNpb24EAAAZQXBsb3Jpcy5DaGFydC5WYWx1ZUxpbmVbXQIAAAAICAnjAAAAAAAAAAAAAAABiAAAACQAAAAJ0wAAAAAAAAAAAAAAAYkAAAAlAAAACdEAAAAAAAAAAAAAAASKAAAAkQFTeXN0ZW0uQ29sbGVjdGlvbnMuR2VuZXJpYy5MaXN0YDFbW0FwbG9yaXMuQ2hhcnQuQXhpc0JyZWFrLCBBcGxvcmlzLkNoYXJ0LCBWZXJzaW9uPTQuMi4wLjE5MDgsIEN1bHR1cmU9bmV1dHJhbCwgUHVibGljS2V5VG9rZW49MTZmYzEzYTIyNmMwZTk1MV1dAwAAAAZfaXRlbXMFX3NpemUIX3ZlcnNpb24EAAAZQXBsb3Jpcy5DaGFydC5BeGlzQnJlYWtbXQIAAAAICAnkAAAAAAAAAAAAAAABiwAAACQAAAAJ0wAAAAAAAAAAAAAAAYwAAAAlAAAACdEAAAAAAAAAAAAAAASOAAAAkAFTeXN0ZW0uQ29sbGVjdGlvbnMuR2VuZXJpYy5MaXN0YDFbW0FwbG9yaXMuQ2hhcnQuVGlja01hcmssIEFwbG9yaXMuQ2hhcnQsIFZlcnNpb249NC4yLjAuMTkwOCwgQ3VsdHVyZT1uZXV0cmFsLCBQdWJsaWNLZXlUb2tlbj0xNmZjMTNhMjI2YzBlOTUxXV0DAAAABl9pdGVtcwVfc2l6ZQhfdmVyc2lvbgQAABhBcGxvcmlzLkNoYXJ0LlRpY2tNYXJrW10CAAAACAgJ5QAAAAAAAAAAAAAAAY8AAAAkAAAACdMAAAAAAAAAAAAAAAGQAAAAJQAAAAnRAAAAAAAAAAAAAAABkwAAAGoAAAAKCgAAAEA/CeYAAAAJ5wAAAAEAAAD+////AAAAAAEAAAAAAAAAAAAAAAEAAAAAAAAAAAAAAZQAAABvAAAACegAAAAJ6QAAAA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oAAAABAAnrAAAAAaIAAAByAAAACgoBAAAAAAAAAP////8AAQSn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ewAAAAAAAAAAAAAAAGoAAAAbwAAAAntAAAACe4AAAAHqQAAAAABAAAACAAAAAQfQXBsb3Jpcy5CYXNlLk9iamVjdHMuRGF0YU9iamVjdAMAAAAJKQAAAAkqAAAACSsAAAAJLAAAAAknAAAACSgAAAAKCgeqAAAAAAEAAAAEAAAABBxBcGxvcmlzLkJhc2UuVUkuVmlzdWFsT2JqZWN0AwAAAAkvAAAACTMAAAAKCgGrAAAAhwAAAAnjAAAAAAAAAAAAAAABrAAAACQAAAAJ0wAAAAAAAAAAAAAAAa0AAAAlAAAACdEAAAAAAAAAAAAAAAGuAAAAigAAAAnkAAAAAAAAAAAAAAABrwAAACQAAAAJ0wAAAAAAAAAAAAAAAbAAAAAlAAAACdEAAAAAAAAAAAAAAAGyAAAAjgAAAAnvAAAABgAAACgAAAABswAAACQAAAAJ8AAAAAYAAAAoAAAAAbQAAAAlAAAACdEAAAAAAAAAAAAAAAG3AAAAagAAAAoKAAAAQD8J8QAAAAnyAAAAAQAAAP7///8AAAAAAQAAAAAAAAAAAAAAAQAAAAAAAAAAAAABuAAAAG8AAAAJ8wAAAAn0AAAA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9QAAAAEACfYAAAABxgAAAHIAAAAKCgEAAAAAAAAA/////wABAcsAAACnAAAACewAAAAAAAAAAAAAAAHMAAAAbwAAAAn3AAAACfgAAAAHzQAAAAABAAAACAAAAAQfQXBsb3Jpcy5CYXNlLk9iamVjdHMuRGF0YU9iamVjdAMAAAAJOQAAAAk6AAAACTsAAAAJPAAAAAk3AAAACTgAAAAKCgfOAAAAAAEAAAAEAAAABBxBcGxvcmlzLkJhc2UuVUkuVmlzdWFsT2JqZWN0AwAAAAk/AAAACUMAAAAKCgfPAAAAAAEAAAAEAAAABB1BcGxvcmlzLkNoYXJ0LkNoYXJ0RGF0YVNlcmllcwIAAAAJ+QAAAA0DB9AAAAAAAQAAAAQAAAAEH0FwbG9yaXMuQmFzZS5PYmplY3RzLkRhdGFPYmplY3QDAAAACfkAAAANAw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BAAAAAQcQXBsb3Jpcy5DaGFydC5DaGFydERhdGFHcm91cAIAAAAJ+gAAAAn7AAAACgoH1gAAAAABAAAABAAAAAQfQXBsb3Jpcy5CYXNlLk9iamVjdHMuRGF0YU9iamVjdAMAAAAJ+wAAAAn6AAAACgoH1wAAAAABAAAAAAAAAAQWQXBsb3Jpcy5DaGFydC5EZWx0YUJhcgIAAAAH2AAAAAABAAAAAAAAAAQZQXBsb3Jpcy5DaGFydC5EZWx0YUJyaWRnZQIAAAAH2QAAAAABAAAABAAAAAQZQXBsb3Jpcy5DaGFydC5Hcm93dGhBcnJvdwIAAAAJ/AAAAA0DB9oAAAAAAQAAAAQAAAAEH0FwbG9yaXMuQmFzZS5PYmplY3RzLkRhdGFPYmplY3QDAAAACfwAAAANAwfbAAAAAAEAAAAAAAAABCBBcGxvcmlzLkNoYXJ0LldhdGVyZmFsbENvbm5lY3RvcgIAAAAH3AAAAAABAAAAAAAAAAQeQXBsb3Jpcy5DaGFydC5FbGVtZW50Q29ubmVjdG9yAgAAAAHdAAAAcgAAAAoKAAAAAAAAAAANAAAAAAEB3gAAAHIAAAAKCgEAAAAAAAAA/////wABAd8AAAByAAAACgoBAAAA////AP////8AAQHgAAAAcgAAAAoKAQAAAAAAAAD/////AAEP4QAAAAEAAAAIXwAAAAfiAAAAAAEAAAABAAAAAw1TeXN0ZW0uSW50UHRyBP0AAAANU3lzdGVtLkludFB0cgEAAAAFdmFsdWUACQAAAAAAAAAAB+MAAAAAAQAAAAAAAAAEF0FwbG9yaXMuQ2hhcnQuVmFsdWVMaW5lAgAAAAfkAAAAAAEAAAAAAAAABBdBcGxvcmlzLkNoYXJ0LkF4aXNCcmVhawIAAAAH5QAAAAABAAAAAAAAAAQWQXBsb3Jpcy5DaGFydC5UaWNrTWFyawIAAAAF5gAAABpBcGxvcmlzLkJhc2UuT2JqZWN0cy5Db2xvcgcAAAASRGF0YU9iamVjdCttUGFyZW50FURhdGFPYmplY3QrbUNvbnRhaW5lcgVtVHlwZQRtUkdCEG1UaGVtZUNvbG9ySW5kZXgMbUF1dG9VcGRhdGVkCW1Nb2RpZmllZAQCAAAAAAAfQXBsb3Jpcy5CYXNlLk9iamVjdHMuTGluZUZvcm1hdAMAAAAICAgBAQMAAAAJkwAAAAoAAAAAAAAAAA0AAAAAAAXnAAAAGkFwbG9yaXMuQmFzZS5PYmplY3RzLkNvbG9yBwAAABJEYXRhT2JqZWN0K21QYXJlbnQVRGF0YU9iamVjdCttQ29udGFpbmVyBW1UeXBlBG1SR0IQbVRoZW1lQ29sb3JJbmRleAxtQXV0b1VwZGF0ZWQJbU1vZGlmaWVkBAIAAAAAAB9BcGxvcmlzLkJhc2UuT2JqZWN0cy5MaW5lRm9ybWF0AwAAAAgICAEBAwAAAAmTAAAACgEAAAAAAAAA/////wABD+gAAAABAAAACGcAAAAH6QAAAAABAAAAAQAAAAMNU3lzdGVtLkludFB0cgH+AAAA/QAAAAAAAAAAAAAAAeoAAAByAAAACgoAAAAAAAAAAA0AAAAAAQHrAAAAcgAAAAoKAQAAAAAAAAD/////AAEH7AAAAAABAAAAAAAAAAQdQXBsb3Jpcy5CYXNlLk9iamVjdHMuVmFyaWFibGUDAAAAD+0AAAABAAAACGEAAAAH7gAAAAABAAAAAQAAAAMNU3lzdGVtLkludFB0cgH/AAAA/QAAAAAAAAAAAAAAB+8AAAAAAQAAABAAAAAEFkFwbG9yaXMuQ2hhcnQuVGlja01hcmsCAAAACQABAAAJAQEAAAkCAQAACQMBAAAJBAEAAAkFAQAADQoH8AAAAAABAAAAEAAAAAQfQXBsb3Jpcy5CYXNlLk9iamVjdHMuRGF0YU9iamVjdAMAAAAJAAEAAAkBAQAACQIBAAAJAwEAAAkEAQAACQUBAAANCgXxAAAAGkFwbG9yaXMuQmFzZS5PYmplY3RzLkNvbG9yBwAAABJEYXRhT2JqZWN0K21QYXJlbnQVRGF0YU9iamVjdCttQ29udGFpbmVyBW1UeXBlBG1SR0IQbVRoZW1lQ29sb3JJbmRleAxtQXV0b1VwZGF0ZWQJbU1vZGlmaWVkBAIAAAAAAB9BcGxvcmlzLkJhc2UuT2JqZWN0cy5MaW5lRm9ybWF0AwAAAAgICAEBAwAAAAm3AAAACgAAAAAAAAAADQAAAAAABfIAAAAaQXBsb3Jpcy5CYXNlLk9iamVjdHMuQ29sb3IHAAAAEkRhdGFPYmplY3QrbVBhcmVudBVEYXRhT2JqZWN0K21Db250YWluZXIFbVR5cGUEbVJHQhBtVGhlbWVDb2xvckluZGV4DG1BdXRvVXBkYXRlZAltTW9kaWZpZWQEAgAAAAAAH0FwbG9yaXMuQmFzZS5PYmplY3RzLkxpbmVGb3JtYXQDAAAACAgIAQEDAAAACbcAAAAKAQAAAAAAAAD/////AAEP8wAAAAEAAAAIZgAAAAf0AAAAAAEAAAABAAAAAw1TeXN0ZW0uSW50UHRyAQYBAAD9AAAAAAAAAAAAAAAB9QAAAHIAAAAKCgAAAAAAAAAADQAAAAABAfYAAAByAAAACgoBAAAAAAAAAP////8AAQ/3AAAAAQAAAAhgAAAAB/gAAAAAAQAAAAEAAAADDVN5c3RlbS5JbnRQdHIBBwEAAP0AAAAAAAAAAAAAAAX5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Dg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BCAEAABMAAAAAAAAAAgAAAP////8JBwAAAAkJAQAABgoBAAAFQWdyZWUKCgAAAAAAAAAAAAAAAAoKAAkLAQAACQwBAAAJDQEAAAAAAAAAAAAAAAAAAAAAAAAAAAkOAQAACQEAAAAJAQAAAAkPAQAABfo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EAEAAAQyMDE1AAURAQAAHkFwbG9yaXMuQ2hhcnQuQ2hhcnRHcm91cEFuY2hvcgEAAAAHdmFsdWVfXwAIAgAAAAAAAAAKAAAAAAEAAAABAAAACRIBAAAJEwEAAAkUAQAACgkHAAAACRUBAAAJAQAAAAkBAAAACRYBAAAB+wAAAPoAAAAJAQAAAAYXAQAABDIwMTcAARgBAAARAQAAAAAAAAoAAAAAAQAAAAEAAAAJGQEAAAkaAQAACRsBAAAKCQcAAAAJHAEAAAkBAAAACQEAAAAJHQEAAAX8AAAAGUFwbG9yaXMuQ2hhcnQuR3Jvd3RoQXJyb3cRAAAADW1EYXRhRWxlbWVudDENbURhdGFFbGVtZW50MgZtQ2hhcnQObVBvc2l0aW9uSW5kZXgPbVBvc2l0aW9uT2Zmc2V0Em1NYWduaXR1ZGVQcm92aWRlchBtTnVtYmVyRm9ybWF0QWJzFG1OdW1iZXJGb3JtYXRQZXJjZW50BW1MaW5lBm1MYWJlbA9tTGFiZWxQb3NpdGlvbnMRbUxhYmVsQW5jaG9yTW9kZXMObUxhYmVsUG9zaXRpb24YRGF0YU9iamVjdCttQ2hpbGRPYmplY3RzEkRhdGFPYmplY3QrbVBhcmVudBVEYXRhT2JqZWN0K21Db250YWluZXIZRGF0YU9iamVjdCttVmlzdWFsT2JqZWN0cwQEBAAABAQEBAQEBAADBAQDHkFwbG9yaXMuQ2hhcnQuQ2hhcnREYXRhRWxlbWVudAIAAAAeQXBsb3Jpcy5DaGFydC5DaGFydERhdGFFbGVtZW50AgAAACFBcGxvcmlzLkNoYXJ0LkNvbHVtbk9yaWVudGVkQ2hhcnQCAAAACAsnQXBsb3Jpcy5DaGFydC5TdGFuZGFyZE1hZ25pdHVkZVByb3ZpZGVyAgAAABpBcGxvcmlzLkNoYXJ0Lk51bWJlckZvcm1hdAIAAAAaQXBsb3Jpcy5DaGFydC5OdW1iZXJGb3JtYXQCAAAAGkFwbG9yaXMuQmFzZS5VSS5WaXN1YWxMaW5lAwAAABtBcGxvcmlzLkJhc2UuVUkuRnJhbWVkTGFiZWwDAAAAF1N5c3RlbS5EcmF3aW5nLlBvaW50RltdBAAAABlBcGxvcmlzLkJhc2UuQW5jaG9yTW9kZVtdAwAAAAi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eAQAACR8BAAAJAQAAAAAAAAAsdrJBCSABAAAJIQEAAAkiAQAACSMBAAAJJAEAAAklAQAACSYBAAAAAAAACScBAAAJAQAAAAkBAAAACSgBAAAFAA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SkBAAAKCSoBAAAJBwAAAAEAAAAAAAAAAAErAQAAIAAAAFo3J0LO45VDASwBAAAgAAAAWjcXQs7jlUMACS0BAAAJBwAAAAkBAAAACS4BAAABAQEAAAABAAAJLwEAAAoJMAEAAAkHAAAAAZqZmZmZmbk/ATEBAAAgAAAAWjcnQkFnc0MBMgEAACAAAABaNxdCQWdzQwAJMwEAAAkHAAAACQEAAAAJNAEAAAECAQAAAAEAAAk1AQAACgk2AQAACQcAAAABmpmZmZmZyT8BNwEAACAAAABaNydC5gY7QwE4AQAAIAAAAFo3F0LmBjtDAAk5AQAACQcAAAAJAQAAAAk6AQAAAQMBAAAAAQAACTsBAAAKCTwBAAAJBwAAAAEzMzMzMzPTPwE9AQAAIAAAAFo3J0KLpgJDAT4BAAAgAAAAWjcXQoumAkMACT8BAAAJBwAAAAkBAAAACUABAAABBAEAAAABAAAJQQEAAAoJQgEAAAkHAAAAAZqZmZmZmdk/AUMBAAAgAAAAWjcnQl+MlEIBRAEAACAAAABaNxdCX4yUQgAJRQEAAAkHAAAACQEAAAAJRgEAAAEFAQAAAAEAAAlHAQAACglIAQAACQcAAAABAAAAAAAA4D8BSQEAACAAAABaNydCpC6PQQFKAQAAIAAAAFo3F0KkLo9BAAlLAQAACQcAAAAJAQAAAAlMAQAABQkBAACiAUFwbG9yaXMuQmFzZS5PYmplY3RzLkRhdGFPYmplY3RDb2xsZWN0aW9uYDFbW0FwbG9yaXMuQ2hhcnQuQ2hhcnREYXRh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IuMC4xOTA4LCBDdWx0dXJlPW5ldXRyYWwsIFB1YmxpY0tleVRva2VuPTE2ZmMxM2EyMjZjMGU5NTFdXQMAAACYAVN5c3RlbS5Db2xsZWN0aW9ucy5HZW5lcmljLkxpc3RgMVtbQXBsb3Jpcy5DaGFydC5DaGFydERhdGFFbGVtZW50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0BAAAJTgEAAAn5AAAACQEAAAAJTwEAAAULAQAAHEFwbG9yaXMuQ2hhcnQuQ29ubmVjdGVkTGFiZWwl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gAAAApYAgAABVABAAArQXBsb3Jpcy5DaGFydC5Db25uZWN0ZWRMYWJlbCtlQ29ubmVjdG9yTW9kZQEAAAAHdmFsdWVfXwAIAgAAAAEAAAAFUQEAADZBcGxvcmlzLkNoYXJ0LkNvbm5lY3RlZExhYmVsK2VBbmdsZWRDb25uZWN0b3JEaXJlY3Rpb24BAAAAB3ZhbHVlX18ACAIAAAAAAAAAAVIBAAAUAAAA+8qbQ66jWEJUaQZDsJ5yQwVTAQAALUFwbG9yaXMuQ2hhcnQuQ29ubmVjdGVkTGFiZWwrZVRhcmdldEFyZWFTaGFwZQEAAAAHdmFsdWVfXwAIAgAAAAAAAAAAABBBAQFUAQAAIAAAAKX/4kNEeC9DAVUBAACaAAAABAAAAAAAAAAAAAAAAAlWAQAAAAAAAAlXAQAAAAAAAVgBAACjAAAAAAAAAAFZAQAAbAAAAAAAJEIAAIhBAVoBAAAUAAAAAAAAAAAAAAAAAAAAAAAAAF662T8JCgEAAAoJWwEAAAZcAQAAACADAAD/////AAEKCV0BAAABAAoBBwwBAAAAAQAAAAIAAAAEFVN5c3RlbS5EcmF3aW5nLlBvaW50RgQAAAABXgEAACAAAACl/+JDRHgvQwFfAQAAIAAAAFo3E0JX/kdDBw0BAAAAAQAAAAIAAAAEF0FwbG9yaXMuQmFzZS5BbmNob3JNb2RlAwAAAAFgAQAAmgAAAAQAAAABYQEAAJoAAAACAAAAAQ4BAAAkAAAACWIBAAABAAAAAQAAAAEPAQAAJQAAAAljAQAAAQAAAAEAAAAPEgEAAAEAAAAIAAAAAAcTAQAAAAEAAAABAAAABBVBcGxvcmlzLkJhc2UuVUkuTGFiZWwDAAAACWQBAAABFAEAADMAAAABZQEAACAAAAAaIhpDzmOYQwFmAQAAmgAAAAMAAAAAAAAAAAAAAAAJZwEAAAAAAAAJaAEAAAAAAAFpAQAAowAAAAAAAAABagEAAGwAAAAAAAhCAACIQQFrAQAAFAAAACd2CkNO7JdDX3LsQRM7UUFeutk/CRABAAAKCWwBAAAJXAEAACADAAD/////AQEKCW0BAAABAAoBARUBAAAkAAAACdMAAAAAAAAAAAAAAAEWAQAAJQAAAAluAQAAAgAAAAIAAAAPGQEAAAEAAAAIAAAAAAcaAQAAAAEAAAABAAAABBVBcGxvcmlzLkJhc2UuVUkuTGFiZWwDAAAACW8BAAABGwEAADMAAAABcAEAACAAAABQZb1DzmOYQwFxAQAAmgAAAAMAAAAAAAAAAAAAAAAJcgEAAAAAAAAJcwEAAAAAAAF0AQAAowAAAAAAAAABdQEAAGwAAAAAAAhCAACIQQF2AQAAFAAAANiJtUNO7JdDX3LsQRM7UUFeutk/CRcBAAAKCXcBAAAJXAEAACADAAD/////AQEKCXgBAAABAAoBARwBAAAkAAAACdMAAAAAAAAAAAAAAAEdAQAAJQAAAAl5AQAAAgAAAAIAAAAFHgE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l6AQAACXsBAAAKCXwBAAAKCfkAAAAIBg4tsp3vp9Y/CgAAAAAJfQEAAAl+AQAAAAAAAAAJfwEAAAn5AAAACQEAAAAJgAEAAAEfAQAAHgEAAAmBAQAACYIBAAAKCYMBAAAKCfkAAAAIBtNNYhBYOdw/CgEAAAAJhAEAAAmFAQAAAAAAAAAJhgEAAAn5AAAACQEAAAAJhwEAAAUgAQAAJ0FwbG9yaXMuQ2hhcnQuU3RhbmRhcmRNYWduaXR1ZGVQcm92aWRlcgQAAAASbU1hZ25pdHVkZUFic29sdXRlEW1NYWduaXR1ZGVQZXJjZW50Em1BYnNvbHV0ZVZhcmlhYmxlcxFtUGVyY2VudFZhcmlhYmxlcwAABwcICAgIAgAAAAAAAAAAAAAACYgBAAAJiQEAAAUh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ZQXBsb3Jpcy5DaGFydC5Hcm93dGhBcnJvdwIAAAAhQXBsb3Jpcy5DaGFydC5Db2x1bW5PcmllbnRlZENoYXJ0AgAAAAgBCAgBCAgIAgAAAAn8AAAACQEAAAAAAAAAAQaKAQAAAS4DAAAABosBAAABLAaMAQAAAS0GjQEAAAErAQAAAAAKCbEAAAAGjgEAAAhNL2QveXl5eQAAAAAKAAAAAAAAAAAFI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GUFwbG9yaXMuQ2hhcnQuR3Jvd3RoQXJyb3cCAAAAIUFwbG9yaXMuQ2hhcnQuQ29sdW1uT3JpZW50ZWRDaGFydAIAAAAIAQgIAQgICAIAAAAJ/AAAAAkBAAAAAAAAAAAJigEAAAMAAAAJiwEAAAmMAQAACY0BAAABAAAAAAoGjwEAAAElCY4BAAABAAAACgAAAAAAAAAAASMBAAAvAAAAAZABAAAgAAAAGiIaQxdgykIBkQEAACAAAABQZb1DlI9QQgmSAQAAqAIAAP////8BAQoJkwEAAAEACgEFJAEAABtBcGxvcmlzLkJhc2UuVUkuRnJhbWVkTGFiZWwfAAAAC21MaW5lRm9ybWF0C21GaWxsRm9ybWF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0xhYmVsK21DdXN0b21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AABAAEAAAABAQEAAEDAwEAAAAABwIAAAMAH0FwbG9yaXMuQmFzZS5PYmplY3RzLkxpbmVGb3JtYXQDAAAAH0FwbG9yaXMuQmFzZS5PYmplY3RzLkZpbGxGb3JtYXQDAAA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CZQBAAAJlQEAAAGWAQAAIAAAAC47hUPwU5lCAZcBAACaAAAAAAAAAAAAAAAAAAAAAAmYAQAAAAAAAAmZAQAAAAAAAZoBAACjAAAAAAAAAAGbAQAAbAAAAAAA+EEAAIhBAZwBAAAUAAAAAAAAAAAAAAAAAAAAAAAAAAAAAAAGnQEAAAMxMiUKCZ4BAAAJXAEAADQDAAD/////AAEKCZ8BAAABAAoBByUBAAAAAQAAAAEAAAAEFVN5c3RlbS5EcmF3aW5nLlBvaW50RgQAAAABoAEAACAAAAAuO4VD8FOZQgcmAQAAAAEAAAABAAAABBdBcGxvcmlzLkJhc2UuQW5jaG9yTW9kZQMAAAABoQEAAJoAAAAAAAAAAScBAAAkAAAACaIBAAACAAAAAgAAAAEoAQAAJQAAAAmjAQAAAgAAAAIAAAABKQEAAC8AAAABpAEAACAAAABaNydCzuOVQwGlAQAAIAAAAFo3F0LO45VDCaYBAADMAQAA/////wEBCgmnAQAAAQAKAQEqAQAAMwAAAAGoAQAAIAAAAFo3EULO45VDAakBAACaAAAAAgAAAAAAAAAAAAAAAAmqAQAAAAAAAAmrAQAAAAAAAawBAACjAAAAAAAAAAGtAQAAbAAAAAAAsEEAAIhBAa4BAAAUAAAAdmKHQWInkkPBmaJBEztRQV662T8GrwEAAAIwJQoJsAEAAAlcAQAA0AIAAP////8BAQoJsQEAAAEACgEBLQEAACQAAAAJ0wAAAAAAAAAAAAAAAS4BAAAlAAAACbIBAAACAAAAAgAAAAEvAQAALwAAAAGzAQAAIAAAAFo3J0JBZ3NDAbQBAAAgAAAAWjcXQkFnc0MJtQEAAMwBAAD/////AQEKCbYBAAABAAoBATABAAAzAAAAAbcBAAAgAAAAWjcRQkFnc0MBuAEAAJoAAAACAAAAAAAAAAAAAAAACbkBAAAAAAAACboBAAAAAAABuwEAAKMAAAAAAAAAAbwBAABsAAAAAAD4QQAAiEEBvQEAABQAAAD//x9BYidsQzf82UETO1FBXrrZPwa+AQAAAzEwJQoJvwEAAAlcAQAA0AIAAP////8BAQoJwAEAAAEACgEBMwEAACQAAAAJ0wAAAAAAAAAAAAAAATQBAAAlAAAACcEBAAACAAAAAgAAAAE1AQAALwAAAAHCAQAAIAAAAFo3J0LmBjtDAcMBAAAgAAAAWjcXQuYGO0MJxAEAAMwBAAD/////AQEKCcUBAAABAAoBATYBAAAzAAAAAcYBAAAgAAAAWjcRQuYGO0MBxwEAAJoAAAACAAAAAAAAAAAAAAAACcgBAAAAAAAACckBAAAAAAABygEAAKMAAAAAAAAAAcsBAABsAAAAAAD4QQAAiEEBzAEAABQAAAD//x9BEzszQzf82UETO1FBXrrZPwbNAQAAAzIwJQoJzgEAAAlcAQAA0AIAAP////8BAQoJzwEAAAEACgEBOQEAACQAAAAJ0wAAAAAAAAAAAAAAAToBAAAlAAAACdABAAACAAAAAgAAAAE7AQAALwAAAAHRAQAAIAAAAFo3J0KLpgJDAdIBAAAgAAAAWjcXQoumAkMJ0wEAAMwBAAD/////AQEKCdQBAAABAAoBATwBAAAzAAAAAdUBAAAgAAAAWjcRQoumAkMB1gEAAJoAAAACAAAAAAAAAAAAAAAACdcBAAAAAAAACdgBAAAAAAAB2QEAAKMAAAAAAAAAAdoBAABsAAAAAAD4QQAAiEEB2wEAABQAAAD//x9BYif2Qjf82UETO1FBXrrZPwbcAQAAAzMwJQoJ3QEAAAlcAQAA0AIAAP////8BAQoJ3gEAAAEACgEBPwEAACQAAAAJ0wAAAAAAAAAAAAAAAUABAAAlAAAACd8BAAACAAAAAgAAAAFBAQAALwAAAAHgAQAAIAAAAFo3J0JfjJRCAeEBAAAgAAAAWjcXQl+MlEIJ4gEAAMwBAAD/////AQEKCeMBAAABAAoBAUIBAAAzAAAAAeQBAAAgAAAAWjcRQl+MlEIB5QEAAJoAAAACAAAAAAAAAAAAAAAACeYBAAAAAAAACecBAAAAAAAB6AEAAKMAAAAAAAAAAekBAABsAAAAAAD4QQAAiEEB6gEAABQAAAD//x9BndiFQjf82UETO1FBXrrZPwbrAQAAAzQwJQoJ7AEAAAlcAQAA0AIAAP////8BAQoJ7QEAAAEACgEBRQEAACQAAAAJ0wAAAAAAAAAAAAAAAUYBAAAlAAAACe4BAAACAAAAAgAAAAFHAQAALwAAAAHvAQAAIAAAAFo3J0KkLo9BAfABAAAgAAAAWjcXQqQuj0EJ8QEAAMwBAAD/////AQEKCfIBAAABAAoBAUgBAAAzAAAAAfMBAAAgAAAAWjcRQqQuj0EB9AEAAJoAAAACAAAAAAAAAAAAAAAACfUBAAAAAAAACfYBAAAAAAAB9wEAAKMAAAAAAAAAAfgBAABsAAAAAAD4QQAAiEEB+QEAABQAAAD//x9B//8fQTf82UETO1FBXrrZPwb6AQAAAzUwJQoJ+wEAAAlcAQAA0AIAAP////8BAQoJ/AEAAAEACgEBSwEAACQAAAAJ0wAAAAAAAAAAAAAAAUwBAAAlAAAACf0BAAACAAAAAgAAAARN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f4BAAACAAAABgAAAAFOAQAAJAAAAAn/AQAAAgAAAAQAAAABTwEAACUAAAAJ0QAAAAAAAAAAAAAABVY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5AAAACgAAAAAAQEEJcAAAAAlxAAAACQACAAABAAkBAgAAAVcBAAByAAAACgoAAAAA////AA4AAAAAAQFbAQAApwAAAAkCAgAAAQAAAAEAAAABXQEAAG8AAAAJAwIAAAkEAgAAB2IBAAAAAQAAAAQAAAAEH0FwbG9yaXMuQmFzZS5PYmplY3RzLkRhdGFPYmplY3QDAAAACQkBAAANAwdjAQAAAAEAAAAEAAAABBxBcGxvcmlzLkJhc2UuVUkuVmlzdWFsT2JqZWN0AwAAAAkLAQAADQMBZAEAADMAAAABBQIAACAAAAAaIhpDJGrCQgEGAgAAmgAAAAEAAAAAAAAAAAAAAAAJBwIAAAAAAAAJCAIAAAAAAAEJAgAAowAAAAAAAAABCgIAAGwAAAAAANhBAABwQQELAgAAFAAAAAAAAAAAAAAAAAAAAAAAAAASg74/BgwCAAADMzUlCgkNAgAACVwBAAA0AwAA/////wABCgkOAgAAAQAKAQFnAQAAIgAAAAoKAAAAAABAQQlwAAAACXEAAAAJDwIAAAAACRACAAABaAEAAHIAAAAKCgAAAAD///8ADgAAAAABAWwBAACnAAAACRECAAABAAAAAQAAAAFtAQAAbwAAAAkSAgAACRMCAAAHbgEAAAABAAAABAAAAAQcQXBsb3Jpcy5CYXNlLlVJLlZpc3VhbE9iamVjdAMAAAAJFAEAAAlkAQAACgoBbwEAADMAAAABFAIAACAAAABQZb1DrqNAQgEVAgAAmgAAAAEAAAAAAAAAAAAAAAAJFgIAAAAAAAAJFwIAAAAAAAEYAgAAowAAAAAAAAABGQIAAGwAAAAAANhBAABwQQEaAgAAFAAAAAAAAAAAAAAAAAAAAAAAAAASg74/BhsCAAADNDQlCgkcAgAACVwBAAA0AwAA/////wABCgkdAgAAAQAKAQFyAQAAIgAAAAoKAAAAAABAQQlwAAAACXEAAAAJHgIAAAAACR8CAAABcwEAAHIAAAAKCgAAAAD///8ADgAAAAABAXcBAACnAAAACSACAAABAAAAAQAAAAF4AQAAbwAAAAkhAgAACSICAAAHeQEAAAABAAAABAAAAAQcQXBsb3Jpcy5CYXNlLlVJLlZpc3VhbE9iamVjdAMAAAAJGwEAAAlvAQAACgoBegEAAAsBAAAKWAIAAAEjAgAAUAEAAAIAAAABJAIAAFEBAAABAAAAASUCAAAUAAAA4NqtQiRqzkJUaQZDipJBQwEmAgAAUwEAAAAAAAAAAKBAAAEnAgAAIAAAABoiGkNX/kdDASgCAACaAAAAAAAAAAAAAAAAAAAAAAkpAgAAAAAAAAkqAgAAAAAAASsCAACjAAAAAAAAAAEsAgAAbAAAAAAA+EEAAIhBAS0CAAAUAAAAEzsLQ8ROQEM3/NlBEztRQV662T8GLgIAAAMzNSUKCS8CAAAJXAEAADQDAAD/////AQEKCTACAAABAAoBAXsBAAAbAAAAATECAAAgAAAA4NqnQs7jlUMBMgIAACAAAADEVmBDJGrIQgkzAgAACTQCAAAAAAAACgE1AgAAbAAAAAAAAAAAAAAAATYCAABsAAAAAAAAAAAAAAAAAAAAATcCAAAUAAAAAAAAAAAAAAAAAAAAAAAAAKQBAAD/////AQEKCTgCAAABAAoBB3wBAAAAAQAAAAIAAAAEGkFwbG9yaXMuQmFzZS5VSS5WaXN1YWxMaW5lAwAAAAoKB30BAAAAAQAAAAMAAAAEFVN5c3RlbS5EcmF3aW5nLlBvaW50RgQAAAABOQIAACAAAAAaIhpDV/5HQwE6AgAAIAAAAODaoUJX/kdDATsCAAAgAAAAxFZjQ1f+R0MHfgEAAAABAAAAAwAAAAQXQXBsb3Jpcy5CYXNlLkFuY2hvck1vZGUDAAAAATwCAACaAAAAAAAAAAE9AgAAmgAAAAIAAAABPgIAAJoAAAAEAAAAAX8BAAAkAAAACdMAAAAAAAAAAAAAAAGAAQAAJQAAAAk/AgAAAgAAAAIAAAABgQEAAAsBAAAKWAIAAAFAAgAAUAEAAAIAAAABQQIAAFEBAAABAAAAAUICAAAUAAAA+8qbQ66jWEJUaQZDsJ5yQwFDAgAAUwEAAAAAAAAAAKBAAAFEAgAAIAAAAFBlvUNEeC9DAUUCAACaAAAAAAAAAAAAAAAAAAAAAAlGAgAAAAAAAAlHAgAAAAAAAUgCAACjAAAAAAAAAAFJAgAAbAAAAAAA+EEAAIhBAUoCAAAUAAAATuy1QzqxJ0M3/NlBEztRQV662T8GSwIAAAM0NCUKCUwCAAAJXAEAADQDAAD/////AQEKCU0CAAABAAoBAYIBAAAbAAAAAU4CAAAgAAAA+0qaQ87jlUMBTwIAACAAAAClf+BDrqNMQglQAgAACVECAAAAAAAACgFSAgAAbAAAAAAAAAAAAAAAAVMCAABsAAAAAAAAAAAAAAAAAAAAAVQCAAAUAAAAAAAAAAAAAAAAAAAAAAAAAKQBAAD/////AQEKCVUCAAABAAoBB4MBAAAAAQAAAAIAAAAEGkFwbG9yaXMuQmFzZS5VSS5WaXN1YWxMaW5lAwAAAAoKB4QBAAAAAQAAAAMAAAAEFVN5c3RlbS5EcmF3aW5nLlBvaW50RgQAAAABVgIAACAAAABQZb1DRHgvQwFXAgAAIAAAAPvKmENEeC9DAVgCAAAgAAAApf/hQ0R4L0MHhQEAAAABAAAAAwAAAAQXQXBsb3Jpcy5CYXNlLkFuY2hvck1vZGUDAAAAAVkCAACaAAAAAAAAAAFaAgAAmgAAAAIAAAABWwIAAJoAAAAEAAAAAYYBAAAkAAAACdMAAAAAAAAAAAAAAAGHAQAAJQAAAAlcAgAAAgAAAAIAAAAPiAEAAAEAAAAIAQAAAA+JAQAAAwAAAAgCAAAAAwAAAAQAAAABkgEAAGoAAAAKCgAAAABACV0CAAAJXgIAAAEAAAD+////AgAAAAEAAAACAAAAAgAAAAIAAAACAAAAAAAAAZMBAABvAAAACV8CAAAJYAIAAAGUAQAAagAAAAoKAQAAQD8JYQIAAAliAgAAAQAAAP7///8AAAAAAQAAAAAAAAAAAAAAAQAAAAAAAAAAAAEBlQEAAGsAAAAKCgljAgAACWQCAAABAAAAAAAAAAAAAAD/////AAEFm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ZQXBsb3Jpcy5DaGFydC5Hcm93dGhBcnJvdwIAAAABAQELGkFwbG9yaXMuQmFzZS5PYmplY3RzLkNvbG9yAwAAAAEBGkFwbG9yaXMuQmFzZS5PYmplY3RzLkNvbG9yAwAAAAMAAAAJ/AAAAAoAAAAAAEBBCXAAAAAJcQAAAAllAgAAAQAJZgIAAAGZAQAAcgAAAAoKAQAAAAAAAAD/////AAEBngEAAKcAAAAJZwIAAAEAAAABAAAAAZ8BAABvAAAACWgCAAAJaQIAAAeiAQAAAAEAAAAEAAAABB9BcGxvcmlzLkJhc2UuT2JqZWN0cy5EYXRhT2JqZWN0AwAAAAkhAQAACSIBAAAKCgejAQAAAAEAAAAEAAAABBxBcGxvcmlzLkJhc2UuVUkuVmlzdWFsT2JqZWN0AwAAAAkjAQAACSQBAAAKCgGmAQAAagAAAAoKAAAAQD8JagIAAAlrAgAAAQAAAP7///8AAAAAAQAAAAAAAAAAAAAAAQAAAAAAAAAAAAABpwEAAG8AAAAJbAIAAAltAgAAAaoBAAAiAAAACgoAAAAAAEBBCXAAAAAJcQAAAAluAgAAAAAJbwIAAAGrAQAAcgAAAAoKAAAAAP///wAOAAAAAAEBsAEAAKcAAAAJcAIAAAEAAAABAAAAAbEBAABvAAAACXECAAAJcgIAAAeyAQAAAAEAAAAEAAAABBxBcGxvcmlzLkJhc2UuVUkuVmlzdWFsT2JqZWN0AwAAAAkpAQAACSoBAAAKCgG1AQAAagAAAAoKAAAAQD8JcwIAAAl0AgAAAQAAAP7///8AAAAAAQAAAAAAAAAAAAAAAQAAAAAAAAAAAAABtgEAAG8AAAAJdQIAAAl2AgAAAbkBAAAiAAAACgoAAAAAAEBBCXAAAAAJcQAAAAl3AgAAAAAJeAIAAAG6AQAAcgAAAAoKAAAAAP///wAOAAAAAAEBvwEAAKcAAAAJeQIAAAEAAAADAAAAAcABAABvAAAACXoCAAAJewIAAAfBAQAAAAEAAAAEAAAABBxBcGxvcmlzLkJhc2UuVUkuVmlzdWFsT2JqZWN0AwAAAAkvAQAACTABAAAKCgHEAQAAagAAAAoKAAAAQD8JfAIAAAl9AgAAAQAAAP7///8AAAAAAQAAAAAAAAAAAAAAAQAAAAAAAAAAAAABxQEAAG8AAAAJfgIAAAl/AgAAAcgBAAAiAAAACgoAAAAAAEBBCXAAAAAJcQAAAAmAAgAAAAAJgQIAAAHJAQAAcgAAAAoKAAAAAP///wAOAAAAAAEBzgEAAKcAAAAJggIAAAEAAAADAAAAAc8BAABvAAAACYMCAAAJhAIAAAfQAQAAAAEAAAAEAAAABBxBcGxvcmlzLkJhc2UuVUkuVmlzdWFsT2JqZWN0AwAAAAk1AQAACTYBAAAKCgHTAQAAagAAAAoKAAAAQD8JhQIAAAmGAgAAAQAAAP7///8AAAAAAQAAAAAAAAAAAAAAAQAAAAAAAAAAAAAB1AEAAG8AAAAJhwIAAAmIAgAAAdcBAAAiAAAACgoAAAAAAEBBCXAAAAAJcQAAAAmJAgAAAAAJigIAAAHYAQAAcgAAAAoKAAAAAP///wAOAAAAAAEB3QEAAKcAAAAJiwIAAAEAAAADAAAAAd4BAABvAAAACYwCAAAJjQIAAAffAQAAAAEAAAAEAAAABBxBcGxvcmlzLkJhc2UuVUkuVmlzdWFsT2JqZWN0AwAAAAk7AQAACTwBAAAKCgHiAQAAagAAAAoKAAAAQD8JjgIAAAmPAgAAAQAAAP7///8AAAAAAQAAAAAAAAAAAAAAAQAAAAAAAAAAAAAB4wEAAG8AAAAJkAIAAAmRAgAAAeYBAAAiAAAACgoAAAAAAEBBCXAAAAAJcQAAAAmSAgAAAAAJkwIAAAHnAQAAcgAAAAoKAAAAAP///wAOAAAAAAEB7AEAAKcAAAAJlAIAAAEAAAADAAAAAe0BAABvAAAACZUCAAAJlgIAAAfuAQAAAAEAAAAEAAAABBxBcGxvcmlzLkJhc2UuVUkuVmlzdWFsT2JqZWN0AwAAAAlBAQAACUIBAAAKCgHxAQAAagAAAAoKAAAAQD8JlwIAAAmYAgAAAQAAAP7///8AAAAAAQAAAAAAAAAAAAAAAQAAAAAAAAAAAAAB8gEAAG8AAAAJmQIAAAmaAgAAAfUBAAAiAAAACgoAAAAAAEBBCXAAAAAJcQAAAAmbAgAAAAAJnAIAAAH2AQAAcgAAAAoKAAAAAP///wAOAAAAAAEB+wEAAKcAAAAJnQIAAAEAAAADAAAAAfwBAABvAAAACZ4CAAAJnwIAAAf9AQAAAAEAAAAEAAAABBxBcGxvcmlzLkJhc2UuVUkuVmlzdWFsT2JqZWN0AwAAAAlHAQAACUgBAAAKCgf+AQAAAAEAAAAEAAAABB5BcGxvcmlzLkNoYXJ0LkNoYXJ0RGF0YUVsZW1lbnQCAAAACR4BAAAJHwEAAAoKB/8BAAAAAQAAAAQAAAAEH0FwbG9yaXMuQmFzZS5PYmplY3RzLkRhdGFPYmplY3QDAAAACR8BAAAJHgEAAAoKAQACAAByAAAACgoAAAAAAAAAAA0AAAAAAQEBAgAAcgAAAAoKAQAAAAAAAAD/////AAEHAgIAAAABAAAABAAAAAQdQXBsb3Jpcy5CYXNlLk9iamVjdHMuVmFyaWFibGUDAAAABaACAAAdQXBsb3Jpcy5CYXNlLk9iamVjdHMuVmFyaWFibGUCAAAABk51bWJlcghQb3NpdGlvbgAACAgDAAAAAQAAAAAAAAABoQIAAKACAAAAAAAAAAAAAAGiAgAAoAIAAAAAAAAAAAAAAaMCAACgAgAAAAAAAAAAAAAPAwIAAAEAAAAIYgAAAAcEAgAAAAEAAAABAAAAAw1TeXN0ZW0uSW50UHRyAaQCAAD9AAAAAAAAAAAAAAAFB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+gAAAAoAAAAAAEBBCXAAAAAJcQAAAAmlAgAAAQAJpgIAAAEIAgAAcgAAAAoKAAAAAP///wAOAAAAAAEBDQIAAKcAAAAJpwIAAAEAAAADAAAAAQ4CAABvAAAACagCAAAJqQIAAAEPAgAAcgAAAAoKAAAAAAAAAAANAAAAAAABEAIAAHIAAAAKCgAAAAAAAAAADQAAAAABBxECAAAAAQAAAAQAAAAEHUFwbG9yaXMuQmFzZS5PYmplY3RzLlZhcmlhYmxlAwAAAAGqAgAAoAIAAAEAAAAAAAAAAasCAACgAgAAAAAAAAAAAAABrAIAAKACAAAAAAAAAAAAAAGtAgAAoAIAAAAAAAAAAAAADxICAAABAAAACBQAAAAHEwIAAAABAAAAAQAAAAMNU3lzdGVtLkludFB0cgGuAgAA/QAAAAAAAAAAAAAABRY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sAAAAKAAAAAABAQQlwAAAACXEAAAAJrwIAAAEACbACAAABFwIAAHIAAAAKCgAAAAD///8ADgAAAAABARwCAACnAAAACbECAAABAAAAAwAAAAEdAgAAbwAAAAmyAgAACbMCAAABHgIAAHIAAAAKCgAAAAAAAAAADQAAAAAAAR8CAAByAAAACgoAAAAAAAAAAA0AAAAAAQcgAgAAAAEAAAAEAAAABB1BcGxvcmlzLkJhc2UuT2JqZWN0cy5WYXJpYWJsZQMAAAABtAIAAKACAAABAAAAAAAAAAG1AgAAoAIAAAAAAAAAAAAAAbYCAACgAgAAAAAAAAAAAAABtwIAAKACAAAAAAAAAAAAAA8hAgAAAQAAAAgTAAAAByICAAAAAQAAAAEAAAADDVN5c3RlbS5JbnRQdHIBuAIAAP0AAAAAAAAAAAAAAAEpAgAAIgAAAAoKAAAAAABAQQlwAAAACXEAAAAJuQIAAAAACboCAAABKgIAAHIAAAAKCgEAAAByhIwA/////wABAS8CAACnAAAACbsCAAABAAAAAwAAAAEwAgAAbwAAAAm8AgAACb0CAAABMwIAAGoAAAAKCgAAAEA/Cb4CAAAJvwIAAAEAAAD+////AAAAAAEAAAAAAAAAAAAAAAEAAAAAAAAAAAAAATQCAABrAAAACgoJwAIAAAnBAgAAAQAAAP7///8AAAAA/////wAAATgCAABvAAAACcICAAAJwwIAAAc/AgAAAAEAAAAEAAAABBxBcGxvcmlzLkJhc2UuVUkuVmlzdWFsT2JqZWN0AwAAAAl7AQAACXoBAAAKCgFGAgAAIgAAAAoKAAAAAABAQQlwAAAACXEAAAAJxAIAAAAACcUCAAABRwIAAHIAAAAKCgAAAAA/aX4ABQAAAAABAUwCAACnAAAACcYCAAABAAAAAwAAAAFNAgAAbwAAAAnHAgAACcgCAAABUAIAAGoAAAAKCgAAAEA/CckCAAAJygIAAAEAAAD+////AAAAAAEAAAAAAAAAAAAAAAEAAAAAAAAAAAAAAVECAABrAAAACgoJywIAAAnMAgAAAQAAAP7///8AAAAA/////wAAAVUCAABvAAAACc0CAAAJzgIAAAdcAgAAAAEAAAAEAAAABBxBcGxvcmlzLkJhc2UuVUkuVmlzdWFsT2JqZWN0AwAAAAmCAQAACYEBAAAKCgVdAgAAGkFwbG9yaXMuQmFzZS5PYmplY3RzLkNvbG9yBwAAABJEYXRhT2JqZWN0K21QYXJlbnQVRGF0YU9iamVjdCttQ29udGFpbmVyBW1UeXBlBG1SR0IQbVRoZW1lQ29sb3JJbmRleAxtQXV0b1VwZGF0ZWQJbU1vZGlmaWVkBAIAAAAAAB9BcGxvcmlzLkJhc2UuT2JqZWN0cy5MaW5lRm9ybWF0AwAAAAgICAEBAwAAAAmSAQAACgAAAAAAAAAADQAAAAAABV4CAAAaQXBsb3Jpcy5CYXNlLk9iamVjdHMuQ29sb3IHAAAAEkRhdGFPYmplY3QrbVBhcmVudBVEYXRhT2JqZWN0K21Db250YWluZXIFbVR5cGUEbVJHQhBtVGhlbWVDb2xvckluZGV4DG1BdXRvVXBkYXRlZAltTW9kaWZpZWQEAgAAAAAAH0FwbG9yaXMuQmFzZS5PYmplY3RzLkxpbmVGb3JtYXQDAAAACAgIAQEDAAAACZIBAAAKAQAAAAAAAAD/////AAEPXwIAAAEAAAAIbgAAAAdgAgAAAAEAAAABAAAAAw1TeXN0ZW0uSW50UHRyAc8CAAD9AAAAAAAAAAAAAAAFYQIAABpBcGxvcmlzLkJhc2UuT2JqZWN0cy5Db2xvcgcAAAASRGF0YU9iamVjdCttUGFyZW50FURhdGFPYmplY3QrbUNvbnRhaW5lcgVtVHlwZQRtUkdCEG1UaGVtZUNvbG9ySW5kZXgMbUF1dG9VcGRhdGVkCW1Nb2RpZmllZAQCAAAAAAAfQXBsb3Jpcy5CYXNlLk9iamVjdHMuTGluZUZvcm1hdAMAAAAICAgBAQMAAAAJlAEAAAoAAAAAAAAAAA0AAAAAAQViAgAAGkFwbG9yaXMuQmFzZS5PYmplY3RzLkNvbG9yBwAAABJEYXRhT2JqZWN0K21QYXJlbnQVRGF0YU9iamVjdCttQ29udGFpbmVyBW1UeXBlBG1SR0IQbVRoZW1lQ29sb3JJbmRleAxtQXV0b1VwZGF0ZWQJbU1vZGlmaWVkBAIAAAAAAB9BcGxvcmlzLkJhc2UuT2JqZWN0cy5MaW5lRm9ybWF0AwAAAAgICAEBAwAAAAmUAQAACgEAAAAAAAAA/////wABAWMCAAByAAAACgoBAAAA////AP////8AAQFkAgAAcgAAAAoKAQAAAAAAAAD/////AAEBZQIAAHIAAAAKCgAAAAAAAAAADQAAAAABAWYCAAByAAAACgoAAAAAAAAAAA0AAAAAAQdnAgAAAAEAAAAEAAAABB1BcGxvcmlzLkJhc2UuT2JqZWN0cy5WYXJpYWJsZQMAAAAB0AIAAKACAAAEAAAAAAAAAAHRAgAAoAIAAAAAAAAAAAAAAdICAACgAgAAAAAAAAAAAAAB0wIAAKACAAAAAAAAAAAAAA9oAgAAAQAAAAhjAAAAB2kCAAAAAQAAAAEAAAADDVN5c3RlbS5JbnRQdHIB1AIAAP0AAAAAAAAAAAAAAAFqAgAAcgAAAAoKAAAAAAAAAAANAAAAAAAFawIAABpBcGxvcmlzLkJhc2UuT2JqZWN0cy5Db2xvcgcAAAASRGF0YU9iamVjdCttUGFyZW50FURhdGFPYmplY3QrbUNvbnRhaW5lcgVtVHlwZQRtUkdCEG1UaGVtZUNvbG9ySW5kZXgMbUF1dG9VcGRhdGVkCW1Nb2RpZmllZAQCAAAAAAAfQXBsb3Jpcy5CYXNlLk9iamVjdHMuTGluZUZvcm1hdAMAAAAICAgBAQMAAAAJpgEAAAoBAAAAAAAAAP////8AAQ9sAgAAAQAAAAhqAAAAB20CAAAAAQAAAAEAAAADDVN5c3RlbS5JbnRQdHIB1QIAAP0AAAAAAAAAAAAAAAFuAgAAcgAAAAoKAAAAAAAAAAANAAAAAAABbwIAAHIAAAAKCgAAAAAAAAAADQAAAAABB3ACAAAAAQAAAAQAAAAEHUFwbG9yaXMuQmFzZS5PYmplY3RzLlZhcmlhYmxlAwAAAAHWAgAAoAIAAAEAAAAAAAAAAdcCAACgAgAAAAAAAAAAAAAB2AIAAKACAAAAAAAAAAAAAAHZAgAAoAIAAAAAAAAAAAAAD3ECAAABAAAACBEAAAAHcgIAAAABAAAAAQAAAAMNU3lzdGVtLkludFB0cgHaAgAA/QAAAAAAAAAAAAAAAXMCAAByAAAACgoAAAAAAAAAAA0AAAAAAAV0AgAAGkFwbG9yaXMuQmFzZS5PYmplY3RzLkNvbG9yBwAAABJEYXRhT2JqZWN0K21QYXJlbnQVRGF0YU9iamVjdCttQ29udGFpbmVyBW1UeXBlBG1SR0IQbVRoZW1lQ29sb3JJbmRleAxtQXV0b1VwZGF0ZWQJbU1vZGlmaWVkBAIAAAAAAB9BcGxvcmlzLkJhc2UuT2JqZWN0cy5MaW5lRm9ybWF0AwAAAAgICAEBAwAAAAm1AQAACgEAAAAAAAAA/////wABD3UCAAABAAAACG0AAAAHdgIAAAABAAAAAQAAAAMNU3lzdGVtLkludFB0cgHbAgAA/QAAAAAAAAAAAAAAAXcCAAByAAAACgoAAAAAAAAAAA0AAAAAAAF4AgAAcgAAAAoKAAAAAAAAAAANAAAAAAEHeQIAAAABAAAABAAAAAQdQXBsb3Jpcy5CYXNlLk9iamVjdHMuVmFyaWFibGUDAAAAAdwCAACgAgAAAQAAAAAAAAAB3QIAAKACAAAAAAAAAAAAAAHeAgAAoAIAAAAAAAAAAAAAAd8CAACgAgAAAAAAAAAAAAAPegIAAAEAAAAIEgAAAAd7AgAAAAEAAAABAAAAAw1TeXN0ZW0uSW50UHRyAeACAAD9AAAAAAAAAAAAAAABfAIAAHIAAAAKCgAAAAAAAAAADQAAAAAABX0CAAAaQXBsb3Jpcy5CYXNlLk9iamVjdHMuQ29sb3IHAAAAEkRhdGFPYmplY3QrbVBhcmVudBVEYXRhT2JqZWN0K21Db250YWluZXIFbVR5cGUEbVJHQhBtVGhlbWVDb2xvckluZGV4DG1BdXRvVXBkYXRlZAltTW9kaWZpZWQEAgAAAAAAH0FwbG9yaXMuQmFzZS5PYmplY3RzLkxpbmVGb3JtYXQDAAAACAgIAQEDAAAACcQBAAAKAQAAAAAAAAD/////AAEPfgIAAAEAAAAIbAAAAAd/AgAAAAEAAAABAAAAAw1TeXN0ZW0uSW50UHRyAeECAAD9AAAAAAAAAAAAAAABgAIAAHIAAAAKCgAAAAAAAAAADQAAAAAAAYECAAByAAAACgoAAAAAAAAAAA0AAAAAAQeCAgAAAAEAAAAEAAAABB1BcGxvcmlzLkJhc2UuT2JqZWN0cy5WYXJpYWJsZQMAAAAB4gIAAKACAAABAAAAAAAAAAHjAgAAoAIAAAAAAAAAAAAAAeQCAACgAgAAAAAAAAAAAAAB5QIAAKACAAAAAAAAAAAAAA+DAgAAAQAAAAgMAAAAB4QCAAAAAQAAAAEAAAADDVN5c3RlbS5JbnRQdHIB5gIAAP0AAAAAAAAAAAAAAAGFAgAAcgAAAAoKAAAAAAAAAAANAAAAAAAFhgIAABpBcGxvcmlzLkJhc2UuT2JqZWN0cy5Db2xvcgcAAAASRGF0YU9iamVjdCttUGFyZW50FURhdGFPYmplY3QrbUNvbnRhaW5lcgVtVHlwZQRtUkdCEG1UaGVtZUNvbG9ySW5kZXgMbUF1dG9VcGRhdGVkCW1Nb2RpZmllZAQCAAAAAAAfQXBsb3Jpcy5CYXNlLk9iamVjdHMuTGluZUZvcm1hdAMAAAAICAgBAQMAAAAJ0wEAAAoBAAAAAAAAAP////8AAQ+HAgAAAQAAAAhpAAAAB4gCAAAAAQAAAAEAAAADDVN5c3RlbS5JbnRQdHIB5wIAAP0AAAAAAAAAAAAAAAGJAgAAcgAAAAoKAAAAAAAAAAANAAAAAAABigIAAHIAAAAKCgAAAAAAAAAADQAAAAABB4sCAAAAAQAAAAQAAAAEHUFwbG9yaXMuQmFzZS5PYmplY3RzLlZhcmlhYmxlAwAAAAHoAgAAoAIAAAEAAAAAAAAAAekCAACgAgAAAAAAAAAAAAAB6gIAAKACAAAAAAAAAAAAAAHrAgAAoAIAAAAAAAAAAAAAD4wCAAABAAAACA8AAAAHjQIAAAABAAAAAQAAAAMNU3lzdGVtLkludFB0cgHsAgAA/QAAAAAAAAAAAAAAAY4CAAByAAAACgoAAAAAAAAAAA0AAAAAAAWPAgAAGkFwbG9yaXMuQmFzZS5PYmplY3RzLkNvbG9yBwAAABJEYXRhT2JqZWN0K21QYXJlbnQVRGF0YU9iamVjdCttQ29udGFpbmVyBW1UeXBlBG1SR0IQbVRoZW1lQ29sb3JJbmRleAxtQXV0b1VwZGF0ZWQJbU1vZGlmaWVkBAIAAAAAAB9BcGxvcmlzLkJhc2UuT2JqZWN0cy5MaW5lRm9ybWF0AwAAAAgICAEBAwAAAAniAQAACgEAAAAAAAAA/////wABD5ACAAABAAAACGgAAAAHkQIAAAABAAAAAQAAAAMNU3lzdGVtLkludFB0cgHtAgAA/QAAAAAAAAAAAAAAAZICAAByAAAACgoAAAAAAAAAAA0AAAAAAAGTAgAAcgAAAAoKAAAAAAAAAAANAAAAAAEHlAIAAAABAAAABAAAAAQdQXBsb3Jpcy5CYXNlLk9iamVjdHMuVmFyaWFibGUDAAAAAe4CAACgAgAAAQAAAAAAAAAB7wIAAKACAAAAAAAAAAAAAAHwAgAAoAIAAAAAAAAAAAAAAfECAACgAgAAAAAAAAAAAAAPlQIAAAEAAAAIEAAAAAeWAgAAAAEAAAABAAAAAw1TeXN0ZW0uSW50UHRyAfICAAD9AAAAAAAAAAAAAAABlwIAAHIAAAAKCgAAAAAAAAAADQAAAAAABZgCAAAaQXBsb3Jpcy5CYXNlLk9iamVjdHMuQ29sb3IHAAAAEkRhdGFPYmplY3QrbVBhcmVudBVEYXRhT2JqZWN0K21Db250YWluZXIFbVR5cGUEbVJHQhBtVGhlbWVDb2xvckluZGV4DG1BdXRvVXBkYXRlZAltTW9kaWZpZWQEAgAAAAAAH0FwbG9yaXMuQmFzZS5PYmplY3RzLkxpbmVGb3JtYXQDAAAACAgIAQEDAAAACfEBAAAKAQAAAAAAAAD/////AAEPmQIAAAEAAAAIawAAAAeaAgAAAAEAAAABAAAAAw1TeXN0ZW0uSW50UHRyAfMCAAD9AAAAAAAAAAAAAAABmwIAAHIAAAAKCgAAAAAAAAAADQAAAAAAAZwCAAByAAAACgoAAAAAAAAAAA0AAAAAAQedAgAAAAEAAAAEAAAABB1BcGxvcmlzLkJhc2UuT2JqZWN0cy5WYXJpYWJsZQMAAAAB9AIAAKACAAABAAAAAAAAAAH1AgAAoAIAAAAAAAAAAAAAAfYCAACgAgAAAAAAAAAAAAAB9wIAAKACAAAAAAAAAAAAAA+eAgAAAQAAAAgNAAAAB58CAAAAAQAAAAEAAAADDVN5c3RlbS5JbnRQdHIB+AIAAP0AAAAAAAAAAAAAAAGlAgAAcgAAAAoKAAAAAAAAAAANAAAAAAEBpgIAAHIAAAAKCgEAAAAAAAAA/////wABB6cCAAAAAQAAAAQAAAAEHUFwbG9yaXMuQmFzZS5PYmplY3RzLlZhcmlhYmxlAwAAAAH5AgAAoAIAAAEAAAAAAAAAAfoCAACgAgAAAAAAAAAAAAAB+wIAAKACAAAAAAAAAAAAAAH8AgAAoAIAAAAAAAAAAAAAD6gCAAABAAAACGQAAAAHqQIAAAABAAAAAQAAAAMNU3lzdGVtLkludFB0cgH9AgAA/QAAAAAAAAAAAAAAAa8CAAByAAAACgoAAAAAAAAAAA0AAAAAAQGwAgAAcgAAAAoKAQAAAAAAAAD/////AAEHsQIAAAABAAAABAAAAAQdQXBsb3Jpcy5CYXNlLk9iamVjdHMuVmFyaWFibGUDAAAAAf4CAACgAgAAAQAAAAAAAAAB/wIAAKACAAAAAAAAAAAAAAEAAwAAoAIAAAAAAAAAAAAAAQEDAACgAgAAAAAAAAAAAAAPsgIAAAEAAAAIZQAAAAezAgAAAAEAAAABAAAAAw1TeXN0ZW0uSW50UHRyAQIDAAD9AAAAAAAAAAAAAAABuQIAAHIAAAAKCgAAAAD///8ADgAAAAAAAboCAAByAAAACgoAAAAA////AA4AAAAAAQe7AgAAAAEAAAAEAAAABB1BcGxvcmlzLkJhc2UuT2JqZWN0cy5WYXJpYWJsZQMAAAABAwMAAKACAAABAAAAAAAAAAEEAwAAoAIAAAAAAAAAAAAAAQUDAACgAgAAAAAAAAAAAAABBgMAAKACAAAAAAAAAAAAAA+8AgAAAQAAAAgYAAAAB70CAAAAAQAAAAEAAAADDVN5c3RlbS5JbnRQdHIBBwMAAP0AAAAAAAAAAAAAAAW+AgAAGkFwbG9yaXMuQmFzZS5PYmplY3RzLkNvbG9yBwAAABJEYXRhT2JqZWN0K21QYXJlbnQVRGF0YU9iamVjdCttQ29udGFpbmVyBW1UeXBlBG1SR0IQbVRoZW1lQ29sb3JJbmRleAxtQXV0b1VwZGF0ZWQJbU1vZGlmaWVkBAIAAAAAAB9BcGxvcmlzLkJhc2UuT2JqZWN0cy5MaW5lRm9ybWF0AwAAAAgICAEBAwAAAAkzAgAACgAAAAD///8ADgAAAAAABb8CAAAaQXBsb3Jpcy5CYXNlLk9iamVjdHMuQ29sb3IHAAAAEkRhdGFPYmplY3QrbVBhcmVudBVEYXRhT2JqZWN0K21Db250YWluZXIFbVR5cGUEbVJHQhBtVGhlbWVDb2xvckluZGV4DG1BdXRvVXBkYXRlZAltTW9kaWZpZWQEAgAAAAAAH0FwbG9yaXMuQmFzZS5PYmplY3RzLkxpbmVGb3JtYXQDAAAACAgIAQEDAAAACTMCAAAKAQAAAAAAAAD/////AAEBwAIAAHIAAAAKCgEAAAByhIwA/////wAAAcECAAByAAAACgoBAAAA////AP////8AAA/CAgAAAQAAAAgBAAAAB8MCAAAAAQAAAAEAAAADDVN5c3RlbS5JbnRQdHIBCAMAAP0AAAAAAAAAAAAAAAHEAgAAcgAAAAoKAAAAAP///wAOAAAAAAABxQIAAHIAAAAKCgAAAAD///8ADgAAAAABB8YCAAAAAQAAAAQAAAAEHUFwbG9yaXMuQmFzZS5PYmplY3RzLlZhcmlhYmxlAwAAAAEJAwAAoAIAAAEAAAAAAAAAAQoDAACgAgAAAAAAAAAAAAABCwMAAKACAAAAAAAAAAAAAAEMAwAAoAIAAAAAAAAAAAAAD8cCAAABAAAACBUAAAAHyAIAAAABAAAAAQAAAAMNU3lzdGVtLkludFB0cgENAwAA/QAAAAAAAAAAAAAABckCAAAaQXBsb3Jpcy5CYXNlLk9iamVjdHMuQ29sb3IHAAAAEkRhdGFPYmplY3QrbVBhcmVudBVEYXRhT2JqZWN0K21Db250YWluZXIFbVR5cGUEbVJHQhBtVGhlbWVDb2xvckluZGV4DG1BdXRvVXBkYXRlZAltTW9kaWZpZWQEAgAAAAAAH0FwbG9yaXMuQmFzZS5PYmplY3RzLkxpbmVGb3JtYXQDAAAACAgIAQEDAAAACVACAAAKAAAAAP///wAOAAAAAAAFygIAABpBcGxvcmlzLkJhc2UuT2JqZWN0cy5Db2xvcgcAAAASRGF0YU9iamVjdCttUGFyZW50FURhdGFPYmplY3QrbUNvbnRhaW5lcgVtVHlwZQRtUkdCEG1UaGVtZUNvbG9ySW5kZXgMbUF1dG9VcGRhdGVkCW1Nb2RpZmllZAQCAAAAAAAfQXBsb3Jpcy5CYXNlLk9iamVjdHMuTGluZUZvcm1hdAMAAAAICAgBAQMAAAAJUAIAAAoBAAAAAAAAAP////8AAQHLAgAAcgAAAAoKAAAAAD9pfgAFAAAAAAABzAIAAHIAAAAKCgEAAAD///8A/////wAAD80CAAABAAAACAIAAAAHzgIAAAABAAAAAQAAAAMNU3lzdGVtLkludFB0cgEOAwAA/QAAAAAAAAAAAAAACw=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59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3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7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8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09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1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3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7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8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3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5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2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19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2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j0cPJEJ0jJpxXVOj.2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KXgMELzENdB0h4XROTwjEMABB0AAAALU3lzdGVtLkd1aWQLAAAAAl9hAl9iAl9jAl9kAl9lAl9mAl9nAl9oAl9pAl9qAl9rAAAAAAAAAAAAAAAIBwcCAgICAgICAgAAAAAAAAAAAAAAAAAAAAAACgoJHgAAAAAKCgoBAAAAAAAAAP////8BAQEfAAAAFAAAAP//H0H//x9B5WUkRMROnUPmRLpB87oSQ+WlKUTEzqdDBSAAAAAVU3lzdGVtLkRyYXdpbmcuUG9pbnRGAgAAAAF4AXkAAAsLBAAAABgKx0MwWmBDBiEAAAAQd3V1dmFWdDd5dG9NazE0Qw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Cl4DBC82GaQwEuAAAAIAAAANwsIkTzYZpDCS8AAAAJMAAAAAkxAAAACTIAAAAAAAAAAAAAAAAAAAAJMwAAAAAAAAAAAAk0AAAACQEAAAAJAQAAAAk1AAAAAQcAAAAGAAAACQEAAAABNgAAACYAAAAAAAAAzcxMPwAAAAgBAAkBAAAACTcAAAAJOAAAAAEAAAAAAAAAAAEAAAAAAADwPwCamZmZmZnJPwAAACBBAAEJOQAAAAoJOgAAAAk7AAAACTwAAAABPQAAACAAAACl4DBC82GaQwE+AAAAIAAAAKXgMELzENd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Cl4DBC8xDXQQFpAAAAIAAAANwsIkTzYZpDCWoAAAAJawAAAAAAAAAKBWwAAAAUU3lzdGVtLkRyYXdpbmcuU2l6ZUYCAAAABXdpZHRoBmhlaWdodAAACwsEAAAAAAAAAAAAAAABbQAAAGwAAAAAAAAAAAAAAAAAAAABbgAAABQAAAAAAAAAAAAAAAAAAAAAAAAAFAAAAP////8BAQoJbwAAAAEACgEPHgAAAEUn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NCC5nqiAgAASQUAAA8AAAB4bC93b3JrYm9vay54bWykVF1vmzAUfZ+0/4B4pwbzkRAFqjQfWqRpqqaufZwc4wSr/qC2aeim/fddYEm79aXbeMC+tjk+95x7mV92UniPzFiuVeFHF6HvMUV1xdWh8L/cbIKp71lHVEWEVqzwn5j1L8v37+ZHbe53Wt97AKBs4dfONTOELK2ZJPZCN0zBzl4bSRyE5oBsYxipbM2YkwLhMMyQJFz5I8LMvAVD7/ecspWmrWTKjSCGCeKAvq15Y09okr4FThJz3zYB1bIBiB0X3D0NoL4n6Wx7UNqQnYC0uyg9IcP0FbTk1Gir9+4CoNBI8lW+UYiiaEy5nO+5YLej7B5pmk9E9rcI3xPEunXFHasKP4NQH9nzApAwbXPVcgG7eJqG2PdQefbi2vQRMF8Ix4wiji21ciDUL4n/V5QBe1lrsMD7zB5abhg432tTzuFN6Izs7DVxtdcaUfjokRi016KCPNHDEeE6x/U3WuE4ik1UPbpENeprOA3hOSh0g5xsUhpVeTilFzBHLyQnr/38C9EJHXRCIM1Iv5z38z9lKud9Rd9ydrTPovah191xVekjiB5jaJGnc5iEEB6HzTteuRp6KE+T89oHxg+1g8Uk678Dd9CLK4ZegKuG0VNDDSwaoQ23K+IIdF7fLFvwOgLjZxwmZlvBvMc5fUyJoGB8PwwnkzTDcIRqRVtjwPwl7BT+eDvr3EfryjmM4BEv/O+TfJMm+SQLotUiDZIsmgZXUTIJkuVqnVzlabyIpz+ejUj+rfbDHOWn0u+iZHb6ewDxiu1JK9xWkgNbNUApxpNsMuYINH/jmuJ4na7iAKebOFik6zCIshgHWbLBabLEOEnxmavs3kZVEopYR9nwS5qeSMputjC03q68jSAHqPKx0+AkMOrfg4zolEf5EwAA//8DAFBLAwQUAAYACAAAACEAOFc61dEAAABQAQAAFAAAAHhsL3NoYXJlZFN0cmluZ3MueG1sZJCxTsQwEER7JP7B2v7OgQIQsn06ga6kOfgAK9lLLNlr410j8vcYIQpCOfPmNWMOnymqD6wcMlm42Q+gkMY8BZotvL2edg+gWDxNPmZCCysyHNz1lWEW1V1iC4tIedSaxwWT530uSJ1cck1eeqyz5lLRT7wgSor6dhjudPKBQI25kVi4B9UovDd8+s3OcHBG3BnjZTdmkj7HyWhxRn+TH3ryY4uyqkxx3bJzKyViwq7W/7DEIFvjObCfK+K2f8Em1cdtffy71f0R9wUAAP//AwBQSwMEFAAGAAgAAAAhAOdldbjWAAAAuAEAACMAAAB4bC93b3Jrc2hlZXRzL19yZWxzL3NoZWV0MS54bWwucmVsc6yQyWoDMQxA74X+g9E91kwOoZR4cgmFXEP6AcLWLHS8YLlp8vd1KIUMBHrpUdvTk7a7i5/VmbNMMRhodQOKg41uCoOB99Pb6gWUFAqO5hjYwJUFdt3z0/bIM5U6JOOURFVKEANjKekVUezInkTHxKFW+pg9lRrmARPZDxoY102zwXzPgG7BVAdnIB9cC+p0TXXz3+zY95PlfbSfnkN5sALPft5n+qrHVSrlgYsBrdH95OSu3uraC/jYaf2fTjb6m64sjH6Tra7/u2ng4t/dNwAAAP//AwBQSwMEFAAGAAgAAAAhANwGB756BgAA2RsAABMAAAB4bC90aGVtZS90aGVtZTEueG1s7FnLbhs3FN0X6D8Qs0+sp2MZkQNLluw2dmLYStosqRE1w4gzHJCUHe36BQUKpEU3BbrropsA7TelaNOP6CU5kkiL8iN20FdswJY4h/de3sfhJefho1cZQ2dESMrzdlS9X4kQyWM+onnSjp4N+ve2IiQVzkeY8Zy0oxmR0aOdTz95iLdVSjKCYH4ut3E7SpUqtjc2ZAzDWN7nBcnh2ZiLDCv4KpKNkcDnIDdjG7VKZXMjwzSPUI4zEPt0PKYxQQMtMtqZC+8x+JorqQdiJk61aOLNMNjRpKoRcia7TKAzzNoR6Bnx8wF5pSLEsFTwoB1VzE+0sfNwA2+Xk5haM9eZ1zc/5bxywmhSMzpFMlworfYbrQd7C/kGwNQqrtfrdXvVhTwDwHEMK7W2uDIb/a1qZy7TAdmPq7K7lWal4eMd+fUVm1udTqfZKm2xQg3Ifmys4Lcqm43dmoc3IItvruAbnd1ud9PDG5DFb67g+w9amw0fb0Apo/lkBa0D2u+X0heQMWcHQfgWwLcqJXyJgmxYZJdWMea5WpdrGX7JRR8AGsiwojlSs4KMcQxZ3MXZUFAcoQLnXMJApVbpV+rwV/82zKeGVo+3CXbm2aFYrgxpS5CMBS1UO/ocpEYO5MUU7XOV0hgd0iRVVog34wDniTvj3U/f/PnDV+iPX3589/rbMF66+D2SJ19SnF+mAAps6YC337357dc3b7//+vefXwfk7wo8dOEDmhGJnpBzdMIzWJzxjL8CMhQ3mzFIMfVm4BRkB0T3wHUu8MkMsxCuA05wcc8FcEsIuD996dl6moqpogHNj9PMAx5xzjpcBB3wWOtyPDyY5klYuZi6uBOMz0K6uzj3QtybFkCqkLOrvu+mxDPzmOFc4YTkRCH9jE8ICUx7Qann1yMaCy75WKEXFHUwDbpkQIdeIi0nHdAM4jILGQih9nxz9Bx1OAuteo+c+UgoDMwCxg8I89y4j6cKZyGRA5wx1+GHWKUhI09nInZxPakg0glhHPVGRMrQnKcC1usE/TEGOguG/YjNMh8pFJ2EZB5izr3a5pNuirMiaDPNUxf7mZxAimJ0zFUIfsT9CtHfIQ7AG+vC/ZwSL9xXE8EzoDjXpGWC6CdTEYjlPuF+Pc7YGBPDMsD4HpFnNL+M1RkFWr/A6s0PzeofkM/Dom/D5Luw7YXq6eACf6/D/QtZew9P82MChbLKnB9J+yNpR/950l5Xy3dP1Ut2BuJeduemV8/WtupjytipmjFyKE23LmFPGvVh0BwjzFlycXQrUvhYHgw8XCKwmYMEV19QlZ6muIDGvmoOnoksRScSFVxCv2+GzRGYXJBtDrUU2nlzPm3qk4tlDonVER/Z4bp7Ql2IMefVxJyC54rqWsB1ldUf3E5Z1Vq11m3+0qrGNEOK3tIWS4YYri4NBhfehGYHQYsEXt6EiwJtO5yBMCMj7Xd7ep+HRau+0xDJFI9IGSO97tUYVU2Q5rkyT6NAjPRp84oYOdpaWuwttF0nSK66xhp18+jdJkrzI/YySrpuL5Qjy93iZDk6b0etZq0ZoRgX7WgMh2v4mBUQdan7S8wSuKGKlbBpf2Uxm3RdRrMVTssq3JdYv68s2OOBQki1h2VqU8M8KlOA5eYqwNhfa4Jb72oBNtPfw4r6FiTD32YF+NEPLRmPSazcYDsj5i7EAEoq5VNFxGk6OkdDNhUnGMKvUxXWM6ISbkEMI+gvcKGnvW0e+eRcFp17jWZwdhyzIsUl3eoSnVeyhZs6XthgvllrjXmwtqDtZnE3X4op+TtaipvG/7Ol6P0EbiXqIx2BGO6TBUa6XtsRFyrlwEIF3JL1BVymGe6AbIFLYXgMSQW32ua/IGf6v605K8OUtb5ZO6EJEhT2I5UKQo6Blkz2XSGsWu5dViQrBZmMcsyVhTV7SM4IG2gO3NR7e4RSSHXDJiUNGNzF/PO/lxU0THST80/tfGwx37Q90N2BbbHs/Gv2Ig2H9J2toBXc+0xPtaCDSzb2G261lrFWVlxrXnurLeBuCe6UFeRETEXM7CsSvaEO+AlwK4I3Hra9QpDV92zjgTRBWnocQuNkB20yaVG2YSm72ztvo+BevOx0F3qhSt+n072hsxfNma/Oq8XLu8+bObv0sOdrt9MNuBqK9mKJ6vZofpAxgTHv1tzXX3z4EgK9By8apkxJ+wrhFdwkwinDvqqA4rfBNVN3/gIAAP//AwBQSwMEFAAGAAgAAAAhADR8c2G+AgAAXQcAAA0AAAB4bC9zdHlsZXMueG1sxFXJbtswEL0X6D8IvDuyHTuxDEkBvAgIkBYF7AK9UhIlE+EikFRqtei/d0hJttI0yNJDffFwOHzvcWY4Cm+OnHkPRGkqRYQmF2PkEZHJnIoyQl/3yWiBPG2wyDGTgkSoIRrdxB8/hNo0jOwOhBgPIISO0MGYaun7OjsQjvWFrIiAnUIqjg0sVenrShGca3uIM386Hl/5HFOBWoQlz14DwrG6r6tRJnmFDU0po6ZxWMjj2fK2FFLhlIHU42SGsx7bLZ7Ac5opqWVhLgDOl0VBM/JUZeAHPiDFYSGF0V4ma2EiNAVoy7C8F/K7SOwWJLCLikP9w3vADDwT5PlxmEkmlWcgNaCsdQnMSRuzxoymirrAAnPKmtYPFHDUJbSL5BSu57y+FdNKisPUxXWMwYCQipwcSR6hxZ+ce3yQHD9D2YG7Pw0klLHTvWf2iuCIQ8i/IUoksPA6e99UcD8BrdKJdIEvhJcKN5Pp/A0ntGQ0tzrKtcurKtMIJfBbbzuctNs5JeBq1uIPRMeh3yp7Qd+zbNvrIHGob2JzpJDVVKocHl7fT7Z1WlccMlIYW1JFy4MzjKzsOpXGSG6tnOJSCsys7ffHOgOwM8LYzr7Qb8UjgmPhiZon3NxCT8Bbt03Um1CqzmzxuoUlGMK14APcOQh/B+6xOBP8x+O4qlhjW7h/lq/QAu/yUYpOV3kP2OWrwVwZIPGD8j4q7qlKnh0tEfpsRy+DMdVnOq0pM1T8rbAAmh/PvQKtAXU3dpC6NjrxwEZOClwzsz9tRuhsfyI5rTkkqIv6Qh+kcRAROtt3tq8nV46EHM2dhkkG/16taIR+blfXwWabTEeL8Woxml2S+SiYrzaj+Wy92mySYDwdr38NBvs/jHX3+YH2ncyWmsHwV91tO/W7sy9Cg0Wrvx0ooBteSH8L//xdjH8DAAD//wMAUEsDBBQABgAIAAAAIQDy4S+F3wIAAK4HAAAYAAAAeGwvd29ya3NoZWV0cy9zaGVldDEueG1sjFXbbuIwEH1faf/B8ntzhwZEqAq02j6sVO312TgOWE3irG1uf79jGygO3RU8oMQ+PnPOzHgyedg3NdoyqbhoCxwHEUaspaLk7arAP3883+UYKU3aktSiZQU+MIUfpp8/TXZCvqk1YxoBQ6sKvNa6G4ehomvWEBWIjrWwUwnZEA2vchWqTjJS2kNNHSZRNAwbwlvsGMbyFg5RVZyyhaCbhrXakUhWEw361Zp36sS2L2/iKyXZgdeTnguJC7dz5ouzK30Np1IoUemAiiZ00q5djsKR57OhtxhtiHzbdHdA3IG5Ja+5Pli7GDV0/LJqhSTLGiqyjzNCL1SSa/rbdQLTdFJyyK1pCCRZVeDHePyUYRROJ7Z0vzjbqYtnpMnyO6sZ1ayEDsLIdMZSiDcDfIGlCCiVBRhKQjXfsjmr6wLPBtBcf2wQ8wgRwnOIy+dTuGfbTK8SLYlic1H/5qVeQ0xo2pJVZFPr98U8yNMkSuMEiI+b38TuC+OrtYYjsGoTNy4PC6Yo9BIIDRIrgooaIsI/ari5FJBxsnfWXMBLbqUPpgouQaE7ak0siCbTiRQ7BI0IHKoj5prEY2O6wClGdKO0aJwpC/lQESgxDI+GosBHhWZl5laACLQrSPJ2Gk3CLSSOHs/MrxGxj1hcIxIf8XSNSM+IEOydPYK0S4//NWOwNmln6ZkfduYQsbU1CgaR94uf7noy55f4KIjvhyPv17PdQ+c9z4nLZhAPPrYKOb/ZqsH6Vt9JbWVnDuGsRkHad+ZvZ2nv+KK3H6ee8b619GgtSwb/yJBXVOjrm50arO902CuqQ5ycDvLMk9BDz310mud+D/RK6qOzaOih33vW5hwGmr0vQZb46Rr1Cu4GkrvLHVmxr0SueKtQzSo7Me4xkm6kRAE8a9GZOXIPd3wpNNzu09savnwMLi3UF6NKCH1+galXsxWhh+MHB8kxh6kpX0q4eWYknr+0078AAAD//wMAUEsDBBQABgAIAAAAIQCMULy2mgIAAD0HAAAbAAAAeGwvZHJhd2luZ3Mvdm1sRHJhd2luZzEudm1s7FXLbtswELwX6D8QysEXG3o0SVtGMhCkyK0t0PRxDGiJtpiQXEFcy3K+PktKduwiLQLk0EsFSyJ3l8uZ4QjOe6MZ3dbxrojWreWurKURbmZU2YKDJc5KMLwzOnr7ZqyEv1XCcqlKyYfX05r+BWtkX8qDbQwhqhEbHsdGlD+NvgnQfrQqmhOWHLirRSO12MIaWcdlj0UkK4Uh7fOqMqI5yrBKoCiiNIpDi/ioxzzvhpa4bSRTVRHd9gldt5glWcRKgLZy6kEWUZaeJ8k0PCNGPRra2dcQLNYIrIvIJNNEjyVD4dEz6eWIkrbEFu4luwNlHW41tTcKZTtAZITJd2SrVlRKWgyc4b6I0O9cgrWyRA+4iFoa7YgdMNnTOqTk0iQ7i9iw8OSI5wBi0oBTqMBysXCg1ygvPDsj2pWyMy2XyM8/NHgxBhAaniY036gKa55mpzSupVrVyDMff5gpW8mep6FNp5xaKK1wy2tVVdJeGAezTSuaWdieo185YUuldQka2iI6WdIlU8+ahJJooCLOYo2wV9JX0zFRefZUH07ay0jKVbBhYAftFq5ct5IOedRsr/Rvqlqw8ukskFy2gJ6NInnUlfLCk1IzoZF7QBNvLsbySnW7Qr+O8mpludduMs9jyoa6PO742HaY9/xK+6P+RF5lXxd31P17OOAvgKNtWN7zz9DJXwrrK6m1G1j68A059JnwpS1raAdgLJ2y9GzKEnrR/Y5+dPvgxzzu+WEpNbwkRtek7PxaaCdDwS4y0Oz5N9jMU5/xg13wilxj7Dzx8XHsU2G65zd8hqNb/+jU81c6Nc3SY6tmB071Lt451cd3Ts3+O/XfOzXbO5VGp2TU98Gor/Bp8OMzPg3+falPY/rPnD8CAAD//wMAUEsDBBQABgAIAAAAIQBaWfL5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c1OwzAQhO9IvEPke+IkraBYSSoB6okKJFqBuFnrTWsR/8g2pH173FBCUTmuZvbTzG4136ku+UTnpdE1KbKcJKjBCKk3NVmvFumMJD5wLXhnNNZkj57Mm8uLCiwD4/DJGYsuSPRJJGnPwNZkG4JllHrYouI+iw4dxdY4xUMc3YZaDu98g7TM8yuqMHDBA6cHYGpHIjkiBYxI++G6ASCAYocKdfC0yAr66w3olP93YVBOnEqGvY2djnFP2QK+xdG983I09n2f9ZMhRsxf0Nflw/NQNZX6cCtA0lQCGDjkwbimoqdDPFzHfVjGG7cSxe2+WUpwxps2JI9tKwGTtUdX0XNjhA4dmDouJzEW+y7xI71M7u5XC9KUeXGd5rO0LFZlzqYzNr15OwT5C4jZzh7ZfAEAAP//AwBQSwMEFAAGAAgAAAAhAN9SO6ISAQAALQIAABAAAAB4bC9jb21tZW50czEueG1sxFDLTsMwELwj8Q/W3qnTHlBBsatyKELigET5ABNvGkt+RF63Svl6tknDgRM3JMvyjGdnRltvhuDFCTO5FBUsFxUIjE2yLh4UfOx3d2sQVEy0xqeICs5IsNG3N3WTQsBYSLBBJAVdKf2jlNR0GAwtUo+Rf9qUgykM80FSn9FY6hBL8HJVVfcyGBdB1+ZYupRpfgipa/nDXYNeHRU9p4qMrYKnJYhJ9mIVVGxUcGBR5vPG1+fFiL7EyXgFD3BBTfIpCxctDsgza3ZgNu9SLJNsb7oUzMi2Jjh/nujVyMjRtujnnI69sEhNdn3hzVEtOVdyppwqyGvrX4237PMvjd8xO6Q/Vp7LTyufEelv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NCC5nqiAgAASQUAAA8AAAAAAAAAAAAAAAAAAgkAAHhsL3dvcmtib29rLnhtbFBLAQItABQABgAIAAAAIQA4VzrV0QAAAFABAAAUAAAAAAAAAAAAAAAAANELAAB4bC9zaGFyZWRTdHJpbmdzLnhtbFBLAQItABQABgAIAAAAIQDnZXW41gAAALgBAAAjAAAAAAAAAAAAAAAAANQMAAB4bC93b3Jrc2hlZXRzL19yZWxzL3NoZWV0MS54bWwucmVsc1BLAQItABQABgAIAAAAIQDcBge+egYAANkbAAATAAAAAAAAAAAAAAAAAOsNAAB4bC90aGVtZS90aGVtZTEueG1sUEsBAi0AFAAGAAgAAAAhADR8c2G+AgAAXQcAAA0AAAAAAAAAAAAAAAAAlhQAAHhsL3N0eWxlcy54bWxQSwECLQAUAAYACAAAACEA8uEvhd8CAACuBwAAGAAAAAAAAAAAAAAAAAB/FwAAeGwvd29ya3NoZWV0cy9zaGVldDEueG1sUEsBAi0AFAAGAAgAAAAhAIxQvLaaAgAAPQcAABsAAAAAAAAAAAAAAAAAlBoAAHhsL2RyYXdpbmdzL3ZtbERyYXdpbmcxLnZtbFBLAQItABQABgAIAAAAIQBaWfL5OAEAABUCAAARAAAAAAAAAAAAAAAAAGcdAABkb2NQcm9wcy9jb3JlLnhtbFBLAQItABQABgAIAAAAIQDfUjuiEgEAAC0CAAAQAAAAAAAAAAAAAAAAANYfAAB4bC9jb21tZW50czEueG1sUEsBAi0AFAAGAAgAAAAhAF6k9QCLAQAADQMAABAAAAAAAAAAAAAAAAAAFiEAAGRvY1Byb3BzL2FwcC54bWxQSwUGAAAAAA0ADQBYAwAA1y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BbvvK3vvLMg77yw44K044K344OD44KvCXIAAAABAAlzAAAAByMAAAAAAQAAABEAAAAEFFN5c3RlbS5EcmF3aW5nLkNvbG9yBAAAAAV0AAAAFFN5c3RlbS5EcmF3aW5nLkNvbG9yBAAAAAV2YWx1ZQVzdGF0ZQprbm93bkNvbG9yBG5hbWUAAAABCQcHBAAAAAAAAAAAAAAAAAAAAAoBdQAAAHQAAAAAAAD//////wIAAAAKAXYAAAB0AAAA//////////8CAAAACgF3AAAAdAAAAE5BIv//////AgAAAAoBeAAAAHQAAADe3Nv//////wIAAAAKAXkAAAB0AAAAfmk///////8CAAAACgF6AAAAdAAAAIyEcv//////AgAAAAoBewAAAHQAAAAlIe3//////wIAAAAKAXwAAAB0AAAANDtG//////8CAAAACgF9AAAAdAAAAHSYw///////AgAAAAoBfgAAAHQAAAAelPf//////wIAAAAKAX8AAAB0AAAAHpT3//////8CAAAACgGAAAAAdAAAACUh7f//////AgAAAAoBgQAAAHQAAAAAAAD//////wIAAAAKAYIAAAB0AAAA//////////8CAAAACgGDAAAAdAAAAE5BIv//////AgAAAAoBhAAAAHQAAADe3Nv//////wIAAAAKBCQAAACYAVN5c3RlbS5Db2xsZWN0aW9ucy5HZW5lcmljLkxpc3RgMVtbQXBsb3Jpcy5CYXNlLk9iamVjdHMuRGF0YU9iamVjdCwgQXBsb3Jpcy5CYXNlLCBWZXJzaW9uPTQuMi4wLjE5MDgsIEN1bHR1cmU9bmV1dHJhbCwgUHVibGljS2V5VG9rZW49MTZmYzEzYTIyNmMwZTk1MV1dAwAAAAZfaXRlbXMFX3NpemUIX3ZlcnNpb24EAAAhQXBsb3Jpcy5CYXNlLk9iamVjdHMuRGF0YU9iamVjdFtdAwAAAAgICYUAAAAMAAAADgAAAAQlAAAAlQFTeXN0ZW0uQ29sbGVjdGlvbnMuR2VuZXJpYy5MaXN0YDFbW0FwbG9yaXMuQmFzZS5VSS5WaXN1YWxPYmplY3QsIEFwbG9yaXMuQmFzZSwgVmVyc2lvbj00LjIuMC4xOTA4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A4LCBDdWx0dXJlPW5ldXRyYWwsIFB1YmxpY0tleVRva2VuPTE2ZmMxM2EyMjZjMGU5NTFdXQMAAACRAVN5c3RlbS5Db2xsZWN0aW9ucy5HZW5lcmljLkxpc3RgMVtbQXBsb3Jpcy5DaGFydC5WYWx1ZUxpbm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hwAAAAmIAAAACQYAAAAJAQAAAAmJAAAABSgAAACbAUFwbG9yaXMuQmFzZS5PYmplY3RzLkRhdGFPYmplY3RDb2xsZWN0aW9uYDFbW0FwbG9yaXMuQ2hhcnQuQXhpc0JyZWFr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wOCwgQ3VsdHVyZT1uZXV0cmFsLCBQdWJsaWNLZXlUb2tlbj0xNmZjMTNhMjI2YzBlOTUxXV0DAAAAkQFTeXN0ZW0uQ29sbGVjdGlvbnMuR2VuZXJpYy5MaXN0YDFbW0FwbG9yaXMuQ2hhcnQuQXhpc0JyZWF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A4LCBDdWx0dXJlPW5ldXRyYWwsIFB1YmxpY0tleVRva2VuPTE2ZmMxM2EyMjZjMGU5NTFdXQMAAACQAVN5c3RlbS5Db2xsZWN0aW9ucy5HZW5lcmljLkxpc3RgMVtbQXBsb3Jpcy5DaGFydC5UaWNrTWFy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KXgMELzYZpDAZIAAAAgAAAA3CwiRPNhmkMJkwAAALgBAAD/////AQEKCZQAAAABAAoBBzAAAAAAAQAAAAUAAAAEFVN5c3RlbS5EcmF3aW5nLlBvaW50RgQAAAABlQAAACAAAADc7CJE82GaQwGWAAAAIAAAAKXgMELfpqJDAZcAAAAgAAAA5jqtQ9+mokMBmAAAACAAAADcLCJE36aiQwGZAAAAIAAAANzsIkTz4ZxDBzEAAAAAAQAAAAUAAAAEF0FwbG9yaXMuQmFzZS5BbmNob3JNb2RlAwAAAAWaAAAAF0FwbG9yaXMuQmFzZS5BbmNob3JNb2RlAQAAAAd2YWx1ZV9fAAgDAAAABAAAAAGbAAAAmgAAAAUAAAABnAAAAJoAAAADAAAAAZ0AAACaAAAABgAAAAGeAAAAmgAAAAUAAAAPMgAAAAUAAAABAAAAAAEFMwAAABVBcGxvcmlzLkJhc2UuVUkuTGFiZWwdAAAAD21BbmNob3JQb3NpdGlvbgttQW5jaG9yTW9kZQ9tQWRkSW5uZXJNYXJnaW4WbU9mZnNldERpcmVjdGlvbkFuY2hvchdtT2Zmc2V0T3J0aG9nb25hbEFuY2hvcgttVGV4dEZvcm1hdAltUm90YXRpb24KbUJhY2tDb2xvcg1tVXNlQmFja0NvbG9yDm1Vc2VCYWNrZ3JvdW5kEW1DdXN0b21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AAQEBAABAwMB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wAAAAGfAAAAIAAAANzsIkTzYZpDAaAAAACaAAAABAAAAAAAAAAAAAAAAAmhAAAAAAAAAAmiAAAAAAAABaMAAAAqQXBsb3Jpcy5CYXNlLlVJLkxhYmVsK0xpbmVBbGlnbm1lbnRPcHRpb25zAQAAAAd2YWx1ZV9fAAgDAAAAAAAAAAGkAAAAbAAAAAAAAAAAAAAAAaUAAAAUAAAAAAAAAAAAAAAAAAAAAAAAAAAAAAAGpgAAAA1DYXRlZ29yeSBheGlzCgmnAAAACaYAAADkAgAA/////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axAAAAASUJZgAAAAAAAAAKAAAAAAA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JsQAAAA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ATwAAAAsAAAACgmyAAAACbMAAAAJBwAAAAkBAAAACbQAAAABPwAAAC8AAAABtQAAACAAAACl4DBC82GaQwG2AAAAIAAAAKXgMELzENdBCbcAAAC4AQAA/////wEBCgm4AAAAAQAKAQdAAAAAAAEAAAAFAAAABBVTeXN0ZW0uRHJhd2luZy5Qb2ludEYEAAAAAbkAAAAgAAAApeAwQpHpqEEBugAAACAAAAAMPDFB82GaQwG7AAAAIAAAAAw8MUEC0ydDAbwAAAAgAAAADDwxQfMQ10EBvQAAACAAAAAMPDFBkemoQQdBAAAAAAEAAAAFAAAABBdBcGxvcmlzLkJhc2UuQW5jaG9yTW9kZQMAAAABvgAAAJoAAAABAAAAAb8AAACaAAAACAAAAAHAAAAAmgAAAAIAAAABwQAAAJoAAAAGAAAAAcIAAACaAAAABwAAAA9CAAAABQAAAAEAAAAAAQFDAAAAMwAAAAHDAAAAIAAAAKXgMEKR6ahBAcQAAACaAAAAAQAAAAAAAAAAAAAAAAnFAAAAAAAAAAnGAAAAAAAAAccAAACjAAAAAAAAAAHIAAAAbAAAAAAAAAAAAAAAAckAAAAUAAAAAAAAAAAAAAAAAAAAAAAAAAAAAAAGygAAAApWYWx1ZSBheGlzCgnLAAAACcoAAADkAgAA/////wABCgnMAAAAAQAKAQFEAAAAJAAAAAnNAAAABgAAAAYAAAABRQAAACUAAAAJzgAAAAIAAAACAAAAB0YAAAAAAQAAAAAAAAAELkFwbG9yaXMuQ2hhcnQuQ29sdW1uT3JpZW50ZWRDaGFydCtVbnVzZWRTZXJpZXMCAAAABEcAAACXAVN5c3RlbS5Db2xsZWN0aW9ucy5HZW5lcmljLkxpc3RgMVtbQXBsb3Jpcy5DaGFydC5DaGFydERhdGFTZXJpZXMsIEFwbG9yaXMuQ2hhcnQsIFZlcnNpb249NC4yLjAuMTkwOCwgQ3VsdHVyZT1uZXV0cmFsLCBQdWJsaWNLZXlUb2tlbj0xNmZjMTNhMjI2YzBlOTUxXV0DAAAABl9pdGVtcwVfc2l6ZQhfdmVyc2lvbgQAAB9BcGxvcmlzLkNoYXJ0LkNoYXJ0RGF0YVNlcmllc1tdAgAAAAgICc8AAAADAAAADwAAAAFIAAAAJAAAAAnQAAAAAwAAAAMAAAABSQAAACUAAAAJ0QAAAAAAAAAAAAAABEoAAACcAVN5c3RlbS5Db2xsZWN0aW9ucy5HZW5lcmljLkxpc3RgMVtbQXBsb3Jpcy5DaGFydC5Bbm5vdGF0aW9uRGF0YVNlcmllcywgQXBsb3Jpcy5DaGFydCwgVmVyc2lvbj00LjIuMC4xOTA4LCBDdWx0dXJlPW5ldXRyYWwsIFB1YmxpY0tleVRva2VuPTE2ZmMxM2EyMjZjMGU5NTFdXQMAAAAGX2l0ZW1zBV9zaXplCF92ZXJzaW9uBAAAJEFwbG9yaXMuQ2hhcnQuQW5ub3RhdGlvbkRhdGFTZXJpZXNbXQIAAAAICAnSAAAAAAAAAAAAAAABSwAAACQAAAAJ0wAAAAAAAAAAAAAAAUwAAAAlAAAACdEAAAAAAAAAAAAAAARNAAAAlwFTeXN0ZW0uQ29sbGVjdGlvbnMuR2VuZXJpYy5MaXN0YDFbW0FwbG9yaXMuQ2hhcnQuQW5ub3RhdGlvbkdyb3VwLCBBcGxvcmlzLkNoYXJ0LCBWZXJzaW9uPTQuMi4wLjE5MDgsIEN1bHR1cmU9bmV1dHJhbCwgUHVibGljS2V5VG9rZW49MTZmYzEzYTIyNmMwZTk1MV1dAwAAAAZfaXRlbXMFX3NpemUIX3ZlcnNpb24EAAAfQXBsb3Jpcy5DaGFydC5Bbm5vdGF0aW9uR3JvdXBbXQIAAAAICAnUAAAAAAAAAAAAAAABTgAAACQAAAAJ0wAAAAAAAAAAAAAAAU8AAAAlAAAACdEAAAAAAAAAAAAAAARQAAAAlgFTeXN0ZW0uQ29sbGVjdGlvbnMuR2VuZXJpYy5MaXN0YDFbW0FwbG9yaXMuQ2hhcnQuQ2hhcnREYXRhR3JvdXAsIEFwbG9yaXMuQ2hhcnQsIFZlcnNpb249NC4yLjAuMTkwOCwgQ3VsdHVyZT1uZXV0cmFsLCBQdWJsaWNLZXlUb2tlbj0xNmZjMTNhMjI2YzBlOTUxXV0DAAAABl9pdGVtcwVfc2l6ZQhfdmVyc2lvbgQAAB5BcGxvcmlzLkNoYXJ0LkNoYXJ0RGF0YUdyb3VwW10CAAAACAgJ1QAAAAQAAAAEAAAAAVEAAAAkAAAACdYAAAAEAAAABAAAAAFSAAAAJQAAAAnRAAAAAAAAAAAAAAAEUwAAAJABU3lzdGVtLkNvbGxlY3Rpb25zLkdlbmVyaWMuTGlzdGAxW1tBcGxvcmlzLkNoYXJ0LkRlbHRhQmFyLCBBcGxvcmlzLkNoYXJ0LCBWZXJzaW9uPTQuMi4wLjE5MDgsIEN1bHR1cmU9bmV1dHJhbCwgUHVibGljS2V5VG9rZW49MTZmYzEzYTIyNmMwZTk1MV1dAwAAAAZfaXRlbXMFX3NpemUIX3ZlcnNpb24EAAAYQXBsb3Jpcy5DaGFydC5EZWx0YUJhcltdAgAAAAgICdcAAAAAAAAAAAAAAAFUAAAAJAAAAAnTAAAAAAAAAAAAAAABVQAAACUAAAAJ0QAAAAAAAAAAAAAABFYAAACTAVN5c3RlbS5Db2xsZWN0aW9ucy5HZW5lcmljLkxpc3RgMVtbQXBsb3Jpcy5DaGFydC5EZWx0YUJyaWRnZSwgQXBsb3Jpcy5DaGFydCwgVmVyc2lvbj00LjIuMC4xOTA4LCBDdWx0dXJlPW5ldXRyYWwsIFB1YmxpY0tleVRva2VuPTE2ZmMxM2EyMjZjMGU5NTFdXQMAAAAGX2l0ZW1zBV9zaXplCF92ZXJzaW9uBAAAG0FwbG9yaXMuQ2hhcnQuRGVsdGFCcmlkZ2VbXQIAAAAICAnYAAAAAAAAAAAAAAABVwAAACQAAAAJ0wAAAAAAAAAAAAAAAVgAAAAlAAAACdEAAAAAAAAAAAAAAARZAAAAkwFTeXN0ZW0uQ29sbGVjdGlvbnMuR2VuZXJpYy5MaXN0YDFbW0FwbG9yaXMuQ2hhcnQuR3Jvd3RoQXJyb3csIEFwbG9yaXMuQ2hhcnQsIFZlcnNpb249NC4yLjAuMTkwOCwgQ3VsdHVyZT1uZXV0cmFsLCBQdWJsaWNLZXlUb2tlbj0xNmZjMTNhMjI2YzBlOTUxXV0DAAAABl9pdGVtcwVfc2l6ZQhfdmVyc2lvbgQAABtBcGxvcmlzLkNoYXJ0Lkdyb3d0aEFycm93W10CAAAACAgJ2QAAAAAAAAAAAAAAAVoAAAAkAAAACdMAAAAAAAAAAAAAAAFbAAAAJQAAAAnRAAAAAAAAAAAAAAAEXAAAAJoBU3lzdGVtLkNvbGxlY3Rpb25zLkdlbmVyaWMuTGlzdGAxW1tBcGxvcmlzLkNoYXJ0LldhdGVyZmFsbENvbm5lY3RvciwgQXBsb3Jpcy5DaGFydCwgVmVyc2lvbj00LjIuMC4xOTA4LCBDdWx0dXJlPW5ldXRyYWwsIFB1YmxpY0tleVRva2VuPTE2ZmMxM2EyMjZjMGU5NTFdXQMAAAAGX2l0ZW1zBV9zaXplCF92ZXJzaW9uBAAAIkFwbG9yaXMuQ2hhcnQuV2F0ZXJmYWxsQ29ubmVjdG9yW10CAAAACAgJ2gAAAAAAAAAAAAAAAV0AAAAkAAAACdMAAAAAAAAAAAAAAAFeAAAAJQAAAAnRAAAAAAAAAAAAAAAEXwAAAJgBU3lzdGVtLkNvbGxlY3Rpb25zLkdlbmVyaWMuTGlzdGAxW1tBcGxvcmlzLkNoYXJ0LkVsZW1lbnRDb25uZWN0b3IsIEFwbG9yaXMuQ2hhcnQsIFZlcnNpb249NC4yLjAuMTkwOCwgQ3VsdHVyZT1uZXV0cmFsLCBQdWJsaWNLZXlUb2tlbj0xNmZjMTNhMjI2YzBlOTUxXV0DAAAABl9pdGVtcwVfc2l6ZQhfdmVyc2lvbgQAACBBcGxvcmlzLkNoYXJ0LkVsZW1lbnRDb25uZWN0b3JbXQIAAAAICAnbAAAAAAAAAAAAAAABYAAAACQAAAAJ0wAAAAAAAAAAAAAAAWEAAAAlAAAACdE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wAAAAJ3QAAAAEAAAD+////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gAAAAnfAAAAAQAAAAAAAAAAAAAAAAAAAAABBW8AAAAfQXBsb3Jpcy5CYXNlLk9iamVjdHMuUGVyc0lkRGF0YQIAAAADbUlkC21DdXN0b21EYXRhBwIIAwAAAAngAAAACgVyAAAAGkFwbG9yaXMuQmFzZS5PYmplY3RzLkNvbG9yBwAAABJEYXRhT2JqZWN0K21QYXJlbnQVRGF0YU9iamVjdCttQ29udGFpbmVyBW1UeXBlBG1SR0IQbVRoZW1lQ29sb3JJbmRleAxtQXV0b1VwZGF0ZWQJbU1vZGlmaWVkAgIAAAAAAAgICAEBAwAAAAoKAAAAAAAAAAANAAAAAAEBcwAAAHIAAAAKCgEAAAAAAAAA/////wABB4UAAAAAAQAAABAAAAAEH0FwbG9yaXMuQmFzZS5PYmplY3RzLkRhdGFPYmplY3QDAAAACQkAAAAJCgAAAAkLAAAACQwAAAAJEAAAAAkRAAAACQ0AAAAJDgAAAAkPAAAACQcAAAAJBgAAAAkXAAAADQQHhgAAAAABAAAABAAAAAQcQXBsb3Jpcy5CYXNlLlVJLlZpc3VhbE9iamVjdAMAAAAJGwAAAA0DBIcAAACRAVN5c3RlbS5Db2xsZWN0aW9ucy5HZW5lcmljLkxpc3RgMVtbQXBsb3Jpcy5DaGFydC5WYWx1ZUxpbmUsIEFwbG9yaXMuQ2hhcnQsIFZlcnNpb249NC4yLjAuMTkwOCwgQ3VsdHVyZT1uZXV0cmFsLCBQdWJsaWNLZXlUb2tlbj0xNmZjMTNhMjI2YzBlOTUxXV0DAAAABl9pdGVtcwVfc2l6ZQhfdmVyc2lvbgQAABlBcGxvcmlzLkNoYXJ0LlZhbHVlTGluZVtdAgAAAAgICeEAAAAAAAAAAAAAAAGIAAAAJAAAAAnTAAAAAAAAAAAAAAABiQAAACUAAAAJ0QAAAAAAAAAAAAAABIoAAACRAVN5c3RlbS5Db2xsZWN0aW9ucy5HZW5lcmljLkxpc3RgMVtbQXBsb3Jpcy5DaGFydC5BeGlzQnJlYWssIEFwbG9yaXMuQ2hhcnQsIFZlcnNpb249NC4yLjAuMTkwOCwgQ3VsdHVyZT1uZXV0cmFsLCBQdWJsaWNLZXlUb2tlbj0xNmZjMTNhMjI2YzBlOTUxXV0DAAAABl9pdGVtcwVfc2l6ZQhfdmVyc2lvbgQAABlBcGxvcmlzLkNoYXJ0LkF4aXNCcmVha1tdAgAAAAgICeIAAAAAAAAAAAAAAAGLAAAAJAAAAAnTAAAAAAAAAAAAAAABjAAAACUAAAAJ0QAAAAAAAAAAAAAABI4AAACQAVN5c3RlbS5Db2xsZWN0aW9ucy5HZW5lcmljLkxpc3RgMVtbQXBsb3Jpcy5DaGFydC5UaWNrTWFyaywgQXBsb3Jpcy5DaGFydCwgVmVyc2lvbj00LjIuMC4xOTA4LCBDdWx0dXJlPW5ldXRyYWwsIFB1YmxpY0tleVRva2VuPTE2ZmMxM2EyMjZjMGU5NTFdXQMAAAAGX2l0ZW1zBV9zaXplCF92ZXJzaW9uBAAAGEFwbG9yaXMuQ2hhcnQuVGlja01hcmtbXQIAAAAICAnjAAAAAAAAAAAAAAABjwAAACQAAAAJ0wAAAAAAAAAAAAAAAZAAAAAlAAAACdEAAAAAAAAAAAAAAAGTAAAAagAAAAoKAAAAQD8J5AAAAAnlAAAAAQAAAP7///8AAAAAAQAAAAAAAAAAAAAAAQAAAAAAAAAAAAABlAAAAG8AAAAJ5gAAAAoFo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AAAAAJcQAAAAnnAAAAAQAJ6AAAAAGiAAAAcgAAAAoKAQAAAAAAAAD/////AAEEpwAAAJYBU3lzdGVtLkNvbGxlY3Rpb25zLkdlbmVyaWMuTGlzdGAxW1tBcGxvcmlzLkJhc2UuT2JqZWN0cy5WYXJpYWJsZSwgQXBsb3Jpcy5CYXNlLCBWZXJzaW9uPTQuMi4wLjE5MDgsIEN1bHR1cmU9bmV1dHJhbCwgUHVibGljS2V5VG9rZW49MTZmYzEzYTIyNmMwZTk1MV1dAwAAAAZfaXRlbXMFX3NpemUIX3ZlcnNpb24EAAAfQXBsb3Jpcy5CYXNlLk9iamVjdHMuVmFyaWFibGVbXQMAAAAICAnpAAAAAAAAAAAAAAABqAAAAG8AAAAJ6gAAAAoHqQAAAAABAAAACAAAAAQfQXBsb3Jpcy5CYXNlLk9iamVjdHMuRGF0YU9iamVjdAMAAAAJKQAAAAkqAAAACSsAAAAJLAAAAAknAAAACSgAAAAKCgeqAAAAAAEAAAAEAAAABBxBcGxvcmlzLkJhc2UuVUkuVmlzdWFsT2JqZWN0AwAAAAkvAAAACTMAAAAKCgGrAAAAhwAAAAnhAAAAAAAAAAAAAAABrAAAACQAAAAJ0wAAAAAAAAAAAAAAAa0AAAAlAAAACdEAAAAAAAAAAAAAAAGuAAAAigAAAAniAAAAAAAAAAAAAAABrwAAACQAAAAJ0wAAAAAAAAAAAAAAAbAAAAAlAAAACdEAAAAAAAAAAAAAAAGyAAAAjgAAAAnrAAAABgAAACYAAAABswAAACQAAAAJ7AAAAAYAAAAmAAAAAbQAAAAlAAAACdEAAAAAAAAAAAAAAAG3AAAAagAAAAoKAAAAQD8J7QAAAAnuAAAAAQAAAP7///8AAAAAAQAAAAAAAAAAAAAAAQAAAAAAAAAAAAABuAAAAG8AAAAJ7wAAAAoFx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AAAAAJcQAAAAnwAAAAAQAJ8QAAAAHGAAAAcgAAAAoKAQAAAAAAAAD/////AAEBywAAAKcAAAAJ6QAAAAAAAAAAAAAAAcwAAABvAAAACfIAAAAKB80AAAAAAQAAAAgAAAAEH0FwbG9yaXMuQmFzZS5PYmplY3RzLkRhdGFPYmplY3QDAAAACTkAAAAJOgAAAAk7AAAACTwAAAAJNwAAAAk4AAAACgoHzgAAAAABAAAABAAAAAQcQXBsb3Jpcy5CYXNlLlVJLlZpc3VhbE9iamVjdAMAAAAJPwAAAAlDAAAACgoHzwAAAAABAAAABAAAAAQdQXBsb3Jpcy5DaGFydC5DaGFydERhdGFTZXJpZXMCAAAACfMAAAAJ9AAAAAn1AAAACgfQAAAAAAEAAAAEAAAABB9BcGxvcmlzLkJhc2UuT2JqZWN0cy5EYXRhT2JqZWN0AwAAAAnzAAAACfQAAAAJ9QAAAAo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QAAAAEHEFwbG9yaXMuQ2hhcnQuQ2hhcnREYXRhR3JvdXACAAAACfYAAAAJ9wAAAAn4AAAACfkAAAAH1gAAAAABAAAABAAAAAQfQXBsb3Jpcy5CYXNlLk9iamVjdHMuRGF0YU9iamVjdAMAAAAJ9gAAAAn3AAAACfgAAAAJ+QAAAA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/////wABAd4AAAByAAAACgoBAAAA////AP////8AAQHfAAAAcgAAAAoKAQAAAAAAAAD/////AAEP4AAAAAEAAAAIAAAAAAfhAAAAAAEAAAAAAAAABBdBcGxvcmlzLkNoYXJ0LlZhbHVlTGluZQIAAAAH4gAAAAABAAAAAAAAAAQXQXBsb3Jpcy5DaGFydC5BeGlzQnJlYWsCAAAAB+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////8AAQ/mAAAAAQAAAAg8AAAAAecAAAByAAAACgoAAAAAAAAAAA0AAAAAAQHoAAAAcgAAAAoKAQAAAAAAAAD/////AAEH6QAAAAABAAAAAAAAAAQdQXBsb3Jpcy5CYXNlLk9iamVjdHMuVmFyaWFibGUDAAAAD+oAAAABAAAACAAAAAAH6wAAAAABAAAAEAAAAAQWQXBsb3Jpcy5DaGFydC5UaWNrTWFyawIAAAAJ+gAAAAn7AAAACfwAAAAJ/QAAAAn+AAAACf8AAAANCgfsAAAAAAEAAAAQAAAABB9BcGxvcmlzLkJhc2UuT2JqZWN0cy5EYXRhT2JqZWN0AwAAAAn6AAAACfsAAAAJ/AAAAAn9AAAACf4AAAAJ/wAAAA0KBe0AAAAaQXBsb3Jpcy5CYXNlLk9iamVjdHMuQ29sb3IHAAAAEkRhdGFPYmplY3QrbVBhcmVudBVEYXRhT2JqZWN0K21Db250YWluZXIFbVR5cGUEbVJHQhBtVGhlbWVDb2xvckluZGV4DG1BdXRvVXBkYXRlZAltTW9kaWZpZWQEAgAAAAAAH0FwbG9yaXMuQmFzZS5PYmplY3RzLkxpbmVGb3JtYXQDAAAACAgIAQEDAAAACbcAAAAKAAAAAAAAAAANAAAAAAAF7gAAABpBcGxvcmlzLkJhc2UuT2JqZWN0cy5Db2xvcgcAAAASRGF0YU9iamVjdCttUGFyZW50FURhdGFPYmplY3QrbUNvbnRhaW5lcgVtVHlwZQRtUkdCEG1UaGVtZUNvbG9ySW5kZXgMbUF1dG9VcGRhdGVkCW1Nb2RpZmllZAQCAAAAAAAfQXBsb3Jpcy5CYXNlLk9iamVjdHMuTGluZUZvcm1hdAMAAAAICAgBAQMAAAAJtwAAAAoBAAAAAAAAAP////8AAQ/vAAAAAQAAAAg9AAAAAfAAAAByAAAACgoAAAAAAAAAAA0AAAAAAQHxAAAAcgAAAAoKAQAAAAAAAAD/////AAEP8gAAAAEAAAAIAAAAAAXz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Dg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BAAEAABMAAAAAAAAAAgAAAP////8JBwAAAAkBAQAABgIBAAAIRGlzYWdyZWUKCgAAAAAAAAAAAAAAAAoKAAkDAQAACQQBAAAJBQEAAAAAAAAAAAAAAAAAAAAAAAAAAAkGAQAACQEAAAAJAQAAAAkHAQAAAfQAAADzAAAACQEAAAABCAEAABMAAAAAAAAAAwAAAP////8JBwAAAAkJAQAABgoBAAAHTmV1dHJhbAoKAAAAAAAAAAAAAAAACgoACQsBAAAJDAEAAAkNAQAAAAAAAAABAAAAAAAAAAAAAAAACQ4BAAAJAQAAAAkBAAAACQ8BAAAB9QAAAPMAAAAJAQAAAAEQAQAAEwAAAAAAAAAEAAAA/////wkHAAAACREBAAAGEgEAAAVBZ3JlZQoKAAAAAAAAAAAAAAAACgoACRMBAAAJFAEAAAkVAQAAAAAAAAACAAAAAAAAAAAAAAAACRYBAAAJAQAAAAkBAAAACRcBAAAF9g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YYAQAADlNlbGYtY29udGFpbmVkAAUZAQAAHkFwbG9yaXMuQ2hhcnQuQ2hhcnRHcm91cEFuY2hvcgEAAAAHdmFsdWVfXwAIAgAAAAAAAAAKAAAAAAEAAAABAAAACRoBAAAJGwEAAAkcAQAACgkHAAAACR0BAAAJAQAAAAkBAAAACR4BAAAB9wAAAPYAAAAJAQAAAAYfAQAADEZhY3VsdHkgb25seQABIAEAABkBAAAAAAAACgAAAAABAAAAAQAAAAkhAQAACSIBAAAJIwEAAAoJBwAAAAkkAQAACQEAAAAJAQAAAAklAQAAAfgAAAD2AAAACQEAAAAGJgEAAA1TdXBwbGVtZW50YXJ5AAEnAQAAGQEAAAAAAAAKAAAAAAEAAAABAAAACSgBAAAJKQEAAAkqAQAACgkHAAAACSsBAAAJAQAAAAkBAAAACSwBAAAB+QAAAPYAAAAJAQAAAAYtAQAABVNwbGl0AAEuAQAAGQEAAAAAAAAKAAAAAAEAAAABAAAACS8BAAAJMAEAAAkxAQAACgkHAAAACTIBAAAJAQAAAAkBAAAACTMBAAAF+g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TQBAAAKCTUBAAAJBwAAAAEAAAAAAAAAAAE2AQAAIAAAAKXgMELzYZpDATcBAAAgAAAApeAgQvNhmkMACTgBAAAJBwAAAAkBAAAACTkBAAAB+wAAAPoAAAAJOgEAAAoJOwEAAAkHAAAAAZqZmZmZmck/ATwBAAAgAAAApeAwQotjfEMBPQEAACAAAACl4CBCi2N8QwAJPgEAAAkHAAAACQEAAAAJPwEAAAH8AAAA+gAAAAlAAQAACglBAQAACQcAAAABmpmZmZmZ2T8BQgEAACAAAACl4DBCMANEQwFDAQAAIAAAAKXgIEIwA0RDAAlEAQAACQcAAAAJAQAAAAlFAQAAAf0AAAD6AAAACUYBAAAKCUcBAAAJBwAAAAEzMzMzMzPjPwFIAQAAIAAAAKXgMELVogtDAUkBAAAgAAAApeAgQtWiC0MACUoBAAAJBwAAAAkBAAAACUsBAAAB/gAAAPoAAAAJTAEAAAoJTQEAAAkHAAAAAZqZmZmZmek/AU4BAAAgAAAApeAwQvOEpkIBTwEAACAAAACl4CBC84SmQgAJUAEAAAkHAAAACQEAAAAJUQEAAAH/AAAA+gAAAAlSAQAACglTAQAACQcAAAABAAAAAAAA8D8BVAEAACAAAACl4DBC8xDXQQFVAQAAIAAAAKXgIELzENdBAAlWAQAACQcAAAAJAQAAAAlXAQAABQEBAACiAUFwbG9yaXMuQmFzZS5PYmplY3RzLkRhdGFPYmplY3RDb2xsZWN0aW9uYDFbW0FwbG9yaXMuQ2hhcnQuQ2hhcnREYXRh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IuMC4xOTA4LCBDdWx0dXJlPW5ldXRyYWwsIFB1YmxpY0tleVRva2VuPTE2ZmMxM2EyMjZjMGU5NTFdXQMAAACYAVN5c3RlbS5Db2xsZWN0aW9ucy5HZW5lcmljLkxpc3RgMVtbQXBsb3Jpcy5DaGFydC5DaGFydERhdGFFbGVtZW50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gBAAAJWQEAAAnzAAAACQEAAAAJWgEAAAUDAQAAHEFwbG9yaXMuQ2hhcnQuQ29ubmVjdGVkTGFiZWwl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gAAAApYAgAABVsBAAArQXBsb3Jpcy5DaGFydC5Db25uZWN0ZWRMYWJlbCtlQ29ubmVjdG9yTW9kZQEAAAAHdmFsdWVfXwAIAgAAAAEAAAAFXAEAADZBcGxvcmlzLkNoYXJ0LkNvbm5lY3RlZExhYmVsK2VBbmdsZWRDb25uZWN0b3JEaXJlY3Rpb24BAAAAB3ZhbHVlX18ACAIAAAAAAAAAAV0BAAAUAAAAmjoERPMQ70GA5rBCECERQgVeAQAALUFwbG9yaXMuQ2hhcnQuQ29ubmVjdGVkTGFiZWwrZVRhcmdldEFyZWFTaGFwZQEAAAAHdmFsdWVfXwAIAgAAAAAAAAAAABBBAQFfAQAAIAAAAGpXHEQCGUBCAWABAACaAAAABAAAAAAAAAAAAAAAAAlhAQAAAAAAAAliAQAAAAAAAWMBAACjAAAAAAAAAAFkAQAAbAAAAAAAWEIAAHBBAWUBAAAUAAAA7MQbRGInJkKTDzJCiZ04QRKDvj8JAgEAAAoJZgEAAAZnAQAAACADAAD/////AQEKCWgBAAABAAoBBwQBAAAAAQAAAAIAAAAEFVN5c3RlbS5EcmF3aW5nLlBvaW50RgQAAAABaQEAACAAAABqVxxEAhlAQgFqAQAAIAAAAKXgHEI2FyFCBwUBAAAAAQAAAAIAAAAEF0FwbG9yaXMuQmFzZS5BbmNob3JNb2RlAwAAAAFrAQAAmgAAAAQAAAABbAEAAJoAAAACAAAAAQYBAAAkAAAACW0BAAABAAAAAQAAAAEHAQAAJQAAAAluAQAAAQAAAAEAAAABCQEAAAEBAAAKCW8BAAAJcAEAAAn0AAAACQEAAAAJcQEAAAELAQAAAwEAAApYAgAAAXIBAABbAQAAAQAAAAFzAQAAXAEAAAAAAAABdAEAABQAAACaOgRExVSQQoDmsELXKeRCAXUBAABeAQAAAAAAAAAAEEEBAXYBAAAgAAAAalccRNg0AUMBdwEAAJoAAAAEAAAAAAAAAAAAAAAACXgBAAAAAAAACXkBAAAAAAABegEAAKMAAAAAAAAAAXsBAABsAAAAAAAsQgAAcEEBfAEAABQAAADsxBtEiZ30QvU2EEKJnThBEoO+PwkKAQAACgl9AQAACWcBAAAgAwAA/////wEBCgl+AQAAAQAKAQcMAQAAAAEAAAACAAAABBVTeXN0ZW0uRHJhd2luZy5Qb2ludEYEAAAAAX8BAAAgAAAAalccRNg0AUMBgAEAACAAAACl4BxCv4bFQgcNAQAAAAEAAAACAAAABBdBcGxvcmlzLkJhc2UuQW5jaG9yTW9kZQMAAAABgQEAAJoAAAAEAAAAAYIBAACaAAAAAgAAAAEOAQAAJAAAAAmDAQAAAQAAAAEAAAABDwEAACUAAAAJhAEAAAEAAAABAAAAAREBAAABAQAACgmFAQAACYYBAAAJ9QAAAAkBAAAACYcBAAABEwEAAAMBAAAKWAIAAAGIAQAAWwEAAAEAAAABiQEAAFwBAAAAAAAAAYoBAAAUAAAAmjoERE4/QEOA5rBCMAnjQgGLAQAAXgEAAAAAAAAAABBBAQGMAQAAIAAAAGpXHESaAXlDAY0BAACaAAAABAAAAAAAAAAAAAAAAAmOAQAAAAAAAAmPAQAAAAAAAZABAACjAAAAAAAAAAGRAQAAbAAAAAAAEEIAAHBBAZIBAAAUAAAA7MQbRMROckM6WvVBiZ04QRKDvj8JEgEAAAoJkwEAAAlnAQAAIAMAAP////8BAQoJlAEAAAEACgEHFAEAAAABAAAAAgAAAAQVU3lzdGVtLkRyYXdpbmcuUG9pbnRGBAAAAAGVAQAAIAAAAGpXHESaAXlDAZYBAAAgAAAApeAcQpRQYkMHFQEAAAABAAAAAgAAAAQXQXBsb3Jpcy5CYXNlLkFuY2hvck1vZGUDAAAAAZcBAACaAAAABAAAAAGYAQAAmgAAAAIAAAABFgEAACQAAAAJmQEAAAEAAAABAAAAARcBAAAlAAAACZoBAAABAAAAAQAAAA8aAQAAAQAAAAgAAAAABxsBAAAAAQAAAAEAAAAEFUFwbG9yaXMuQmFzZS5VSS5MYWJlbAMAAAAJmwEAAAEcAQAAMwAAAAGcAQAAIAAAACSP70Lz4ZxDAZ0BAACaAAAAAwAAAAAAAAAAAAAAAAmeAQAAAAAAAAmfAQAAAAAAAaABAACjAAAAAAAAAAGhAQAAbAAAAAAArkIAAHBBAaIBAAAUAAAAOrGnQtiJnEO1zItCiZ04QRKDvj8JGAEAAAoJowEAAAlnAQAAIAMAAP////8BAQoJpAEAAAEACgEBHQEAACQAAAAJ0wAAAAAAAAAAAAAAAR4BAAAlAAAACaUBAAACAAAAAgAAAA8hAQAAAQAAAAgAAAAAByIBAAAAAQAAAAEAAAAEFUFwbG9yaXMuQmFzZS5VSS5MYWJlbAMAAAAJpgEAAAEjAQAAMwAAAAGnAQAAIAAAADJzh0Pz4ZxDAagBAACaAAAAAwAAAAAAAAAAAAAAAAmpAQAAAAAAAAmqAQAAAAAAAasBAACjAAAAAAAAAAGsAQAAbAAAAAAAkEIAAHBBAa0BAAAUAAAA68RwQ9iJnEMJcmlCiZ04QRKDvj8JHwEAAAoJrgEAAAlnAQAAIAMAAP////8BAQoJrwEAAAEACgEBJAEAACQAAAAJ0wAAAAAAAAAAAAAAASUBAAAlAAAACbABAAACAAAAAgAAAA8oAQAAAQAAAAgAAAAABykBAAAAAQAAAAEAAAAEFUFwbG9yaXMuQmFzZS5VSS5MYWJlbAMAAAAJsQEAAAEqAQAAMwAAAAGyAQAAIAAAAJsC00Pz4ZxDAbMBAACaAAAAAwAAAAAAAAAAAAAAAAm0AQAAAAAAAAm1AQAAAAAAAbYBAACjAAAAAAAAAAG3AQAAbAAAAAAAtkIAAHBBAbgBAAAUAAAAxE7AQ9iJnEMY9JFCiZ04QRKDvj8JJgEAAAoJuQEAAAlnAQAAIAMAAP////8BAQoJugEAAAEACgEBKwEAACQAAAAJ0wAAAAAAAAAAAAAAASwBAAAlAAAACbsBAAACAAAAAgAAAA8vAQAAAQAAAAgAAAAABzABAAAAAQAAAAEAAAAEFUFwbG9yaXMuQmFzZS5VSS5MYWJlbAMAAAAJvAEAAAExAQAAMwAAAAG9AQAAIAAAAAJJD0Tz4ZxDAb4BAACaAAAAAwAAAAAAAAAAAAAAAAm/AQAAAAAAAAnAAQAAAAAAAcEBAACjAAAAAAAAAAHCAQAAbAAAAAAA0EEAAHBBAcMBAAAUAAAAOzEMRNiJnENi0LdBiZ04QRKDvj8JLQEAAAoJxAEAAAlnAQAAIAMAAP////8BAQoJxQEAAAEACgEBMgEAACQAAAAJ0wAAAAAAAAAAAAAAATMBAAAlAAAACcYBAAACAAAAAgAAAAE0AQAALwAAAAHHAQAAIAAAAKXgMELzYZpDAcgBAAAgAAAApeAgQvNhmkMJyQEAAMwBAAD/////AQEKCcoBAAABAAoBATUBAAAzAAAAAcsBAAAgAAAApeAaQvNhmkMBzAEAAJoAAAACAAAAAAAAAAAAAAAACc0BAAAAAAAACc4BAAAAAAABzwEAAKMAAAAAAAAAAdABAABsAAAAAACYQQAAcEEB0QEAABQAAADETqxBYieXQ7G8jEGJnThBEoO+PwbSAQAAAjAlCgnTAQAACWcBAADQAgAA/////wEBCgnUAQAAAQAKAQE4AQAAJAAAAAnTAAAAAAAAAAAAAAABOQEAACUAAAAJ1QEAAAIAAAACAAAAAToBAAAvAAAAAdYBAAAgAAAApeAwQotjfEMB1wEAACAAAACl4CBCi2N8QwnYAQAAzAEAAP////8BAQoJ2QEAAAEACgEBOwEAADMAAAAB2gEAACAAAACl4BpCi2N8QwHbAQAAmgAAAAIAAAAAAAAAAAAAAAAJ3AEAAAAAAAAJ3QEAAAAAAAHeAQAAowAAAAAAAAAB3wEAAGwAAAAAANhBAABwQQHgAQAAFAAAAGIndkF1YnVDxPe9QYmdOEESg74/BuEBAAADMjAlCgniAQAACWcBAADQAgAA/////wEBCgnjAQAAAQAKAQE+AQAAJAAAAAnTAAAAAAAAAAAAAAABPwEAACUAAAAJ5AEAAAIAAAACAAAAAUABAAAvAAAAAeUBAAAgAAAApeAwQjADREMB5gEAACAAAACl4CBCMANEQwnnAQAAzAEAAP////8BAQoJ6AEAAAEACgEBQQEAADMAAAAB6QEAACAAAACl4BpCMANEQwHqAQAAmgAAAAIAAAAAAAAAAAAAAAAJ6wEAAAAAAAAJ7AEAAAAAAAHtAQAAowAAAAAAAAAB7gEAAGwAAAAAANhBAABwQQHvAQAAFAAAAGIndkETOz1DxPe9QYmdOEESg74/BvABAAADNDAlCgnxAQAACWcBAADQAgAA/////wEBCgnyAQAAAQAKAQFEAQAAJAAAAAnTAAAAAAAAAAAAAAABRQEAACUAAAAJ8wEAAAIAAAACAAAAAUYBAAAvAAAAAfQBAAAgAAAApeAwQtWiC0MB9QEAACAAAACl4CBC1aILQwn2AQAAzAEAAP////8BAQoJ9wEAAAEACgEBRwEAADMAAAAB+AEAACAAAACl4BpC1aILQwH5AQAAmgAAAAIAAAAAAAAAAAAAAAAJ+gEAAAAAAAAJ+wEAAAAAAAH8AQAAowAAAAAAAAAB/QEAAGwAAAAAANhBAABwQQH+AQAAFAAAAGIndkGxEwVDxPe9QYmdOEESg74/Bv8BAAADNjAlCgkAAgAACWcBAADQAgAA/////wEBCgkBAgAAAQAKAQFKAQAAJAAAAAnTAAAAAAAAAAAAAAABSwEAACUAAAAJAgIAAAIAAAACAAAAAUwBAAAvAAAAAQMCAAAgAAAApeAwQvOEpkIBBAIAACAAAACl4CBC84SmQgkFAgAAzAEAAP////8BAQoJBgIAAAEACgEBTQEAADMAAAABBwIAACAAAACl4BpC84SmQgEIAgAAmgAAAAIAAAAAAAAAAAAAAAAJCQIAAAAAAAAJCgIAAAAAAAELAgAAowAAAAAAAAABDAIAAGwAAAAAANhBAABwQQENAgAAFAAAAGIndkHETphCxPe9QYmdOEESg74/Bg4CAAADODAlCgkPAgAACWcBAADQAgAA/////wEBCgkQAgAAAQAKAQFQAQAAJAAAAAnTAAAAAAAAAAAAAAABUQEAACUAAAAJEQIAAAIAAAACAAAAAVIBAAAvAAAAARICAAAgAAAApeAwQvMQ10EBEwIAACAAAACl4CBC8xDXQQkUAgAAzAEAAP////8BAQoJFQIAAAEACgEBUwEAADMAAAABFgIAACAAAACl4BpC8xDXQQEXAgAAmgAAAAIAAAAAAAAAAAAAAAAJGAIAAAAAAAAJGQIAAAAAAAEaAgAAowAAAAAAAAABGwIAAGwAAAAAAAhCAABwQQEcAgAAFAAAAP//H0H//59BdQvpQYmdOEESg74/Bh0CAAAEMTAwJQoJHgIAAAlnAQAA0AIAAP////8BAQoJHwIAAAEACgEBVgEAACQAAAAJ0wAAAAAAAAAAAAAAAVcBAAAlAAAACSACAAACAAAAAgAAAARY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SECAAAEAAAABAAAAAFZAQAAJAAAAAkiAgAABAAAAAQAAAABWgEAACUAAAAJ0QAAAAAAAAAAAAAABWE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zAAAACgAAAAAAKEEJcAAAAAlxAAAACSMCAAAAAAkkAgAAAWIBAAByAAAACgoAAAAA////AA4AAAAAAQFmAQAApwAAAAklAgAAAQAAAAEAAAABaAEAAG8AAAAJJgIAAAoHbQEAAAABAAAABAAAAAQfQXBsb3Jpcy5CYXNlLk9iamVjdHMuRGF0YU9iamVjdAMAAAAJAQEAAA0DB24BAAAAAQAAAAQAAAAEHEFwbG9yaXMuQmFzZS5VSS5WaXN1YWxPYmplY3QDAAAACQMBAAANAwFvAQAAWAEAAAknAgAABAAAAAQAAAABcAEAACQAAAAJKAIAAAQAAAAEAAAAAXEBAAAlAAAACdEAAAAAAAAAAAAAAAV4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AAAAAoAAAAAAChBCXAAAAAJcQAAAAkpAgAAAAAJKgIAAAF5AQAAcgAAAAoKAAAAAP///wAOAAAAAAEBfQEAAKcAAAAJKwIAAAEAAAABAAAAAX4BAABvAAAACSwCAAAKB4MBAAAAAQAAAAQAAAAEH0FwbG9yaXMuQmFzZS5PYmplY3RzLkRhdGFPYmplY3QDAAAACQkBAAANAweEAQAAAAEAAAAEAAAABBxBcGxvcmlzLkJhc2UuVUkuVmlzdWFsT2JqZWN0AwAAAAkLAQAADQMBhQEAAFgBAAAJLQIAAAQAAAAEAAAAAYYBAAAkAAAACS4CAAAEAAAABAAAAAGHAQAAJQAAAAnRAAAAAAAAAAAAAAAFj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UAAAAKAAAAAAAoQQlwAAAACXEAAAAJLwIAAAAACTACAAABjwEAAHIAAAAKCgAAAAD///8ADgAAAAABAZMBAACnAAAACTECAAABAAAAAQAAAAGUAQAAbwAAAAkyAgAACgeZAQAAAAEAAAAEAAAABB9BcGxvcmlzLkJhc2UuT2JqZWN0cy5EYXRhT2JqZWN0AwAAAAkRAQAADQMHmgEAAAABAAAABAAAAAQcQXBsb3Jpcy5CYXNlLlVJLlZpc3VhbE9iamVjdAMAAAAJEwEAAA0DAZsBAAAzAAAAATMCAAAgAAAAJI/vQvMQv0EBNAIAAJoAAAABAAAAAAAAAAAAAAAACTUCAAAAAAAACTYCAAAAAAABNwIAAKMAAAAAAAAAATgCAABsAAAAAAAsQgAAiEEBOQIAABQAAADYiclC//8fQWrqEUITO1FBXrrZPwY6AgAABW49MTQ3Cgk7AgAACToCAAA0AwAA/////wEBCgk8AgAAAQAKAQGeAQAAIgAAAAoKAAAAAAAoQQlwAAAACXEAAAAJPQIAAAAACT4CAAABnwEAAHIAAAAKCgAAAAD///8ADgAAAAABAaMBAACnAAAACT8CAAABAAAAAQAAAAGkAQAAbwAAAAlAAgAACgelAQAAAAEAAAAEAAAABBxBcGxvcmlzLkJhc2UuVUkuVmlzdWFsT2JqZWN0AwAAAAkcAQAACZsBAAAKCgGmAQAAMwAAAAFBAgAAIAAAADJzh0PzEL9BAUICAACaAAAAAQAAAAAAAAAAAAAAAAlDAgAAAAAAAAlEAgAAAAAAAUUCAACjAAAAAAAAAAFGAgAAbAAAAAAA0EEAAIhBAUcCAAAUAAAAEzuBQ///H0FLN7tBEztRQV662T8GSAIAAAMxNDcKCUkCAAAJSAIAADQDAAD/////AQEKCUoCAAABAAoBAakBAAAiAAAACgoAAAAAAChBCXAAAAAJcQAAAAlLAgAAAAAJTAIAAAGqAQAAcgAAAAoKAAAAAP///wAOAAAAAAEBrgEAAKcAAAAJTQIAAAEAAAABAAAAAa8BAABvAAAACU4CAAAKB7ABAAAAAQAAAAQAAAAEHEFwbG9yaXMuQmFzZS5VSS5WaXN1YWxPYmplY3QDAAAACSMBAAAJpgEAAAoKAbEBAAAzAAAAAU8CAAAgAAAAmwLTQ/MQv0EBUAIAAJoAAAABAAAAAAAAAAAAAAAACVECAAAAAAAACVICAAAAAAABUwIAAKMAAAAAAAAAAVQCAABsAAAAAADQQQAAiEEBVQIAABQAAACJncxD//8fQUs3u0ETO1FBXrrZPwZWAgAAAzEzMwoJVwIAAAlWAgAANAMAAP////8BAQoJWAIAAAEACgEBtAEAACIAAAAKCgAAAAAAKEEJcAAAAAlxAAAACVkCAAAAAAlaAgAAAbUBAAByAAAACgoAAAAA////AA4AAAAAAQG5AQAApwAAAAlbAgAAAQAAAAEAAAABugEAAG8AAAAJXAIAAAoHuwEAAAABAAAABAAAAAQcQXBsb3Jpcy5CYXNlLlVJLlZpc3VhbE9iamVjdAMAAAAJKgEAAAmxAQAACgoBvAEAADMAAAABXQIAACAAAAACSQ9E8xC/QQFeAgAAmgAAAAEAAAAAAAAAAAAAAAAJXwIAAAAAAAAJYAIAAAAAAAFhAgAAowAAAAAAAAABYgIAAGwAAAAAANBBAACIQQFjAgAAFAAAADsxDET//x9BSze7QRM7UUFeutk/BmQCAAADNDY3CgllAgAACWQCAAA0AwAA/////wEBCglmAgAAAQAKAQG/AQAAIgAAAAoKAAAAAAAoQQlwAAAACXEAAAAJZwIAAAAACWgCAAABwAEAAHIAAAAKCgAAAAD///8ADgAAAAABAcQBAACnAAAACWkCAAABAAAAAQAAAAHFAQAAbwAAAAlqAgAACgfGAQAAAAEAAAAEAAAABBxBcGxvcmlzLkJhc2UuVUkuVmlzdWFsT2JqZWN0AwAAAAkxAQAACbwBAAAKCgHJAQAAagAAAAoKAAAAQD8JawIAAAlsAgAAAQAAAP7///8AAAAAAQAAAAAAAAAAAAAAAQAAAAAAAAAAAAABygEAAG8AAAAJbQIAAAoBzQEAACIAAAAKCgAAAAAAKEEJcAAAAAlxAAAACW4CAAAAAAlvAgAAAc4BAAByAAAACgoAAAAA////AA4AAAAAAQHTAQAApwAAAAlwAgAAAQAAAAEAAAAB1AEAAG8AAAAJcQIAAAoH1QEAAAABAAAABAAAAAQcQXBsb3Jpcy5CYXNlLlVJLlZpc3VhbE9iamVjdAMAAAAJNAEAAAk1AQAACgoB2AEAAGoAAAAKCgAAAEA/CXICAAAJcwIAAAEAAAD+////AAAAAAEAAAAAAAAAAAAAAAEAAAAAAAAAAAAAAdkBAABvAAAACXQCAAAKAdwBAAAiAAAACgoAAAAAAChBCXAAAAAJcQAAAAl1AgAAAAAJdgIAAAHdAQAAcgAAAAoKAAAAAP///wAOAAAAAAEB4gEAAKcAAAAJdwIAAAEAAAADAAAAAeMBAABvAAAACXgCAAAKB+QBAAAAAQAAAAQAAAAEHEFwbG9yaXMuQmFzZS5VSS5WaXN1YWxPYmplY3QDAAAACToBAAAJOwEAAAoKAecBAABqAAAACgoAAABAPwl5AgAACXoCAAABAAAA/v///wAAAAABAAAAAAAAAAAAAAABAAAAAAAAAAAAAAHoAQAAbwAAAAl7AgAACgHrAQAAIgAAAAoKAAAAAAAoQQlwAAAACXEAAAAJfAIAAAAACX0CAAAB7AEAAHIAAAAKCgAAAAD///8ADgAAAAABAfEBAACnAAAACX4CAAABAAAAAwAAAAHyAQAAbwAAAAl/AgAACgfzAQAAAAEAAAAEAAAABBxBcGxvcmlzLkJhc2UuVUkuVmlzdWFsT2JqZWN0AwAAAAlAAQAACUEBAAAKCgH2AQAAagAAAAoKAAAAQD8JgAIAAAmBAgAAAQAAAP7///8AAAAAAQAAAAAAAAAAAAAAAQAAAAAAAAAAAAAB9wEAAG8AAAAJggIAAAoB+gEAACIAAAAKCgAAAAAAKEEJcAAAAAlxAAAACYMCAAAAAAmEAgAAAfsBAAByAAAACgoAAAAA////AA4AAAAAAQEAAgAApwAAAAmFAgAAAQAAAAMAAAABAQIAAG8AAAAJhgIAAAoHAgIAAAABAAAABAAAAAQcQXBsb3Jpcy5CYXNlLlVJLlZpc3VhbE9iamVjdAMAAAAJRgEAAAlHAQAACgoBBQIAAGoAAAAKCgAAAEA/CYcCAAAJiAIAAAEAAAD+////AAAAAAEAAAAAAAAAAAAAAAEAAAAAAAAAAAAAAQYCAABvAAAACYkCAAAKAQkCAAAiAAAACgoAAAAAAChBCXAAAAAJcQAAAAmKAgAAAAAJiwIAAAEKAgAAcgAAAAoKAAAAAP///wAOAAAAAAEBDwIAAKcAAAAJjAIAAAEAAAADAAAAARACAABvAAAACY0CAAAKBxECAAAAAQAAAAQAAAAEHEFwbG9yaXMuQmFzZS5VSS5WaXN1YWxPYmplY3QDAAAACUwBAAAJTQEAAAoKARQCAABqAAAACgoAAABAPwmOAgAACY8CAAABAAAA/v///wAAAAABAAAAAAAAAAAAAAABAAAAAAAAAAAAAAEVAgAAbwAAAAmQAgAACgEYAgAAIgAAAAoKAAAAAAAoQQlwAAAACXEAAAAJkQIAAAAACZICAAABGQIAAHIAAAAKCgAAAAD///8ADgAAAAABAR4CAACnAAAACZMCAAABAAAAAwAAAAEfAgAAbwAAAAmUAgAACgcgAgAAAAEAAAAEAAAABBxBcGxvcmlzLkJhc2UuVUkuVmlzdWFsT2JqZWN0AwAAAAlSAQAACVMBAAAKCgchAgAAAAEAAAAEAAAABB5BcGxvcmlzLkNoYXJ0LkNoYXJ0RGF0YUVsZW1lbnQCAAAACZUCAAAJlgIAAAmXAgAACZgCAAAHIgIAAAABAAAABAAAAAQfQXBsb3Jpcy5CYXNlLk9iamVjdHMuRGF0YU9iamVjdAMAAAAJlQIAAAmWAgAACZcCAAAJmAIAAAEjAgAAcgAAAAoKAAAAAAAAAAANAAAAAAABJAIAAHIAAAAKCgAAAAAAAAAADQAAAAABByUCAAAAAQAAAAQAAAAEHUFwbG9yaXMuQmFzZS5PYmplY3RzLlZhcmlhYmxlAwAAAAWZAgAAHUFwbG9yaXMuQmFzZS5PYmplY3RzLlZhcmlhYmxlAgAAAAZOdW1iZXIIUG9zaXRpb24AAAgIAwAAAAEAAAAAAAAAAZoCAACZAgAAAAAAAAAAAAABmwIAAJkCAAAAAAAAAAAAAAGcAgAAmQIAAAAAAAAAAAAADyYCAAABAAAACDsAAAAHJwIAAAABAAAABAAAAAQeQXBsb3Jpcy5DaGFydC5DaGFydERhdGFFbGVtZW50AgAAAAmdAgAACZ4CAAAJnwIAAAmgAgAABygCAAAAAQAAAAQAAAAEH0FwbG9yaXMuQmFzZS5PYmplY3RzLkRhdGFPYmplY3QDAAAACZ0CAAAJngIAAAmfAgAACaACAAABKQIAAHIAAAAKCgAAAAAAAAAADQAAAAAAASoCAAByAAAACgoAAAAAAAAAAA0AAAAAAQcrAgAAAAEAAAAEAAAABB1BcGxvcmlzLkJhc2UuT2JqZWN0cy5WYXJpYWJsZQMAAAABoQIAAJkCAAABAAAAAAAAAAGiAgAAmQIAAAAAAAAAAAAAAaMCAACZAgAAAAAAAAAAAAABpAIAAJkCAAAAAAAAAAAAAA8sAgAAAQAAAAg6AAAABy0CAAAAAQAAAAQAAAAEHkFwbG9yaXMuQ2hhcnQuQ2hhcnREYXRhRWxlbWVudAIAAAAJpQIAAAmmAgAACacCAAAJqAIAAAcuAgAAAAEAAAAEAAAABB9BcGxvcmlzLkJhc2UuT2JqZWN0cy5EYXRhT2JqZWN0AwAAAAmlAgAACaYCAAAJpwIAAAmoAgAAAS8CAAByAAAACgoAAAAAAAAAAA0AAAAAAAEwAgAAcgAAAAoKAAAAAAAAAAANAAAAAAEHMQIAAAABAAAABAAAAAQdQXBsb3Jpcy5CYXNlLk9iamVjdHMuVmFyaWFibGUDAAAAAakCAACZAgAAAQAAAAAAAAABqgIAAJkCAAAAAAAAAAAAAAGrAgAAmQIAAAAAAAAAAAAAAawCAACZAgAAAAAAAAAAAAAPMgIAAAEAAAAIOQAAAAU1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2AAAACgAAAAAAQEEJcAAAAAlxAAAACa0CAAAAAAmuAgAAATYCAAByAAAACgoAAAAA////AA4AAAAAAQE7AgAApwAAAAmvAgAAAAAAAAMAAAABPAIAAG8AAAAJsAIAAAoBPQIAAHIAAAAKCgAAAAAAAAAADQAAAAAAAT4CAAByAAAACgoAAAAAAAAAAA0AAAAAAQc/AgAAAAEAAAAEAAAABB1BcGxvcmlzLkJhc2UuT2JqZWN0cy5WYXJpYWJsZQMAAAABsQIAAJkCAAABAAAAAAAAAAGyAgAAmQIAAAAAAAAAAAAAAbMCAACZAgAAAAAAAAAAAAABtAIAAJkCAAAAAAAAAAAAAA9AAgAAAQAAAAgdAAAABU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tQIAAAAACbYCAAABRAIAAHIAAAAKCgAAAAD///8ADgAAAAABAUkCAACnAAAACbcCAAAAAAAABAAAAAFKAgAAbwAAAAm4AgAACgFLAgAAcgAAAAoKAAAAAAAAAAANAAAAAAABTAIAAHIAAAAKCgAAAAAAAAAADQAAAAABB00CAAAAAQAAAAQAAAAEHUFwbG9yaXMuQmFzZS5PYmplY3RzLlZhcmlhYmxlAwAAAAG5AgAAmQIAAAEAAAAAAAAAAboCAACZAgAAAAAAAAAAAAABuwIAAJkCAAAAAAAAAAAAAAG8AgAAmQIAAAAAAAAAAAAAD04CAAABAAAACB4AAAAFU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+AAAAAoAAAAAAEBBCXAAAAAJcQAAAAm9AgAAAAAJvgIAAAFSAgAAcgAAAAoKAAAAAP///wAOAAAAAAEBVwIAAKcAAAAJvwIAAAAAAAAEAAAAAVgCAABvAAAACcACAAAKAVkCAAByAAAACgoAAAAAAAAAAA0AAAAAAAFaAgAAcgAAAAoKAAAAAAAAAAANAAAAAAEHWwIAAAABAAAABAAAAAQdQXBsb3Jpcy5CYXNlLk9iamVjdHMuVmFyaWFibGUDAAAAAcECAACZAgAAAQAAAAAAAAABwgIAAJkCAAAAAAAAAAAAAAHDAgAAmQIAAAAAAAAAAAAAAcQCAACZAgAAAAAAAAAAAAAPXAIAAAEAAAAIHAAAAAVf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5AAAACgAAAAAAQEEJcAAAAAlxAAAACcUCAAAAAAnGAgAAAWACAAByAAAACgoAAAAA////AA4AAAAAAQFlAgAApwAAAAnHAgAAAAAAAAQAAAABZgIAAG8AAAAJyAIAAAoBZwIAAHIAAAAKCgAAAAAAAAAADQAAAAAAAWgCAAByAAAACgoAAAAAAAAAAA0AAAAAAQdpAgAAAAEAAAAEAAAABB1BcGxvcmlzLkJhc2UuT2JqZWN0cy5WYXJpYWJsZQMAAAAByQIAAJkCAAABAAAAAAAAAAHKAgAAmQIAAAAAAAAAAAAAAcsCAACZAgAAAAAAAAAAAAABzAIAAJkCAAAAAAAAAAAAAA9qAgAAAQAAAAgbAAAAAWsCAAByAAAACgoAAAAAAAAAAA0AAAAAAAVsAgAAGkFwbG9yaXMuQmFzZS5PYmplY3RzLkNvbG9yBwAAABJEYXRhT2JqZWN0K21QYXJlbnQVRGF0YU9iamVjdCttQ29udGFpbmVyBW1UeXBlBG1SR0IQbVRoZW1lQ29sb3JJbmRleAxtQXV0b1VwZGF0ZWQJbU1vZGlmaWVkBAIAAAAAAB9BcGxvcmlzLkJhc2UuT2JqZWN0cy5MaW5lRm9ybWF0AwAAAAgICAEBAwAAAAnJAQAACgEAAAAAAAAA/////wABD20CAAABAAAACEAAAAABbgIAAHIAAAAKCgAAAAAAAAAADQAAAAAAAW8CAAByAAAACgoAAAAAAAAAAA0AAAAAAQdwAgAAAAEAAAAEAAAABB1BcGxvcmlzLkJhc2UuT2JqZWN0cy5WYXJpYWJsZQMAAAABzQIAAJkCAAABAAAAAAAAAAHOAgAAmQIAAAAAAAAAAAAAAc8CAACZAgAAAAAAAAAAAAAB0AIAAJkCAAAAAAAAAAAAAA9xAgAAAQAAAAgVAAAAAXICAAByAAAACgoAAAAAAAAAAA0AAAAAAAVzAgAAGkFwbG9yaXMuQmFzZS5PYmplY3RzLkNvbG9yBwAAABJEYXRhT2JqZWN0K21QYXJlbnQVRGF0YU9iamVjdCttQ29udGFpbmVyBW1UeXBlBG1SR0IQbVRoZW1lQ29sb3JJbmRleAxtQXV0b1VwZGF0ZWQJbU1vZGlmaWVkBAIAAAAAAB9BcGxvcmlzLkJhc2UuT2JqZWN0cy5MaW5lRm9ybWF0AwAAAAgICAEBAwAAAAnYAQAACgEAAAAAAAAA/////wABD3QCAAABAAAACD4AAAABdQIAAHIAAAAKCgAAAAAAAAAADQAAAAAAAXYCAAByAAAACgoAAAAAAAAAAA0AAAAAAQd3AgAAAAEAAAAEAAAABB1BcGxvcmlzLkJhc2UuT2JqZWN0cy5WYXJpYWJsZQMAAAAB0QIAAJkCAAABAAAAAAAAAAHSAgAAmQIAAAAAAAAAAAAAAdMCAACZAgAAAAAAAAAAAAAB1AIAAJkCAAAAAAAAAAAAAA94AgAAAQAAAAgWAAAAAXkCAAByAAAACgoAAAAAAAAAAA0AAAAAAAV6AgAAGkFwbG9yaXMuQmFzZS5PYmplY3RzLkNvbG9yBwAAABJEYXRhT2JqZWN0K21QYXJlbnQVRGF0YU9iamVjdCttQ29udGFpbmVyBW1UeXBlBG1SR0IQbVRoZW1lQ29sb3JJbmRleAxtQXV0b1VwZGF0ZWQJbU1vZGlmaWVkBAIAAAAAAB9BcGxvcmlzLkJhc2UuT2JqZWN0cy5MaW5lRm9ybWF0AwAAAAgICAEBAwAAAAnnAQAACgEAAAAAAAAA/////wABD3sCAAABAAAACD8AAAABfAIAAHIAAAAKCgAAAAAAAAAADQAAAAAAAX0CAAByAAAACgoAAAAAAAAAAA0AAAAAAQd+AgAAAAEAAAAEAAAABB1BcGxvcmlzLkJhc2UuT2JqZWN0cy5WYXJpYWJsZQMAAAAB1QIAAJkCAAABAAAAAAAAAAHWAgAAmQIAAAAAAAAAAAAAAdcCAACZAgAAAAAAAAAAAAAB2AIAAJkCAAAAAAAAAAAAAA9/AgAAAQAAAAgaAAAAAYACAAByAAAACgoAAAAAAAAAAA0AAAAAAAWBAgAAGkFwbG9yaXMuQmFzZS5PYmplY3RzLkNvbG9yBwAAABJEYXRhT2JqZWN0K21QYXJlbnQVRGF0YU9iamVjdCttQ29udGFpbmVyBW1UeXBlBG1SR0IQbVRoZW1lQ29sb3JJbmRleAxtQXV0b1VwZGF0ZWQJbU1vZGlmaWVkBAIAAAAAAB9BcGxvcmlzLkJhc2UuT2JqZWN0cy5MaW5lRm9ybWF0AwAAAAgICAEBAwAAAAn2AQAACgEAAAAAAAAA/////wABD4ICAAABAAAACEEAAAABgwIAAHIAAAAKCgAAAAAAAAAADQAAAAAAAYQCAAByAAAACgoAAAAAAAAAAA0AAAAAAQeFAgAAAAEAAAAEAAAABB1BcGxvcmlzLkJhc2UuT2JqZWN0cy5WYXJpYWJsZQMAAAAB2QIAAJkCAAABAAAAAAAAAAHaAgAAmQIAAAAAAAAAAAAAAdsCAACZAgAAAAAAAAAAAAAB3AIAAJkCAAAAAAAAAAAAAA+GAgAAAQAAAAgZAAAAAYcCAAByAAAACgoAAAAAAAAAAA0AAAAAAAWIAgAAGkFwbG9yaXMuQmFzZS5PYmplY3RzLkNvbG9yBwAAABJEYXRhT2JqZWN0K21QYXJlbnQVRGF0YU9iamVjdCttQ29udGFpbmVyBW1UeXBlBG1SR0IQbVRoZW1lQ29sb3JJbmRleAxtQXV0b1VwZGF0ZWQJbU1vZGlmaWVkBAIAAAAAAB9BcGxvcmlzLkJhc2UuT2JqZWN0cy5MaW5lRm9ybWF0AwAAAAgICAEBAwAAAAkFAgAACgEAAAAAAAAA/////wABD4kCAAABAAAACEIAAAABigIAAHIAAAAKCgAAAAAAAAAADQAAAAAAAYsCAAByAAAACgoAAAAAAAAAAA0AAAAAAQeMAgAAAAEAAAAEAAAABB1BcGxvcmlzLkJhc2UuT2JqZWN0cy5WYXJpYWJsZQMAAAAB3QIAAJkCAAABAAAAAAAAAAHeAgAAmQIAAAAAAAAAAAAAAd8CAACZAgAAAAAAAAAAAAAB4AIAAJkCAAAAAAAAAAAAAA+NAgAAAQAAAAgXAAAAAY4CAAByAAAACgoAAAAAAAAAAA0AAAAAAAWPAgAAGkFwbG9yaXMuQmFzZS5PYmplY3RzLkNvbG9yBwAAABJEYXRhT2JqZWN0K21QYXJlbnQVRGF0YU9iamVjdCttQ29udGFpbmVyBW1UeXBlBG1SR0IQbVRoZW1lQ29sb3JJbmRleAxtQXV0b1VwZGF0ZWQJbU1vZGlmaWVkBAIAAAAAAB9BcGxvcmlzLkJhc2UuT2JqZWN0cy5MaW5lRm9ybWF0AwAAAAgICAEBAwAAAAkUAgAACgEAAAAAAAAA/////wABD5ACAAABAAAACEMAAAABkQIAAHIAAAAKCgAAAAAAAAAADQAAAAAAAZICAAByAAAACgoAAAAAAAAAAA0AAAAAAQeTAgAAAAEAAAAEAAAABB1BcGxvcmlzLkJhc2UuT2JqZWN0cy5WYXJpYWJsZQMAAAAB4QIAAJkCAAABAAAAAAAAAAHiAgAAmQIAAAAAAAAAAAAAAeMCAACZAgAAAAAAAAAAAAAB5AIAAJkCAAAAAAAAAAAAAA+UAgAAAQAAAAgYAAAABZUC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5QIAAAnmAgAACgnnAgAACgnzAAAACAZSuB6F61G4PwoAAAAACegCAAAJ6QIAAAAAAAAACeoCAAAJ8wAAAAkBAAAACesCAAABlgIAAJUCAAAJ7AIAAAntAgAACgnuAgAACgnzAAAACAYOLbKd76fGPwoBAAAACe8CAAAJ8AIAAAAAAAAACfECAAAJ8wAAAAkBAAAACfICAAABlwIAAJUCAAAJ8wIAAAn0AgAACgn1AgAACgnzAAAACAYK16NwPQrHPwoCAAAACfYCAAAJ9wIAAAAAAAAACfgCAAAJ8wAAAAkBAAAACfkCAAABmAIAAJUCAAAJ+gIAAAn7AgAACgn8AgAACgnzAAAACAYzMzMzMzPDPwoDAAAACf0CAAAJ/gIAAAAAAAAACf8CAAAJ8wAAAAkBAAAACQADAAABnQIAAJUCAAAJAQMAAAkCAwAACgkDAwAACgn0AAAACAZ7FK5H4XrUPwoAAAAACQQDAAAJBQMAAAAAAAAACQYDAAAJ9AAAAAkBAAAACQcDAAABngIAAJUCAAAJCAMAAAkJAwAACgkKAwAACgn0AAAACAbXo3A9CtfbPwoBAAAACQsDAAAJDAMAAAAAAAAACQ0DAAAJ9AAAAAkBAAAACQ4DAAABnwIAAJUCAAAJDwMAAAkQAwAACgkRAwAACgn0AAAACAbl0CLb+X7aPwoCAAAACRIDAAAJEwMAAAAAAAAACRQDAAAJ9AAAAAkBAAAACRUDAAABoAIAAJUCAAAJFgMAAAkXAwAACgkYAwAACgn0AAAACAbdJAaBlUPbPwoDAAAACRkDAAAJGgMAAAAAAAAACRsDAAAJ9AAAAAkBAAAACRwDAAABpQIAAJUCAAAJHQMAAAkeAwAACgkfAwAACgn1AAAACAa4HoXrUbjiPwoAAAAACSADAAAJIQMAAAAAAAAACSIDAAAJ9QAAAAkBAAAACSMDAAABpgIAAJUCAAAJJAMAAAklAwAACgkmAwAACgn1AAAACAaiRbbz/dTYPwoBAAAACScDAAAJKAMAAAAAAAAACSkDAAAJ9QAAAAkBAAAACSoDAAABpwIAAJUCAAAJKwMAAAksAwAACgktAwAACgn1AAAACAaWQ4ts5/vZPwoCAAAACS4DAAAJLwMAAAAAAAAACTADAAAJ9QAAAAkBAAAACTEDAAABqAIAAJUCAAAJMgMAAAkzAwAACgk0AwAACgn1AAAACAaJQWDl0CLbPwoDAAAACTUDAAAJNgMAAAAAAAAACTcDAAAJ9QAAAAkBAAAACTgDAAABrQIAAHIAAAAKCgAAAAAAAAAADQAAAAAAAa4CAAByAAAACgoAAAAAAAAAAA0AAAAAAQevAgAAAAEAAAAEAAAABB1BcGxvcmlzLkJhc2UuT2JqZWN0cy5WYXJpYWJsZQMAAAABOQMAAJkCAAAAAAAAAAAAAAE6AwAAmQIAAAAAAAAAAAAAATsDAACZAgAAAAAAAAAAAAABPAMAAJkCAAAAAAAAAAAAAA+wAgAAAQAAAAhFAAAAAbUCAAByAAAACgoAAAAAAAAAAA0AAAAAAAG2AgAAcgAAAAoKAAAAAAAAAAANAAAAAAEHtwIAAAABAAAABAAAAAQdQXBsb3Jpcy5CYXNlLk9iamVjdHMuVmFyaWFibGUDAAAAAT0DAACZAgAAAAAAAAAAAAABPgMAAJkCAAAAAAAAAAAAAAE/AwAAmQIAAAAAAAAAAAAAAUADAACZAgAAAAAAAAAAAAAPuAIAAAEAAAAIRAAAAAG9AgAAcgAAAAoKAAAAAAAAAAANAAAAAAABvgIAAHIAAAAKCgAAAAAAAAAADQAAAAABB78CAAAAAQAAAAQAAAAEHUFwbG9yaXMuQmFzZS5PYmplY3RzLlZhcmlhYmxlAwAAAAFBAwAAmQIAAAAAAAAAAAAAAUIDAACZAgAAAAAAAAAAAAABQwMAAJkCAAAAAAAAAAAAAAFEAwAAmQIAAAAAAAAAAAAAD8ACAAABAAAACEcAAAABxQIAAHIAAAAKCgAAAAAAAAAADQAAAAAAAcYCAAByAAAACgoAAAAAAAAAAA0AAAAAAQfHAgAAAAEAAAAEAAAABB1BcGxvcmlzLkJhc2UuT2JqZWN0cy5WYXJpYWJsZQMAAAABRQMAAJkCAAAAAAAAAAAAAAFGAwAAmQIAAAAAAAAAAAAAAUcDAACZAgAAAAAAAAAAAAABSAMAAJkCAAAAAAAAAAAAAA/IAgAAAQAAAAhGAAAAAeUCAAADAQAAClgCAAABSQMAAFsBAAACAAAAAUoDAABcAQAAAQAAAAFLAwAAFAAAAOEbl0LzEO9Bh+awQvM6pkEBTAMAAF4BAAAAAAAAAACgQAABTQMAACAAAAAkj+9CNhchQgFOAwAAmgAAAAAAAAAAAAAAAAAAAAAJTwMAAAAAAAAJUAMAAAAAAAFRAwAAowAAAAAAAAABUgMAAGwAAAAAANhBAABwQQFTAwAAFAAAAJ3Y1UJ2YgdCxPe9QYmdOEESg74/BlQDAAADMTAlCglVAwAACWcBAAA0AwAA/////wEBCglWAwAAAQAKAQHmAgAAGwAAAAFXAwAAIAAAAOEbkULzpVZCAVgDAAAgAAAANAEnQ/MQ10EJWQMAAAlaAwAAAAAAAAoBWwMAAGwAAAAAAAAAAAAAAAFcAwAAbAAAAAAAAAAAAAAAAAAAAAFdAwAAFAAAAAAAAAAAAAAAAAAAAAAAAACkAQAA/////wEBCgleAwAAAQAKAQfnAgAAAAEAAAACAAAABBpBcGxvcmlzLkJhc2UuVUkuVmlzdWFsTGluZQMAAAAKCgfoAgAAAAEAAAADAAAABBVTeXN0ZW0uRHJhd2luZy5Qb2ludEYEAAAAAV8DAAAgAAAAJI/vQjYXIUIBYAMAACAAAADhG4tCNhchQgFhAwAAIAAAADQBKkM2FyFCB+kCAAAAAQAAAAMAAAAEF0FwbG9yaXMuQmFzZS5BbmNob3JNb2RlAwAAAAFiAwAAmgAAAAAAAAABYwMAAJoAAAACAAAAAWQDAACaAAAABAAAAAHqAgAAJAAAAAnTAAAAAAAAAAAAAAAB6wIAACUAAAAJZQMAAAIAAAACAAAAAewCAAADAQAAClgCAAABZgMAAFsBAAACAAAAAWcDAABcAQAAAQAAAAFoAwAAFAAAAMKsYkPzEO9BiOawQoqSL0IBaQMAAF4BAAAAAAAAAACgQAABagMAACAAAAAyc4dDv1FPQgFrAwAAmgAAAAAAAAAAAAAAAAAAAAAJbAMAAAAAAAAJbQMAAAAAAAFuAwAAowAAAAAAAAABbwMAAGwAAAAAANhBAABwQQFwAwAAFAAAAJ3YgEPYiTVCxPe9QYmdOEESg74/BnEDAAADMTglCglyAwAACWcBAAA0AwAA/////wEBCglzAwAAAQAKAQHtAgAAGwAAAAF0AwAAIAAAAMKsX0OCjZlCAXUDAAAgAAAAAxCfQ/MQ10EJdgMAAAl3AwAAAAAAAAoBeAMAAGwAAAAAAAAAAAAAAAF5AwAAbAAAAAAAAAAAAAAAAAAAAAF6AwAAFAAAAAAAAAAAAAAAAAAAAAAAAACkAQAA/////wEBCgl7AwAAAQAKAQfuAgAAAAEAAAACAAAABBpBcGxvcmlzLkJhc2UuVUkuVmlzdWFsTGluZQMAAAAKCgfvAgAAAAEAAAADAAAABBVTeXN0ZW0uRHJhd2luZy5Qb2ludEYEAAAAAXwDAAAgAAAAMnOHQ79RT0IBfQMAACAAAADCrFxDv1FPQgF+AwAAIAAAAAOQoEO/UU9CB/ACAAAAAQAAAAMAAAAEF0FwbG9yaXMuQmFzZS5BbmNob3JNb2RlAwAAAAF/AwAAmgAAAAAAAAABgAMAAJoAAAACAAAAAYEDAACaAAAABAAAAAHxAgAAJAAAAAnTAAAAAAAAAAAAAAAB8gIAACUAAAAJggMAAAIAAAACAAAAAfMCAAADAQAAClgCAAABgwMAAFsBAAACAAAAAYQDAABcAQAAAQAAAAGFAwAAFAAAAMrlvEPzEO9BiOawQnr0MkIBhgMAAF4BAAAAAAAAAACgQAABhwMAACAAAACbAtNDtwJRQgGIAwAAmgAAAAAAAAAAAAAAAAAAAAAJiQMAAAAAAAAJigMAAAAAAAGLAwAAowAAAAAAAAABjAMAAGwAAAAAANhBAABwQQGNAwAAFAAAAImdzEPYiTVCxPe9QYmdOEESg74/Bo4DAAADMTglCgmPAwAACWcBAAA0AwAA/////wEBCgmQAwAAAQAKAQH0AgAAGwAAAAGRAwAAIAAAAMplu0N6PptCAZIDAAAgAAAAbJ/qQ/MQ10EJkwMAAAmUAwAAAAAAAAoBlQMAAGwAAAAAAAAAAAAAAAGWAwAAbAAAAAAAAAAAAAAAAAAAAAGXAwAAFAAAAAAAAAAAAAAAAAAAAAAAAACkAQAA/////wEBCgmYAwAAAQAKAQf1AgAAAAEAAAACAAAABBpBcGxvcmlzLkJhc2UuVUkuVmlzdWFsTGluZQMAAAAKCgf2AgAAAAEAAAADAAAABBVTeXN0ZW0uRHJhd2luZy5Qb2ludEYEAAAAAZkDAAAgAAAAmwLTQ7cCUUIBmgMAACAAAADK5blDtwJRQgGbAwAAIAAAAGwf7EO3AlFCB/cCAAAAAQAAAAMAAAAEF0FwbG9yaXMuQmFzZS5BbmNob3JNb2RlAwAAAAGcAwAAmgAAAAAAAAABnQMAAJoAAAACAAAAAZ4DAACaAAAABAAAAAH4AgAAJAAAAAnTAAAAAAAAAAAAAAAB+QIAACUAAAAJnwMAAAIAAAACAAAAAfoCAAADAQAAClgCAAABoAMAAFsBAAACAAAAAaEDAABcAQAAAQAAAAGiAwAAFAAAAJo6BETzEO9BgOawQhAhEUIBowMAAF4BAAAAAAAAAACgQAABpAMAACAAAAACSQ9EAhlAQgGlAwAAmgAAAAAAAAAAAAAAAAAAAAAJpgMAAAAAAAAJpwMAAAAAAAGoAwAAowAAAAAAAAABqQMAAGwAAAAAANhBAABwQQGqAwAAFAAAAP//C0RiJyZCxPe9QYmdOEESg74/BqsDAAADMTUlCgmsAwAACWcBAAA0AwAA/////wEBCgmtAwAAAQAKAQH7AgAAGwAAAAGuAwAAIAAAAJp6A0TFVIpCAa8DAAAgAAAAahcbRPMQ10EJsAMAAAmxAwAAAAAAAAoBsgMAAGwAAAAAAAAAAAAAAAGzAwAAbAAAAAAAAAAAAAAAAAAAAAG0AwAAFAAAAAAAAAAAAAAAAAAAAAAAAACkAQAA/////wEBCgm1AwAAAQAKAQf8AgAAAAEAAAACAAAABBpBcGxvcmlzLkJhc2UuVUkuVmlzdWFsTGluZQMAAAAKCgf9AgAAAAEAAAADAAAABBVTeXN0ZW0uRHJhd2luZy5Qb2ludEYEAAAAAbYDAAAgAAAAAkkPRAIZQEIBtwMAACAAAACaugJEAhlAQgG4AwAAIAAAAGrXG0QCGUBCB/4CAAAAAQAAAAMAAAAEF0FwbG9yaXMuQmFzZS5BbmNob3JNb2RlAwAAAAG5AwAAmgAAAAAAAAABugMAAJoAAAACAAAAAbsDAACaAAAABAAAAAH/AgAAJAAAAAnTAAAAAAAAAAAAAAABAAMAACUAAAAJvAMAAAIAAAACAAAAAQEDAAADAQAAClgCAAABvQMAAFsBAAACAAAAAb4DAABcAQAAAQAAAAG/AwAAFAAAAOEbl0LzpWJCh+awQopnqEIBwAMAAF4BAAAAAAAAAACgQAABwQMAACAAAAAkj+9Cv4bFQgHCAwAAmgAAAAAAAAAAAAAAAAAAAAAJwwMAAAAAAAAJxAMAAAAAAAHFAwAAowAAAAAAAAABxgMAAGwAAAAAANhBAABwQQHHAwAAFAAAAJ3Y1UKJnbhCxPe9QYmdOEESg74/BsgDAAADMzIlCgnJAwAACWcBAAA0AwAA/////wEBCgnKAwAAAQAKAQECAwAAGwAAAAHLAwAAIAAAAOEbkUJC3Q9DAcwDAAAgAAAANAEnQ/OlVkIJzQMAAAnOAwAAAAAAAAoBzwMAAGwAAAAAAAAAAAAAAAHQAwAAbAAAAAAAAAAAAAAAAAAAAAHRAwAAFAAAAAAAAAAAAAAAAAAAAAAAAACkAQAA/////wEBCgnSAwAAAQAKAQcDAwAAAAEAAAACAAAABBpBcGxvcmlzLkJhc2UuVUkuVmlzdWFsTGluZQMAAAAKCgcEAwAAAAEAAAADAAAABBVTeXN0ZW0uRHJhd2luZy5Qb2ludEYEAAAAAdMDAAAgAAAAJI/vQr+GxUIB1AMAACAAAADhG4tCv4bFQgHVAwAAIAAAADQBKkO/hsVCBwUDAAAAAQAAAAMAAAAEF0FwbG9yaXMuQmFzZS5BbmNob3JNb2RlAwAAAAHWAwAAmgAAAAAAAAAB1wMAAJoAAAACAAAAAdgDAACaAAAABAAAAAEGAwAAJAAAAAnTAAAAAAAAAAAAAAABBwMAACUAAAAJ2QMAAAIAAAACAAAAAQgDAAADAQAAClgCAAAB2gMAAFsBAAACAAAAAdsDAABcAQAAAQAAAAHcAwAAFAAAAMKsYkOCjZ9CiOawQsA86UIB3QMAAF4BAAAAAAAAAACgQAAB3gMAACAAAAAyc4dD8RUKQwHfAwAAmgAAAAAAAAAAAAAAAAAAAAAJ4AMAAAAAAAAJ4QMAAAAAAAHiAwAAowAAAAAAAAAB4wMAAGwAAAAAANhBAABwQQHkAwAAFAAAAJ3YgEPYiQNDxPe9QYmdOEESg74/BuUDAAADNDQlCgnmAwAACWcBAAA0AwAA/////wEBCgnnAwAAAQAKAQEJAwAAGwAAAAHoAwAAIAAAAMKsX0MhZUdDAekDAAAgAAAAAxCfQ4KNmUIJ6gMAAAnrAwAAAAAAAAoB7AMAAGwAAAAAAAAAAAAAAAHtAwAAbAAAAAAAAAAAAAAAAAAAAAHuAwAAFAAAAAAAAAAAAAAAAAAAAAAAAACkAQAA/////wEBCgnvAwAAAQAKAQcKAwAAAAEAAAACAAAABBpBcGxvcmlzLkJhc2UuVUkuVmlzdWFsTGluZQMAAAAKCgcLAwAAAAEAAAADAAAABBVTeXN0ZW0uRHJhd2luZy5Qb2ludEYEAAAAAfADAAAgAAAAMnOHQ/EVCkMB8QMAACAAAADCrFxD8RUKQwHyAwAAIAAAAAOQoEPxFQpDBwwDAAAAAQAAAAMAAAAEF0FwbG9yaXMuQmFzZS5BbmNob3JNb2RlAwAAAAHzAwAAmgAAAAAAAAAB9AMAAJoAAAACAAAAAfUDAACaAAAABAAAAAENAwAAJAAAAAnTAAAAAAAAAAAAAAABDgMAACUAAAAJ9gMAAAIAAAACAAAAAQ8DAAADAQAAClgCAAAB9wMAAFsBAAACAAAAAfgDAABcAQAAAQAAAAH5AwAAFAAAAMrlvEN6PqFCiOawQvRl3UIB+gMAAF4BAAAAAAAAAACgQAAB+wMAACAAAACbAtNDuvgHQwH8AwAAmgAAAAAAAAAAAAAAAAAAAAAJ/QMAAAAAAAAJ/gMAAAAAAAH/AwAAowAAAAAAAAABAAQAAGwAAAAAANhBAABwQQEBBAAAFAAAAImdzEMTOwFDxPe9QYmdOEESg74/BgIEAAADNDElCgkDBAAACWcBAAA0AwAA/////wEBCgkEBAAAAQAKAQEQAwAAGwAAAAEFBAAAIAAAAMplu0M3UkJDAQYEAAAgAAAAbJ/qQ3o+m0IJBwQAAAkIBAAAAAAAAAoBCQQAAGwAAAAAAAAAAAAAAAEKBAAAbAAAAAAAAAAAAAAAAAAAAAELBAAAFAAAAAAAAAAAAAAAAAAAAAAAAACkAQAA/////wEBCgkMBAAAAQAKAQcRAwAAAAEAAAACAAAABBpBcGxvcmlzLkJhc2UuVUkuVmlzdWFsTGluZQMAAAAKCgcSAwAAAAEAAAADAAAABBVTeXN0ZW0uRHJhd2luZy5Qb2ludEYEAAAAAQ0EAAAgAAAAmwLTQ7r4B0MBDgQAACAAAADK5blDuvgHQwEPBAAAIAAAAGwf7EO6+AdDBxMDAAAAAQAAAAMAAAAEF0FwbG9yaXMuQmFzZS5BbmNob3JNb2RlAwAAAAEQBAAAmgAAAAAAAAABEQQAAJoAAAACAAAAARIEAACaAAAABAAAAAEUAwAAJAAAAAnTAAAAAAAAAAAAAAABFQMAACUAAAAJEwQAAAIAAAACAAAAARYDAAADAQAAClgCAAABFAQAAFsBAAACAAAAARUEAABcAQAAAQAAAAEWBAAAFAAAAJo6BETFVJBCgOawQtcp5EIBFwQAAF4BAAAAAAAAAACgQAABGAQAACAAAAACSQ9E2DQBQwEZBAAAmgAAAAAAAAAAAAAAAAAAAAAJGgQAAAAAAAAJGwQAAAAAAAEcBAAAowAAAAAAAAABHQQAAGwAAAAAANhBAABwQQEeBAAAFAAAAP//C0SJnfRCxPe9QYmdOEESg74/Bh8EAAADNDMlCgkgBAAACWcBAAA0AwAA/////wEBCgkhBAAAAQAKAQEXAwAAGwAAAAEiBAAAIAAAAJp6A0ROPz1DASMEAAAgAAAAahcbRMVUikIJJAQAAAklBAAAAAAAAAoBJgQAAGwAAAAAAAAAAAAAAAEnBAAAbAAAAAAAAAAAAAAAAAAAAAEoBAAAFAAAAAAAAAAAAAAAAAAAAAAAAACkAQAA/////wEBCgkpBAAAAQAKAQcYAwAAAAEAAAACAAAABBpBcGxvcmlzLkJhc2UuVUkuVmlzdWFsTGluZQMAAAAKCgcZAwAAAAEAAAADAAAABBVTeXN0ZW0uRHJhd2luZy5Qb2ludEYEAAAAASoEAAAgAAAAAkkPRNg0AUMBKwQAACAAAACaugJE2DQBQwEsBAAAIAAAAGrXG0TYNAFDBxoDAAAAAQAAAAMAAAAEF0FwbG9yaXMuQmFzZS5BbmNob3JNb2RlAwAAAAEtBAAAmgAAAAAAAAABLgQAAJoAAAACAAAAAS8EAACaAAAABAAAAAEbAwAAJAAAAAnTAAAAAAAAAAAAAAABHAMAACUAAAAJMAQAAAIAAAACAAAAAR0DAAADAQAAClgCAAABMQQAAFsBAAACAAAAATIEAABcAQAAAQAAAAEzBAAAFAAAAOEbl0JC3RJDh+awQqTmHkMBNAQAAF4BAAAAAAAAAACgQAABNQQAACAAAAAkj+9ClFBiQwE2BAAAmgAAAAAAAAAAAAAAAAAAAAAJNwQAAAAAAAAJOAQAAAAAAAE5BAAAowAAAAAAAAABOgQAAGwAAAAAANhBAABwQQE7BAAAFAAAAJ3Y1UITO1tDxPe9QYmdOEESg74/BjwEAAADNTklCgk9BAAACWcBAAA0AwAA/////wEBCgk+BAAAAQAKAQEeAwAAGwAAAAE/BAAAIAAAAOEbkULzYZpDAUAEAAAgAAAANAEnQ0LdD0MJQQQAAAlCBAAAAAAAAAoBQwQAAGwAAAAAAAAAAAAAAAFEBAAAbAAAAAAAAAAAAAAAAAAAAAFFBAAAFAAAAAAAAAAAAAAAAAAAAAAAAACkAQAA/////wEBCglGBAAAAQAKAQcfAwAAAAEAAAACAAAABBpBcGxvcmlzLkJhc2UuVUkuVmlzdWFsTGluZQMAAAAKCgcgAwAAAAEAAAADAAAABBVTeXN0ZW0uRHJhd2luZy5Qb2ludEYEAAAAAUcEAAAgAAAAJI/vQpRQYkMBSAQAACAAAADhG4tClFBiQwFJBAAAIAAAADQBKkOUUGJDByEDAAAAAQAAAAMAAAAEF0FwbG9yaXMuQmFzZS5BbmNob3JNb2RlAwAAAAFKBAAAmgAAAAAAAAABSwQAAJoAAAACAAAAAUwEAACaAAAABAAAAAEiAwAAJAAAAAnTAAAAAAAAAAAAAAABIwMAACUAAAAJTQQAAAIAAAACAAAAASQDAAADAQAAClgCAAABTgQAAFsBAAACAAAAAU8EAABcAQAAAQAAAAFQBAAAFAAAAMKsYkMhZUpDiOawQoq9zkIBUQQAAF4BAAAAAAAAAACgQAABUgQAACAAAAAyc4dDhBR+QwFTBAAAmgAAAAAAAAAAAAAAAAAAAAAJVAQAAAAAAAAJVQQAAAAAAAFWBAAAowAAAAAAAAABVwQAAGwAAAAAANhBAABwQQFYBAAAFAAAAJ3YgEM6sXdDxPe9QYmdOEESg74/BlkEAAADMzklCglaBAAACWcBAAA0AwAA/////wEBCglbBAAAAQAKAQElAwAAGwAAAAFcBAAAIAAAAMKsX0PzYZpDAV0EAAAgAAAAAxCfQyFlR0MJXgQAAAlfBAAAAAAAAAoBYAQAAGwAAAAAAAAAAAAAAAFhBAAAbAAAAAAAAAAAAAAAAAAAAAFiBAAAFAAAAAAAAAAAAAAAAAAAAAAAAACkAQAA/////wEBCgljBAAAAQAKAQcmAwAAAAEAAAACAAAABBpBcGxvcmlzLkJhc2UuVUkuVmlzdWFsTGluZQMAAAAKCgcnAwAAAAEAAAADAAAABBVTeXN0ZW0uRHJhd2luZy5Qb2ludEYEAAAAAWQEAAAgAAAAMnOHQ4QUfkMBZQQAACAAAADCrFxDhBR+QwFmBAAAIAAAAAOQoEOEFH5DBygDAAAAAQAAAAMAAAAEF0FwbG9yaXMuQmFzZS5BbmNob3JNb2RlAwAAAAFnBAAAmgAAAAAAAAABaAQAAJoAAAACAAAAAWkEAACaAAAABAAAAAEpAwAAJAAAAAnTAAAAAAAAAAAAAAABKgMAACUAAAAJagQAAAIAAAACAAAAASsDAAADAQAAClgCAAABawQAAFsBAAACAAAAAWwEAABcAQAAAQAAAAFtBAAAFAAAAMrlvEM3UkVDiOawQl7j2EIBbgQAAF4BAAAAAAAAAACgQAABbwQAACAAAACbAtNDDot7QwFwBAAAmgAAAAAAAAAAAAAAAAAAAAAJcQQAAAAAAAAJcgQAAAAAAAFzBAAAowAAAAAAAAABdAQAAGwAAAAAANhBAABwQQF1BAAAFAAAAImdzEOJnXRDxPe9QYmdOEESg74/BnYEAAADNDElCgl3BAAACWcBAAA0AwAA/////wEBCgl4BAAAAQAKAQEsAwAAGwAAAAF5BAAAIAAAAMplu0PzYZpDAXoEAAAgAAAAbJ/qQzdSQkMJewQAAAl8BAAAAAAAAAoBfQQAAGwAAAAAAAAAAAAAAAF+BAAAbAAAAAAAAAAAAAAAAAAAAAF/BAAAFAAAAAAAAAAAAAAAAAAAAAAAAACkAQAA/////wEBCgmABAAAAQAKAQctAwAAAAEAAAACAAAABBpBcGxvcmlzLkJhc2UuVUkuVmlzdWFsTGluZQMAAAAKCgcuAwAAAAEAAAADAAAABBVTeXN0ZW0uRHJhd2luZy5Qb2ludEYEAAAAAYEEAAAgAAAAmwLTQw6Le0MBggQAACAAAADK5blDDot7QwGDBAAAIAAAAGwf7EMOi3tDBy8DAAAAAQAAAAMAAAAEF0FwbG9yaXMuQmFzZS5BbmNob3JNb2RlAwAAAAGEBAAAmgAAAAAAAAABhQQAAJoAAAACAAAAAYYEAACaAAAABAAAAAEwAwAAJAAAAAnTAAAAAAAAAAAAAAABMQMAACUAAAAJhwQAAAIAAAACAAAAATIDAAADAQAAClgCAAABiAQAAFsBAAACAAAAAYkEAABcAQAAAQAAAAGKBAAAFAAAAJo6BEROP0BDgOawQjAJ40IBiwQAAF4BAAAAAAAAAACgQAABjAQAACAAAAACSQ9EmgF5QwGNBAAAmgAAAAAAAAAAAAAAAAAAAAAJjgQAAAAAAAAJjwQAAAAAAAGQBAAAowAAAAAAAAABkQQAAGwAAAAAANhBAABwQQGSBAAAFAAAAP//C0TETnJDxPe9QYmdOEESg74/BpMEAAADNDIlCgmUBAAACWcBAAA0AwAA/////wEBCgmVBAAAAQAKAQEzAwAAGwAAAAGWBAAAIAAAAJp6A0TzYZpDAZcEAAAgAAAAahcbRE4/PUMJmAQAAAmZBAAAAAAAAAoBmgQAAGwAAAAAAAAAAAAAAAGbBAAAbAAAAAAAAAAAAAAAAAAAAAGcBAAAFAAAAAAAAAAAAAAAAAAAAAAAAACkAQAA/////wEBCgmdBAAAAQAKAQc0AwAAAAEAAAACAAAABBpBcGxvcmlzLkJhc2UuVUkuVmlzdWFsTGluZQMAAAAKCgc1AwAAAAEAAAADAAAABBVTeXN0ZW0uRHJhd2luZy5Qb2ludEYEAAAAAZ4EAAAgAAAAAkkPRJoBeUMBnwQAACAAAACaugJEmgF5QwGgBAAAIAAAAGrXG0SaAXlDBzYDAAAAAQAAAAMAAAAEF0FwbG9yaXMuQmFzZS5BbmNob3JNb2RlAwAAAAGhBAAAmgAAAAAAAAABogQAAJoAAAACAAAAAaMEAACaAAAABAAAAAE3AwAAJAAAAAnTAAAAAAAAAAAAAAABOAMAACUAAAAJpAQAAAIAAAACAAAAAU8DAAAiAAAACgoAAAAAAChBCXAAAAAJcQAAAAmlBAAAAAAJpgQAAAFQAwAAcgAAAAoKAAAAADZshwAFAAAAAAEBVQMAAKcAAAAJpwQAAAEAAAADAAAAAVYDAABvAAAACagEAAAKAVkDAABqAAAACgoAAABAPwmpBAAACaoEAAABAAAA/v///wAAAAABAAAAAAAAAAAAAAABAAAAAAAAAAAAAAFaAwAAawAAAAoKCasEAAAJrAQAAAEAAAD+////AAAAAP////8BAAFeAwAAbwAAAAmtBAAACgdlAwAAAAEAAAAEAAAABBxBcGxvcmlzLkJhc2UuVUkuVmlzdWFsT2JqZWN0AwAAAAnmAgAACeUCAAAKCgFsAwAAIgAAAAoKAAAAAAAoQQlwAAAACXEAAAAJrgQAAAAACa8EAAABbQMAAHIAAAAKCgAAAAA2bIcABQAAAAABAXIDAACnAAAACbAEAAABAAAAAwAAAAFzAwAAbwAAAAmxBAAACgF2AwAAagAAAAoKAAAAQD8JsgQAAAmzBAAAAQAAAP7///8AAAAAAQAAAAAAAAAAAAAAAQAAAAAAAAAAAAABdwMAAGsAAAAKCgm0BAAACbUEAAABAAAA/v///wAAAAD/////AQABewMAAG8AAAAJtgQAAAoHggMAAAABAAAABAAAAAQcQXBsb3Jpcy5CYXNlLlVJLlZpc3VhbE9iamVjdAMAAAAJ7QIAAAnsAgAACgoBiQMAACIAAAAKCgAAAAAAKEEJcAAAAAlxAAAACbcEAAAAAAm4BAAAAYoDAAByAAAACgoAAAAANmyHAAUAAAAAAQGPAwAApwAAAAm5BAAAAQAAAAMAAAABkAMAAG8AAAAJugQAAAoBkwMAAGoAAAAKCgAAAEA/CbsEAAAJvAQAAAEAAAD+////AAAAAAEAAAAAAAAAAAAAAAEAAAAAAAAAAAAAAZQDAABrAAAACgoJvQQAAAm+BAAAAQAAAP7///8AAAAA/////wEAAZgDAABvAAAACb8EAAAKB58DAAAAAQAAAAQAAAAEHEFwbG9yaXMuQmFzZS5VSS5WaXN1YWxPYmplY3QDAAAACfQCAAAJ8wIAAAoKAaYDAAAiAAAACgoAAAAAAChBCXAAAAAJcQAAAAnABAAAAAAJwQQAAAGnAwAAcgAAAAoKAAAAADZshwAFAAAAAAEBrAMAAKcAAAAJwgQAAAEAAAADAAAAAa0DAABvAAAACcMEAAAKAbADAABqAAAACgoAAABAPwnEBAAACcUEAAABAAAA/v///wAAAAABAAAAAAAAAAAAAAABAAAAAAAAAAAAAAGxAwAAawAAAAoKCcYEAAAJxwQAAAEAAAD+////AAAAAP////8BAAG1AwAAbwAAAAnIBAAACge8AwAAAAEAAAAEAAAABBxBcGxvcmlzLkJhc2UuVUkuVmlzdWFsT2JqZWN0AwAAAAn7AgAACfoCAAAKCgHDAwAAIgAAAAoKAAAAAAAoQQlwAAAACXEAAAAJyQQAAAAACcoEAAABxAMAAHIAAAAKCgAAAAByhIwABgAAAAABAckDAACnAAAACcsEAAABAAAAAwAAAAHKAwAAbwAAAAnMBAAACgHNAwAAagAAAAoKAAAAQD8JzQQAAAnOBAAAAQAAAP7///8AAAAAAQAAAAAAAAAAAAAAAQAAAAAAAAAAAAABzgMAAGsAAAAKCgnPBAAACdAEAAABAAAA/v///wAAAAD/////AQAB0gMAAG8AAAAJ0QQAAAoH2QMAAAABAAAABAAAAAQcQXBsb3Jpcy5CYXNlLlVJLlZpc3VhbE9iamVjdAMAAAAJAgMAAAkBAwAACgoB4AMAACIAAAAKCgAAAAAAKEEJcAAAAAlxAAAACdIEAAAAAAnTBAAAAeEDAAByAAAACgoAAAAAcoSMAAYAAAAAAQHmAwAApwAAAAnUBAAAAQAAAAMAAAAB5wMAAG8AAAAJ1QQAAAoB6gMAAGoAAAAKCgAAAEA/CdYEAAAJ1wQAAAEAAAD+////AAAAAAEAAAAAAAAAAAAAAAEAAAAAAAAAAAAAAesDAABrAAAACgoJ2AQAAAnZBAAAAQAAAP7///8AAAAA/////wEAAe8DAABvAAAACdoEAAAKB/YDAAAAAQAAAAQAAAAEHEFwbG9yaXMuQmFzZS5VSS5WaXN1YWxPYmplY3QDAAAACQkDAAAJCAMAAAoKAf0DAAAiAAAACgoAAAAAAChBCXAAAAAJcQAAAAnbBAAAAAAJ3AQAAAH+AwAAcgAAAAoKAAAAAHKEjAAGAAAAAAEBAwQAAKcAAAAJ3QQAAAEAAAADAAAAAQQEAABvAAAACd4EAAAKAQcEAABqAAAACgoAAABAPwnfBAAACeAEAAABAAAA/v///wAAAAABAAAAAAAAAAAAAAABAAAAAAAAAAAAAAEIBAAAawAAAAoKCeEEAAAJ4gQAAAEAAAD+////AAAAAP////8BAAEMBAAAbwAAAAnjBAAACgcTBAAAAAEAAAAEAAAABBxBcGxvcmlzLkJhc2UuVUkuVmlzdWFsT2JqZWN0AwAAAAkQAwAACQ8DAAAKCgEaBAAAIgAAAAoKAAAAAAAoQQlwAAAACXEAAAAJ5AQAAAAACeUEAAABGwQAAHIAAAAKCgAAAAByhIwABgAAAAABASAEAACnAAAACeYEAAABAAAAAwAAAAEhBAAAbwAAAAnnBAAACgEkBAAAagAAAAoKAAAAQD8J6AQAAAnpBAAAAQAAAP7///8AAAAAAQAAAAAAAAAAAAAAAQAAAAAAAAAAAAABJQQAAGsAAAAKCgnqBAAACesEAAABAAAA/v///wAAAAD/////AQABKQQAAG8AAAAJ7AQAAAoHMAQAAAABAAAABAAAAAQcQXBsb3Jpcy5CYXNlLlVJLlZpc3VhbE9iamVjdAMAAAAJFwMAAAkWAwAACgoBNwQAACIAAAAKCgAAAAAAKEEJcAAAAAlxAAAACe0EAAAAAAnuBAAAATgEAAByAAAACgoAAAAA7SElAAcAAAAAAQE9BAAApwAAAAnvBAAAAQAAAAEAAAABPgQAAG8AAAAJ8AQAAAoBQQQAAGoAAAAKCgAAAEA/CfEEAAAJ8gQAAAEAAAD+////AAAAAAEAAAAAAAAAAAAAAAEAAAAAAAAAAAAAAUIEAABrAAAACgoJ8wQAAAn0BAAAAQAAAP7///8AAAAA/////wEAAUYEAABvAAAACfUEAAAKB00EAAAAAQAAAAQAAAAEHEFwbG9yaXMuQmFzZS5VSS5WaXN1YWxPYmplY3QDAAAACR4DAAAJHQMAAAoKAVQEAAAiAAAACgoAAAAAAChBCXAAAAAJcQAAAAn2BAAAAAAJ9wQAAAFVBAAAcgAAAAoKAAAAAO0hJQAHAAAAAAEBWgQAAKcAAAAJ+AQAAAEAAAADAAAAAVsEAABvAAAACfkEAAAKAV4EAABqAAAACgoAAABAPwn6BAAACfsEAAABAAAA/v///wAAAAABAAAAAAAAAAAAAAABAAAAAAAAAAAAAAFfBAAAawAAAAoKCfwEAAAJ/QQAAAEAAAD+////AAAAAP////8BAAFjBAAAbwAAAAn+BAAACgdqBAAAAAEAAAAEAAAABBxBcGxvcmlzLkJhc2UuVUkuVmlzdWFsT2JqZWN0AwAAAAklAwAACSQDAAAKCgFxBAAAIgAAAAoKAAAAAAAoQQlwAAAACXEAAAAJ/wQAAAAACQAFAAABcgQAAHIAAAAKCgAAAADtISUABwAAAAABAXcEAACnAAAACQEFAAABAAAAAwAAAAF4BAAAbwAAAAkCBQAACgF7BAAAagAAAAoKAAAAQD8JAwUAAAkEBQAAAQAAAP7///8AAAAAAQAAAAAAAAAAAAAAAQAAAAAAAAAAAAABfAQAAGsAAAAKCgkFBQAACQYFAAABAAAA/v///wAAAAD/////AQABgAQAAG8AAAAJBwUAAAoHhwQAAAABAAAABAAAAAQcQXBsb3Jpcy5CYXNlLlVJLlZpc3VhbE9iamVjdAMAAAAJLAMAAAkrAwAACgoBjgQAACIAAAAKCgAAAAAAKEEJcAAAAAlxAAAACQgFAAAAAAkJBQAAAY8EAAByAAAACgoAAAAA7SElAAcAAAAAAQGUBAAApwAAAAkKBQAAAQAAAAMAAAABlQQAAG8AAAAJCwUAAAoBmAQAAGoAAAAKCgAAAEA/CQwFAAAJDQUAAAEAAAD+////AAAAAAEAAAAAAAAAAAAAAAEAAAAAAAAAAAAAAZkEAABrAAAACgoJDgUAAAkPBQAAAQAAAP7///8AAAAA/////wEAAZ0EAABvAAAACRAFAAAKB6QEAAAAAQAAAAQAAAAEHEFwbG9yaXMuQmFzZS5VSS5WaXN1YWxPYmplY3QDAAAACTMDAAAJMgMAAAoKAaUEAAByAAAACgoAAAAA////AA4AAAAAAAGmBAAAcgAAAAoKAAAAAP///wAOAAAAAAEHpwQAAAABAAAABAAAAAQdQXBsb3Jpcy5CYXNlLk9iamVjdHMuVmFyaWFibGUDAAAAAREFAACZAgAAAQAAAAAAAAABEgUAAJkCAAAAAAAAAAAAAAETBQAAmQIAAAAAAAAAAAAAARQFAACZAgAAAAAAAAAAAAAPqAQAAAEAAAAIJAAAAAWpBAAAGkFwbG9yaXMuQmFzZS5PYmplY3RzLkNvbG9yBwAAABJEYXRhT2JqZWN0K21QYXJlbnQVRGF0YU9iamVjdCttQ29udGFpbmVyBW1UeXBlBG1SR0IQbVRoZW1lQ29sb3JJbmRleAxtQXV0b1VwZGF0ZWQJbU1vZGlmaWVkBAIAAAAAAB9BcGxvcmlzLkJhc2UuT2JqZWN0cy5MaW5lRm9ybWF0AwAAAAgICAEBAwAAAAlZAwAACgAAAAD///8ADgAAAAAABaoEAAAaQXBsb3Jpcy5CYXNlLk9iamVjdHMuQ29sb3IHAAAAEkRhdGFPYmplY3QrbVBhcmVudBVEYXRhT2JqZWN0K21Db250YWluZXIFbVR5cGUEbVJHQhBtVGhlbWVDb2xvckluZGV4DG1BdXRvVXBkYXRlZAltTW9kaWZpZWQEAgAAAAAAH0FwbG9yaXMuQmFzZS5PYmplY3RzLkxpbmVGb3JtYXQDAAAACAgIAQEDAAAACVkDAAAKAQAAAAAAAAD/////AAEBqwQAAHIAAAAKCgAAAAA2bIcABQAAAAAAAawEAAByAAAACgoBAAAA////AP////8AAA+tBAAAAQAAAAgMAAAAAa4EAAByAAAACgoAAAAA////AA4AAAAAAAGvBAAAcgAAAAoKAAAAAP///wAOAAAAAAEHsAQAAAABAAAABAAAAAQdQXBsb3Jpcy5CYXNlLk9iamVjdHMuVmFyaWFibGUDAAAAARUFAACZAgAAAQAAAAAAAAABFgUAAJkCAAAAAAAAAAAAAAEXBQAAmQIAAAAAAAAAAAAAARgFAACZAgAAAAAAAAAAAAAPsQQAAAEAAAAIIwAAAAWyBAAAGkFwbG9yaXMuQmFzZS5PYmplY3RzLkNvbG9yBwAAABJEYXRhT2JqZWN0K21QYXJlbnQVRGF0YU9iamVjdCttQ29udGFpbmVyBW1UeXBlBG1SR0IQbVRoZW1lQ29sb3JJbmRleAxtQXV0b1VwZGF0ZWQJbU1vZGlmaWVkBAIAAAAAAB9BcGxvcmlzLkJhc2UuT2JqZWN0cy5MaW5lRm9ybWF0AwAAAAgICAEBAwAAAAl2AwAACgAAAAD///8ADgAAAAAABbMEAAAaQXBsb3Jpcy5CYXNlLk9iamVjdHMuQ29sb3IHAAAAEkRhdGFPYmplY3QrbVBhcmVudBVEYXRhT2JqZWN0K21Db250YWluZXIFbVR5cGUEbVJHQhBtVGhlbWVDb2xvckluZGV4DG1BdXRvVXBkYXRlZAltTW9kaWZpZWQEAgAAAAAAH0FwbG9yaXMuQmFzZS5PYmplY3RzLkxpbmVGb3JtYXQDAAAACAgIAQEDAAAACXYDAAAKAQAAAAAAAAD/////AAEBtAQAAHIAAAAKCgAAAAA2bIcABQAAAAAAAbUEAAByAAAACgoBAAAA////AP////8AAA+2BAAAAQAAAAgLAAAAAbcEAAByAAAACgoAAAAA////AA4AAAAAAAG4BAAAcgAAAAoKAAAAAP///wAOAAAAAAEHuQQAAAABAAAABAAAAAQdQXBsb3Jpcy5CYXNlLk9iamVjdHMuVmFyaWFibGUDAAAAARkFAACZAgAAAQAAAAAAAAABGgUAAJkCAAAAAAAAAAAAAAEbBQAAmQIAAAAAAAAAAAAAARwFAACZAgAAAAAAAAAAAAAPugQAAAEAAAAIJgAAAAW7BAAAGkFwbG9yaXMuQmFzZS5PYmplY3RzLkNvbG9yBwAAABJEYXRhT2JqZWN0K21QYXJlbnQVRGF0YU9iamVjdCttQ29udGFpbmVyBW1UeXBlBG1SR0IQbVRoZW1lQ29sb3JJbmRleAxtQXV0b1VwZGF0ZWQJbU1vZGlmaWVkBAIAAAAAAB9BcGxvcmlzLkJhc2UuT2JqZWN0cy5MaW5lRm9ybWF0AwAAAAgICAEBAwAAAAmTAwAACgAAAAD///8ADgAAAAAABbwEAAAaQXBsb3Jpcy5CYXNlLk9iamVjdHMuQ29sb3IHAAAAEkRhdGFPYmplY3QrbVBhcmVudBVEYXRhT2JqZWN0K21Db250YWluZXIFbVR5cGUEbVJHQhBtVGhlbWVDb2xvckluZGV4DG1BdXRvVXBkYXRlZAltTW9kaWZpZWQEAgAAAAAAH0FwbG9yaXMuQmFzZS5PYmplY3RzLkxpbmVGb3JtYXQDAAAACAgIAQEDAAAACZMDAAAKAQAAAAAAAAD/////AAEBvQQAAHIAAAAKCgAAAAA2bIcABQAAAAAAAb4EAAByAAAACgoBAAAA////AP////8AAA+/BAAAAQAAAAgJAAAAAcAEAAByAAAACgoAAAAA////AA4AAAAAAAHBBAAAcgAAAAoKAAAAAP///wAOAAAAAAEHwgQAAAABAAAABAAAAAQdQXBsb3Jpcy5CYXNlLk9iamVjdHMuVmFyaWFibGUDAAAAAR0FAACZAgAAAQAAAAAAAAABHgUAAJkCAAAAAAAAAAAAAAEfBQAAmQIAAAAAAAAAAAAAASAFAACZAgAAAAAAAAAAAAAPwwQAAAEAAAAIJQAAAAXEBAAAGkFwbG9yaXMuQmFzZS5PYmplY3RzLkNvbG9yBwAAABJEYXRhT2JqZWN0K21QYXJlbnQVRGF0YU9iamVjdCttQ29udGFpbmVyBW1UeXBlBG1SR0IQbVRoZW1lQ29sb3JJbmRleAxtQXV0b1VwZGF0ZWQJbU1vZGlmaWVkBAIAAAAAAB9BcGxvcmlzLkJhc2UuT2JqZWN0cy5MaW5lRm9ybWF0AwAAAAgICAEBAwAAAAmwAwAACgAAAAD///8ADgAAAAAABcUEAAAaQXBsb3Jpcy5CYXNlLk9iamVjdHMuQ29sb3IHAAAAEkRhdGFPYmplY3QrbVBhcmVudBVEYXRhT2JqZWN0K21Db250YWluZXIFbVR5cGUEbVJHQhBtVGhlbWVDb2xvckluZGV4DG1BdXRvVXBkYXRlZAltTW9kaWZpZWQEAgAAAAAAH0FwbG9yaXMuQmFzZS5PYmplY3RzLkxpbmVGb3JtYXQDAAAACAgIAQEDAAAACbADAAAKAQAAAAAAAAD/////AAEBxgQAAHIAAAAKCgAAAAA2bIcABQAAAAAAAccEAAByAAAACgoBAAAA////AP////8AAA/IBAAAAQAAAAgKAAAAAckEAAByAAAACgoAAAAA////AA4AAAAAAAHKBAAAcgAAAAoKAAAAAP///wAOAAAAAAEHywQAAAABAAAABAAAAAQdQXBsb3Jpcy5CYXNlLk9iamVjdHMuVmFyaWFibGUDAAAAASEFAACZAgAAAQAAAAAAAAABIgUAAJkCAAAAAAAAAAAAAAEjBQAAmQIAAAAAAAAAAAAAASQFAACZAgAAAAAAAAAAAAAPzAQAAAEAAAAIIAAAAAXNBAAAGkFwbG9yaXMuQmFzZS5PYmplY3RzLkNvbG9yBwAAABJEYXRhT2JqZWN0K21QYXJlbnQVRGF0YU9iamVjdCttQ29udGFpbmVyBW1UeXBlBG1SR0IQbVRoZW1lQ29sb3JJbmRleAxtQXV0b1VwZGF0ZWQJbU1vZGlmaWVkBAIAAAAAAB9BcGxvcmlzLkJhc2UuT2JqZWN0cy5MaW5lRm9ybWF0AwAAAAgICAEBAwAAAAnNAwAACgAAAAD///8ADgAAAAAABc4EAAAaQXBsb3Jpcy5CYXNlLk9iamVjdHMuQ29sb3IHAAAAEkRhdGFPYmplY3QrbVBhcmVudBVEYXRhT2JqZWN0K21Db250YWluZXIFbVR5cGUEbVJHQhBtVGhlbWVDb2xvckluZGV4DG1BdXRvVXBkYXRlZAltTW9kaWZpZWQEAgAAAAAAH0FwbG9yaXMuQmFzZS5PYmplY3RzLkxpbmVGb3JtYXQDAAAACAgIAQEDAAAACc0DAAAKAQAAAAAAAAD/////AAEBzwQAAHIAAAAKCgAAAAByhIwABgAAAAAAAdAEAAByAAAACgoBAAAA////AP////8AAA/RBAAAAQAAAAgDAAAAAdIEAAByAAAACgoAAAAA////AA4AAAAAAAHTBAAAcgAAAAoKAAAAAP///wAOAAAAAAEH1AQAAAABAAAABAAAAAQdQXBsb3Jpcy5CYXNlLk9iamVjdHMuVmFyaWFibGUDAAAAASUFAACZAgAAAQAAAAAAAAABJgUAAJkCAAAAAAAAAAAAAAEnBQAAmQIAAAAAAAAAAAAAASgFAACZAgAAAAAAAAAAAAAP1QQAAAEAAAAIHwAAAAXWBAAAGkFwbG9yaXMuQmFzZS5PYmplY3RzLkNvbG9yBwAAABJEYXRhT2JqZWN0K21QYXJlbnQVRGF0YU9iamVjdCttQ29udGFpbmVyBW1UeXBlBG1SR0IQbVRoZW1lQ29sb3JJbmRleAxtQXV0b1VwZGF0ZWQJbU1vZGlmaWVkBAIAAAAAAB9BcGxvcmlzLkJhc2UuT2JqZWN0cy5MaW5lRm9ybWF0AwAAAAgICAEBAwAAAAnqAwAACgAAAAD///8ADgAAAAAABdcEAAAaQXBsb3Jpcy5CYXNlLk9iamVjdHMuQ29sb3IHAAAAEkRhdGFPYmplY3QrbVBhcmVudBVEYXRhT2JqZWN0K21Db250YWluZXIFbVR5cGUEbVJHQhBtVGhlbWVDb2xvckluZGV4DG1BdXRvVXBkYXRlZAltTW9kaWZpZWQEAgAAAAAAH0FwbG9yaXMuQmFzZS5PYmplY3RzLkxpbmVGb3JtYXQDAAAACAgIAQEDAAAACeoDAAAKAQAAAAAAAAD/////AAEB2AQAAHIAAAAKCgAAAAByhIwABgAAAAAAAdkEAAByAAAACgoBAAAA////AP////8AAA/aBAAAAQAAAAgEAAAAAdsEAAByAAAACgoAAAAA////AA4AAAAAAAHcBAAAcgAAAAoKAAAAAP///wAOAAAAAAEH3QQAAAABAAAABAAAAAQdQXBsb3Jpcy5CYXNlLk9iamVjdHMuVmFyaWFibGUDAAAAASkFAACZAgAAAQAAAAAAAAABKgUAAJkCAAAAAAAAAAAAAAErBQAAmQIAAAAAAAAAAAAAASwFAACZAgAAAAAAAAAAAAAP3gQAAAEAAAAIIgAAAAXfBAAAGkFwbG9yaXMuQmFzZS5PYmplY3RzLkNvbG9yBwAAABJEYXRhT2JqZWN0K21QYXJlbnQVRGF0YU9iamVjdCttQ29udGFpbmVyBW1UeXBlBG1SR0IQbVRoZW1lQ29sb3JJbmRleAxtQXV0b1VwZGF0ZWQJbU1vZGlmaWVkBAIAAAAAAB9BcGxvcmlzLkJhc2UuT2JqZWN0cy5MaW5lRm9ybWF0AwAAAAgICAEBAwAAAAkHBAAACgAAAAD///8ADgAAAAAABeAEAAAaQXBsb3Jpcy5CYXNlLk9iamVjdHMuQ29sb3IHAAAAEkRhdGFPYmplY3QrbVBhcmVudBVEYXRhT2JqZWN0K21Db250YWluZXIFbVR5cGUEbVJHQhBtVGhlbWVDb2xvckluZGV4DG1BdXRvVXBkYXRlZAltTW9kaWZpZWQEAgAAAAAAH0FwbG9yaXMuQmFzZS5PYmplY3RzLkxpbmVGb3JtYXQDAAAACAgIAQEDAAAACQcEAAAKAQAAAAAAAAD/////AAEB4QQAAHIAAAAKCgAAAAByhIwABgAAAAAAAeIEAAByAAAACgoBAAAA////AP////8AAA/jBAAAAQAAAAgBAAAAAeQEAAByAAAACgoAAAAA////AA4AAAAAAAHlBAAAcgAAAAoKAAAAAP///wAOAAAAAAEH5gQAAAABAAAABAAAAAQdQXBsb3Jpcy5CYXNlLk9iamVjdHMuVmFyaWFibGUDAAAAAS0FAACZAgAAAQAAAAAAAAABLgUAAJkCAAAAAAAAAAAAAAEvBQAAmQIAAAAAAAAAAAAAATAFAACZAgAAAAAAAAAAAAAP5wQAAAEAAAAIIQAAAAXoBAAAGkFwbG9yaXMuQmFzZS5PYmplY3RzLkNvbG9yBwAAABJEYXRhT2JqZWN0K21QYXJlbnQVRGF0YU9iamVjdCttQ29udGFpbmVyBW1UeXBlBG1SR0IQbVRoZW1lQ29sb3JJbmRleAxtQXV0b1VwZGF0ZWQJbU1vZGlmaWVkBAIAAAAAAB9BcGxvcmlzLkJhc2UuT2JqZWN0cy5MaW5lRm9ybWF0AwAAAAgICAEBAwAAAAkkBAAACgAAAAD///8ADgAAAAAABekEAAAaQXBsb3Jpcy5CYXNlLk9iamVjdHMuQ29sb3IHAAAAEkRhdGFPYmplY3QrbVBhcmVudBVEYXRhT2JqZWN0K21Db250YWluZXIFbVR5cGUEbVJHQhBtVGhlbWVDb2xvckluZGV4DG1BdXRvVXBkYXRlZAltTW9kaWZpZWQEAgAAAAAAH0FwbG9yaXMuQmFzZS5PYmplY3RzLkxpbmVGb3JtYXQDAAAACAgIAQEDAAAACSQEAAAKAQAAAAAAAAD/////AAEB6gQAAHIAAAAKCgAAAAByhIwABgAAAAAAAesEAAByAAAACgoBAAAA////AP////8AAA/sBAAAAQAAAAgCAAAAAe0EAAByAAAACgoAAAAA////AA4AAAAAAAHuBAAAcgAAAAoKAAAAAP///wAOAAAAAAEH7wQAAAABAAAABAAAAAQdQXBsb3Jpcy5CYXNlLk9iamVjdHMuVmFyaWFibGUDAAAAATEFAACZAgAAAQAAAAAAAAABMgUAAJkCAAAAAAAAAAAAAAEzBQAAmQIAAAAAAAAAAAAAATQFAACZAgAAAAAAAAAAAAAP8AQAAAEAAAAIKAAAAAXxBAAAGkFwbG9yaXMuQmFzZS5PYmplY3RzLkNvbG9yBwAAABJEYXRhT2JqZWN0K21QYXJlbnQVRGF0YU9iamVjdCttQ29udGFpbmVyBW1UeXBlBG1SR0IQbVRoZW1lQ29sb3JJbmRleAxtQXV0b1VwZGF0ZWQJbU1vZGlmaWVkBAIAAAAAAB9BcGxvcmlzLkJhc2UuT2JqZWN0cy5MaW5lRm9ybWF0AwAAAAgICAEBAwAAAAlBBAAACgAAAAD///8ADgAAAAAABfIEAAAaQXBsb3Jpcy5CYXNlLk9iamVjdHMuQ29sb3IHAAAAEkRhdGFPYmplY3QrbVBhcmVudBVEYXRhT2JqZWN0K21Db250YWluZXIFbVR5cGUEbVJHQhBtVGhlbWVDb2xvckluZGV4DG1BdXRvVXBkYXRlZAltTW9kaWZpZWQEAgAAAAAAH0FwbG9yaXMuQmFzZS5PYmplY3RzLkxpbmVGb3JtYXQDAAAACAgIAQEDAAAACUEEAAAKAQAAAAAAAAD/////AAEB8wQAAHIAAAAKCgAAAADtISUABwAAAAAAAfQEAAByAAAACgoBAAAA////AP////8AAA/1BAAAAQAAAAgIAAAAAfYEAAByAAAACgoAAAAA////AA4AAAAAAAH3BAAAcgAAAAoKAAAAAP///wAOAAAAAAEH+AQAAAABAAAABAAAAAQdQXBsb3Jpcy5CYXNlLk9iamVjdHMuVmFyaWFibGUDAAAAATUFAACZAgAAAQAAAAAAAAABNgUAAJkCAAAAAAAAAAAAAAE3BQAAmQIAAAAAAAAAAAAAATgFAACZAgAAAAAAAAAAAAAP+QQAAAEAAAAIJwAAAAX6BAAAGkFwbG9yaXMuQmFzZS5PYmplY3RzLkNvbG9yBwAAABJEYXRhT2JqZWN0K21QYXJlbnQVRGF0YU9iamVjdCttQ29udGFpbmVyBW1UeXBlBG1SR0IQbVRoZW1lQ29sb3JJbmRleAxtQXV0b1VwZGF0ZWQJbU1vZGlmaWVkBAIAAAAAAB9BcGxvcmlzLkJhc2UuT2JqZWN0cy5MaW5lRm9ybWF0AwAAAAgICAEBAwAAAAleBAAACgAAAAD///8ADgAAAAAABfsEAAAaQXBsb3Jpcy5CYXNlLk9iamVjdHMuQ29sb3IHAAAAEkRhdGFPYmplY3QrbVBhcmVudBVEYXRhT2JqZWN0K21Db250YWluZXIFbVR5cGUEbVJHQhBtVGhlbWVDb2xvckluZGV4DG1BdXRvVXBkYXRlZAltTW9kaWZpZWQEAgAAAAAAH0FwbG9yaXMuQmFzZS5PYmplY3RzLkxpbmVGb3JtYXQDAAAACAgIAQEDAAAACV4EAAAKAQAAAAAAAAD/////AAEB/AQAAHIAAAAKCgAAAADtISUABwAAAAAAAf0EAAByAAAACgoBAAAA////AP////8AAA/+BAAAAQAAAAgFAAAAAf8EAAByAAAACgoAAAAA////AA4AAAAAAAEABQAAcgAAAAoKAAAAAP///wAOAAAAAAEHAQUAAAABAAAABAAAAAQdQXBsb3Jpcy5CYXNlLk9iamVjdHMuVmFyaWFibGUDAAAAATkFAACZAgAAAQAAAAAAAAABOgUAAJkCAAAAAAAAAAAAAAE7BQAAmQIAAAAAAAAAAAAAATwFAACZAgAAAAAAAAAAAAAPAgUAAAEAAAAIKgAAAAUDBQAAGkFwbG9yaXMuQmFzZS5PYmplY3RzLkNvbG9yBwAAABJEYXRhT2JqZWN0K21QYXJlbnQVRGF0YU9iamVjdCttQ29udGFpbmVyBW1UeXBlBG1SR0IQbVRoZW1lQ29sb3JJbmRleAxtQXV0b1VwZGF0ZWQJbU1vZGlmaWVkBAIAAAAAAB9BcGxvcmlzLkJhc2UuT2JqZWN0cy5MaW5lRm9ybWF0AwAAAAgICAEBAwAAAAl7BAAACgAAAAD///8ADgAAAAAABQQFAAAaQXBsb3Jpcy5CYXNlLk9iamVjdHMuQ29sb3IHAAAAEkRhdGFPYmplY3QrbVBhcmVudBVEYXRhT2JqZWN0K21Db250YWluZXIFbVR5cGUEbVJHQhBtVGhlbWVDb2xvckluZGV4DG1BdXRvVXBkYXRlZAltTW9kaWZpZWQEAgAAAAAAH0FwbG9yaXMuQmFzZS5PYmplY3RzLkxpbmVGb3JtYXQDAAAACAgIAQEDAAAACXsEAAAKAQAAAAAAAAD/////AAEBBQUAAHIAAAAKCgAAAADtISUABwAAAAAAAQYFAAByAAAACgoBAAAA////AP////8AAA8HBQAAAQAAAAgGAAAAAQgFAAByAAAACgoAAAAA////AA4AAAAAAAEJBQAAcgAAAAoKAAAAAP///wAOAAAAAAEHCgUAAAABAAAABAAAAAQdQXBsb3Jpcy5CYXNlLk9iamVjdHMuVmFyaWFibGUDAAAAAT0FAACZAgAAAQAAAAAAAAABPgUAAJkCAAAAAAAAAAAAAAE/BQAAmQIAAAAAAAAAAAAAAUAFAACZAgAAAAAAAAAAAAAPCwUAAAEAAAAIKQAAAAUMBQAAGkFwbG9yaXMuQmFzZS5PYmplY3RzLkNvbG9yBwAAABJEYXRhT2JqZWN0K21QYXJlbnQVRGF0YU9iamVjdCttQ29udGFpbmVyBW1UeXBlBG1SR0IQbVRoZW1lQ29sb3JJbmRleAxtQXV0b1VwZGF0ZWQJbU1vZGlmaWVkBAIAAAAAAB9BcGxvcmlzLkJhc2UuT2JqZWN0cy5MaW5lRm9ybWF0AwAAAAgICAEBAwAAAAmYBAAACgAAAAD///8ADgAAAAAABQ0FAAAaQXBsb3Jpcy5CYXNlLk9iamVjdHMuQ29sb3IHAAAAEkRhdGFPYmplY3QrbVBhcmVudBVEYXRhT2JqZWN0K21Db250YWluZXIFbVR5cGUEbVJHQhBtVGhlbWVDb2xvckluZGV4DG1BdXRvVXBkYXRlZAltTW9kaWZpZWQEAgAAAAAAH0FwbG9yaXMuQmFzZS5PYmplY3RzLkxpbmVGb3JtYXQDAAAACAgIAQEDAAAACZgEAAAKAQAAAAAAAAD/////AAEBDgUAAHIAAAAKCgAAAADtISUABwAAAAAAAQ8FAAByAAAACgoBAAAA////AP////8AAA8QBQAAAQAAAAgHAAAACw==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7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8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1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1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9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1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8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6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67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6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57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7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58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8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59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29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2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3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6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6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7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8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39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4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4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wuuvaVt7ytoMk14C.42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2"/>
  <p:tag name="APLORISCONTAINERTAG" val="AAEAAAD/////AQAAAAAAAAAMAgAAAFJBcGxvcmlzLkJhc2UsIFZlcnNpb249NC4yLjAuMTkxMSwgQ3VsdHVyZT1uZXV0cmFsLCBQdWJsaWNLZXlUb2tlbj0xNmZjMTNhMjI2YzBlOTUxBQEAAAApQXBsb3Jpcy5CYXNlLk9iamVjdHMuQ29udGFpbmVyVmVyc2lvbkluZm8CAAAADVJlcXVpcmVkQnVpbGQJVXNlZEJ1aWxkAAAICAIAAAB4BQAAdwcAAAsAAQAAAP////8BAAAAAAAAAAwCAAAAU0FwbG9yaXMuQ2hhcnQsIFZlcnNpb249NC4yLjAuMTkxMSwgQ3VsdHVyZT1uZXV0cmFsLCBQdWJsaWNLZXlUb2tlbj0xNmZjMTNhMjI2YzBlOTUxDAMAAABSQXBsb3Jpcy5CYXNlLCBWZXJzaW9uPTQuMi4wLjE5MTEsIEN1bHR1cmU9bmV1dHJhbCwgUHVibGljS2V5VG9rZW49MTZmYzEzYTIyNmMwZTk1MQwEAAAAUVN5c3RlbS5EcmF3aW5nLCBWZXJzaW9uPTQuMC4wLjAsIEN1bHR1cmU9bmV1dHJhbCwgUHVibGljS2V5VG9rZW49YjAzZjVmN2YxMWQ1MGEzYQUBAAAAIUFwbG9yaXMuQ2hhcnQuQ29sdW1uT3JpZW50ZWRDaGFydE8AAAAKbUNoYXJ0VHlwZQ1tQ2F0ZWdvcnlBeGlzCm1WYWx1ZUF4aXMLbVZhbHVlQXhpczIYbVZhbHVlQXhpczFCb3R0b21PclJpZ2h0EW1VbnVzZWREYXRhU2VyaWVzFW1VbnVzZWREYXRhU2VyaWVzTGlzdBBtQ2hhcnREYXRhU2VyaWVzFW1Bbm5vdGF0aW9uRGF0YVNlcmllcxFtQW5ub3RhdGlvbkdyb3VwcxBtQ2hhcnREYXRhR3JvdXBzCm1EZWx0YUJhcnMNbURlbHRhQnJpZGdlcw1tR3Jvd3RoQXJyb3dzFG1XYXRlcmZhbGxDb25uZWN0b3JzEm1FbGVtZW50Q29ubmVjdG9ycxptU3RhbmRhcmRFbGVtZW50Q29ubmVjdG9ycwhtQmFyVHlwZRdtRXh0ZW5kZWRDdXN0b21TdGFja2luZxJtRGVmYXVsdFNlcmllc1R5cGUHbUxlZ2VuZBZtQ2x1c3RlcmVkQmFyQXhpc09yZGVyE21SZXZlcnNlU2VyaWVzT3JkZXIPbUFubm90YXRpb25BcmVhFG1Bbm5vdGF0aW9uR3JvdXBBcmVhF21QbGFjZWhvbGRlckdyb3Vwc0F0RW5kDm1IYXNDdXN0b21TdW1zFW1BeGlzQnJlYWtEaXNwbGF5TW9kZRFtU2hvd1Nlcmllc0xhYmVscxJtU2hvd0VsZW1lbnRMYWJlbHMQbVNob3dUb3RhbExhYmVscw5tTWVra29TdW1MYWJlbAptUmlkZ2VMaW5lGG1NZWtrb1N1bU51bWJlckZvcm1hdEFicxdtTWVra29TdW1MYWJlbFBvc2l0aW9ucxltTWVra29TdW1MYWJlbEFuY2hvck1vZGVzFm1NZWtrb1N1bUxhYmVsUG9zaXRpb24NbUhhc1JpZGdlTGluZQ1tR3JvdXBCYXJBeGlzDW1FeGNlbENvbHVtbnMRbUV4Y2VsQ29sdW1uQXJyYXkTbUNsdXN0ZXJlZEJhclNlcmllcxNtQ3VzdG9tU3RhY2tpbmdEYXRhJVJlY3Rhbmd1bGFyQ2hhcnQrbUJhc2VsaW5lT3JpZW50YXRpb24bUmVjdGFuZ3VsYXJDaGFydCttUmVjdGFuZ2xlEENoYXJ0K21DaGFydEFyZWESQ2hhcnQrbUhhc0RhdGFMaW5rEUNoYXJ0K21EYXRhTGlua0lkFUNoYXJ0K21BdXRvRGF0YVVwZGF0ZRpDaGFydCttQXZhaWxhYmxlVXBkYXRlRmlsZRNDaGFydCttTGFzdExpbmtGaWxlDENoYXJ0K21TaGVldBRDaGFydCttVHJhbnNwb3NlRGF0YRpDaGFydCttU2VyaWFsaXplZERhdGFUYWJsZRBDaGFydCttRml4ZWRSb3dzE0NoYXJ0K21GaXhlZENvbHVtbnMbQ2hhcnQrbUZpbGxDb2xvclNjaGVtZUluZGV4HENoYXJ0K21MaW5lRm9ybWF0U2NoZW1lSW5kZXgeQ2hhcnQrbU1hcmtlckZvcm1hdFNjaGVtZUluZGV4DkNoYXJ0K21VcGRhdGVkFkNoYXJ0K21SZXF1aXJlZEFyZWFTZXQTQ2hhcnQrbVJlcXVpcmVkQXJlYQ9Db250YWluZXIrbUxlZnQOQ29udGFpbmVyK21Ub3AQQ29udGFpbmVyK21XaWR0aBFDb250YWluZXIrbUhlaWdodBxDb250YWluZXIrbUNvbnRhaW5lclNoYXBlUG9zDUNvbnRhaW5lcittSWQRQ29udGFpbmVyK21UeXBlSWQWQ29udGFpbmVyK21EZWZhdWx0Rm9udB1Db250YWluZXIrbURlZmF1bHRGb250RmFyRWFzdBxDb250YWluZXIrbURlZmF1bHRUZXh0Rm9ybWF0FkNvbnRhaW5lcittVGhlbWVDb2xvcnMSQ29udGFpbmVyK21DbG9uaW5nE0NvbnRhaW5lcittUGVyc0RhdGEYRGF0YU9iamVjdCttQ2hpbGRPYmplY3RzEkRhdGFPYmplY3QrbVBhcmVudBVEYXRhT2JqZWN0K21Db250YWluZXIZRGF0YU9iamVjdCttVmlzdWFsT2JqZWN0cwQEBAQAAwMEBAQEBAQEBAQABAAEBAAABAQAAAQAAAAEBAQEBAAABAMHAAQEBAQAAwABAQcABAcHAAAAAAAEAAAAAAQBAAEBBAQAAgMEBAMlQXBsb3Jpcy5DaGFydC5Db2x1bW5PcmllbnRlZENoYXJ0VHlwZQIAAAAlQXBsb3Jpcy5DaGFydC5Db2x1bW5PcmllbnRlZENoYXJ0QXhpcwIAAAAlQXBsb3Jpcy5DaGFydC5Db2x1bW5PcmllbnRlZENoYXJ0QXhpcwIAAAAlQXBsb3Jpcy5DaGFydC5Db2x1bW5PcmllbnRlZENoYXJ0QXhpcwIAAAABsgFTeXN0ZW0uQ29sbGVjdGlvbnMuT2JqZWN0TW9kZWwuQ29sbGVjdGlvbmAxW1tBcGxvcmlzLkNoYXJ0LkNvbHVtbk9yaWVudGVkQ2hhcnQrVW51c2VkU2VyaWVzLCBBcGxvcmlzLkNoYXJ0LCBWZXJzaW9uPTQuMi4wLjE5MTEsIEN1bHR1cmU9bmV1dHJhbCwgUHVibGljS2V5VG9rZW49MTZmYzEzYTIyNmMwZTk1MV1dqAFTeXN0ZW0uQ29sbGVjdGlvbnMuR2VuZXJpYy5MaXN0YDFbW0FwbG9yaXMuQ2hhcnQuQ29sdW1uT3JpZW50ZWRDaGFydCtVbnVzZWRTZXJpZXMsIEFwbG9yaXMuQ2hhcnQsIFZlcnNpb249NC4yLjAuMTkxMSwgQ3VsdHVyZT1uZXV0cmFsLCBQdWJsaWNLZXlUb2tlbj0xNmZjMTNhMjI2YzBlOTUxXV2hAUFwbG9yaXMuQmFzZS5PYmplY3RzLkRhdGFPYmplY3RDb2xsZWN0aW9uYDFbW0FwbG9yaXMuQ2hhcnQuQ2hhcnREYXRhU2VyaWVzLCBBcGxvcmlzLkNoYXJ0LCBWZXJzaW9uPTQuMi4wLjE5MTEsIEN1bHR1cmU9bmV1dHJhbCwgUHVibGljS2V5VG9rZW49MTZmYzEzYTIyNmMwZTk1MV1dAwAAAKYBQXBsb3Jpcy5CYXNlLk9iamVjdHMuRGF0YU9iamVjdENvbGxlY3Rpb25gMVtbQXBsb3Jpcy5DaGFydC5Bbm5vdGF0aW9uRGF0YVNlcmllcywgQXBsb3Jpcy5DaGFydCwgVmVyc2lvbj00LjIuMC4xOTExLCBDdWx0dXJlPW5ldXRyYWwsIFB1YmxpY0tleVRva2VuPTE2ZmMxM2EyMjZjMGU5NTFdXQMAAAChAUFwbG9yaXMuQmFzZS5PYmplY3RzLkRhdGFPYmplY3RDb2xsZWN0aW9uYDFbW0FwbG9yaXMuQ2hhcnQuQW5ub3RhdGlvbkdyb3VwLCBBcGxvcmlzLkNoYXJ0LCBWZXJzaW9uPTQuMi4wLjE5MTEsIEN1bHR1cmU9bmV1dHJhbCwgUHVibGljS2V5VG9rZW49MTZmYzEzYTIyNmMwZTk1MV1dAwAAAKABQXBsb3Jpcy5CYXNlLk9iamVjdHMuRGF0YU9iamVjdENvbGxlY3Rpb25gMVtbQXBsb3Jpcy5DaGFydC5DaGFydERhdGFHcm91cCwgQXBsb3Jpcy5DaGFydCwgVmVyc2lvbj00LjIuMC4xOTExLCBDdWx0dXJlPW5ldXRyYWwsIFB1YmxpY0tleVRva2VuPTE2ZmMxM2EyMjZjMGU5NTFdXQMAAACaAUFwbG9yaXMuQmFzZS5PYmplY3RzLkRhdGFPYmplY3RDb2xsZWN0aW9uYDFbW0FwbG9yaXMuQ2hhcnQuRGVsdGFCYXIsIEFwbG9yaXMuQ2hhcnQsIFZlcnNpb249NC4yLjAuMTkxMSwgQ3VsdHVyZT1uZXV0cmFsLCBQdWJsaWNLZXlUb2tlbj0xNmZjMTNhMjI2YzBlOTUxXV0DAAAAnQFBcGxvcmlzLkJhc2UuT2JqZWN0cy5EYXRhT2JqZWN0Q29sbGVjdGlvbmAxW1tBcGxvcmlzLkNoYXJ0LkRlbHRhQnJpZGdlLCBBcGxvcmlzLkNoYXJ0LCBWZXJzaW9uPTQuMi4wLjE5MTEsIEN1bHR1cmU9bmV1dHJhbCwgUHVibGljS2V5VG9rZW49MTZmYzEzYTIyNmMwZTk1MV1dAwAAAJ0BQXBsb3Jpcy5CYXNlLk9iamVjdHMuRGF0YU9iamVjdENvbGxlY3Rpb25gMVtbQXBsb3Jpcy5DaGFydC5Hcm93dGhBcnJvdywgQXBsb3Jpcy5DaGFydCwgVmVyc2lvbj00LjIuMC4xOTExLCBDdWx0dXJlPW5ldXRyYWwsIFB1YmxpY0tleVRva2VuPTE2ZmMxM2EyMjZjMGU5NTFdXQMAAACkAUFwbG9yaXMuQmFzZS5PYmplY3RzLkRhdGFPYmplY3RDb2xsZWN0aW9uYDFbW0FwbG9yaXMuQ2hhcnQuV2F0ZXJmYWxsQ29ubmVjdG9yLCBBcGxvcmlzLkNoYXJ0LCBWZXJzaW9uPTQuMi4wLjE5MTEsIEN1bHR1cmU9bmV1dHJhbCwgUHVibGljS2V5VG9rZW49MTZmYzEzYTIyNmMwZTk1MV1dAwAAAKIBQXBsb3Jpcy5CYXNlLk9iamVjdHMuRGF0YU9iamVjdENvbGxlY3Rpb25gMVtbQXBsb3Jpcy5DaGFydC5FbGVtZW50Q29ubmVjdG9yLCBBcGxvcmlzLkNoYXJ0LCBWZXJzaW9uPTQuMi4wLjE5MTEsIEN1bHR1cmU9bmV1dHJhbCwgUHVibGljS2V5VG9rZW49MTZmYzEzYTIyNmMwZTk1MV1dAwAAAAEVQXBsb3Jpcy5DaGFydC5CYXJUeXBlAgAAAAEYQXBsb3Jpcy5DaGFydC5TZXJpZXNUeXBlAgAAACJBcGxvcmlzLkNoYXJ0LkNvbHVtbk9yaWVudGVkTGVnZW5kAgAAAAEBGVN5c3RlbS5EcmF3aW5nLlJlY3RhbmdsZUYEAAAAGVN5c3RlbS5EcmF3aW5nLlJlY3RhbmdsZUYEAAAACAEsQXBsb3Jpcy5DaGFydC5BeGlzQnJlYWsrQXhpc0JyZWFrRGlzcGxheU1vZGUCAAAAAQEBFUFwbG9yaXMuQmFzZS5VSS5MYWJlbAMAAAAeQXBsb3Jpcy5CYXNlLlVJLlZpc3VhbFBvbHlsaW5lAwAAABpBcGxvcmlzLkNoYXJ0Lk51bWJlckZvcm1hdAIAAAAXU3lzdGVtLkRyYXdpbmcuUG9pbnRGW10EAAAAGUFwbG9yaXMuQmFzZS5BbmNob3JNb2RlW10DAAAACAEaQXBsb3Jpcy5DaGFydC5BeGlzTnVtYmVyW10CAAAAiAFTeXN0ZW0uQ29sbGVjdGlvbnMuT2JqZWN0TW9kZWwuQ29sbGVjdGlvbmAxW1tTeXN0ZW0uSW50MzIsIG1zY29ybGliLCBWZXJzaW9uPTQuMC4wLjAsIEN1bHR1cmU9bmV1dHJhbCwgUHVibGljS2V5VG9rZW49Yjc3YTVjNTYxOTM0ZTA4OV1dCAgwQXBsb3Jpcy5DaGFydC5Db2x1bW5PcmllbnRlZENoYXJ0K0N1c3RvbVN0YWNraW5nAgAAABlBcGxvcmlzLkNoYXJ0Lk9yaWVudGF0aW9uAgAAABpBcGxvcmlzLkJhc2UuVUkuVmlzdWFsUmVjdAMAAAA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IuMC4xOTExLCBDdWx0dXJlPW5ldXRyYWwsIFB1YmxpY0tleVRva2VuPTE2ZmMxM2EyMjZjMGU5NTFdXR9BcGxvcmlzLkJhc2UuT2JqZWN0cy5EYXRhT2JqZWN0AwAAACFBcGxvcmlzLkNoYXJ0LkNvbHVtbk9yaWVudGVkQ2hhcnQCAAAAlQFTeXN0ZW0uQ29sbGVjdGlvbnMuR2VuZXJpYy5MaXN0YDFbW0FwbG9yaXMuQmFzZS5VSS5WaXN1YWxPYmplY3QsIEFwbG9yaXMuQmFzZSwgVmVyc2lvbj00LjIuMC4xOTExLCBDdWx0dXJlPW5ldXRyYWwsIFB1YmxpY0tleVRva2VuPTE2ZmMxM2EyMjZjMGU5NTFdXQIAAAAF+////yVBcGxvcmlzLkNoYXJ0LkNvbHVtbk9yaWVudGVkQ2hhcnRUeXBlAQAAAAd2YWx1ZV9fAAgCAAAAAAAAAAkGAAAACQcAAAAKAAoJCAAAAAkJAAAACQoAAAAJCwAAAAkMAAAACQ0AAAAJDgAAAAkPAAAACRAAAAAJEQAAAAAF7v///xVBcGxvcmlzLkNoYXJ0LkJhclR5cGUBAAAAB3ZhbHVlX18ACAIAAAAAAAAAAAXt////GEFwbG9yaXMuQ2hhcnQuU2VyaWVzVHlwZQEAAAAHdmFsdWVfXwAIAgAAAAAAAAAKAAEF7P///xlTeXN0ZW0uRHJhd2luZy5SZWN0YW5nbGVGBAAAAAF4AXkFd2lkdGgGaGVpZ2h0AAAAAAsLCwsEAAAA//9/////f////3////9//wHr////7P//////f////3////9/////f/8AAAAAAAXq////LEFwbG9yaXMuQ2hhcnQuQXhpc0JyZWFrK0F4aXNCcmVha0Rpc3BsYXlNb2RlAQAAAAd2YWx1ZV9fAAgCAAAAAQAAAAEBAQoKCRcAAAAKCgAAAAAACRgAAAAKCRkAAAAAAAAACgXm////GUFwbG9yaXMuQ2hhcnQuT3JpZW50YXRpb24BAAAAB3ZhbHVlX18ACAIAAAABAAAACRsAAAAB5P///+z///+8XiVCBFaNQYeo4EPk8IxDAATj////C1N5c3RlbS5HdWlkCwAAAAJfYQJfYgJfYwJfZAJfZQJfZgJfZwJfaAJfaQJfagJfawAAAAAAAAAAAAAACAcHAgICAgICAgIAAAAAAAAAAAAAAAAAAAAAAAoKCR4AAAAACgoKAQAAAAAAAAD/////AAAB4f///+z////poghDuugmQ+JegkOM7olCl3nGQnffJENexPpD0rmkQwXg////FVN5c3RlbS5EcmF3aW5nLlBvaW50RgIAAAABeAF5AAALCwQAAABNrstDLE5ZQwYhAAAAEDg4dTY5ayt1YU9SVG5Ja20AAAAACgoJIgAAAAkjAAAAAAoJJA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NC4wLjAuMCwgQ3VsdHVyZT1uZXV0cmFsLCBQdWJsaWNLZXlUb2tlbj1iNzdhNWM1NjE5MzRlMDg5XV0hQXBsb3Jpcy5DaGFydC5Db2x1bW5PcmllbnRlZENoYXJ0AgAAAJsBQXBsb3Jpcy5CYXNlLk9iamVjdHMuRGF0YU9iamVjdENvbGxlY3Rpb25gMVtbQXBsb3Jpcy5DaGFydC5WYWx1ZUxpbmUsIEFwbG9yaXMuQ2hhcnQsIFZlcnNpb249NC4yLjAuMTkxMSwgQ3VsdHVyZT1uZXV0cmFsLCBQdWJsaWNLZXlUb2tlbj0xNmZjMTNhMjI2YzBlOTUxXV0DAAAAmwFBcGxvcmlzLkJhc2UuT2JqZWN0cy5EYXRhT2JqZWN0Q29sbGVjdGlvbmAxW1tBcGxvcmlzLkNoYXJ0LkF4aXNCcmVhaywgQXBsb3Jpcy5DaGFydCwgVmVyc2lvbj00LjIuMC4xOTEx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Ex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TEsIEN1bHR1cmU9bmV1dHJhbCwgUHVibGljS2V5VG9rZW49MTZmYzEzYTIyNmMwZTk1MV1dIUFwbG9yaXMuQ2hhcnQuQ29sdW1uT3JpZW50ZWRDaGFydAIAAAAhQXBsb3Jpcy5DaGFydC5Db2x1bW5PcmllbnRlZENoYXJ0AgAAAJUBU3lzdGVtLkNvbGxlY3Rpb25zLkdlbmVyaWMuTGlzdGAxW1tBcGxvcmlzLkJhc2UuVUkuVmlzdWFsT2JqZWN0LCBBcGxvcmlzLkJhc2UsIFZlcnNpb249NC4yLjAuMTkxMSwgQ3VsdHVyZT1uZXV0cmFsLCBQdWJsaWNLZXlUb2tlbj0xNmZjMTNhMjI2YzBlOTUxXV0CAAAACQEAAAAF2P///xZBcGxvcmlzLkNoYXJ0LkF4aXNUeXBlAQAAAAd2YWx1ZV9fAAgCAAAAAQAAAJqZGT8AAAAKCQEAAAAJKQAAAAkqAAAAAQAAAAAAAAAAAQAAAAAAAPA/AZqZmZmZmbk/AAAAIEEAAQkrAAAACgksAAAACS0AAAAJLgAAAAHR////4P///7xeJUJExpVDAdD////g////XlT1Q0TGlUMJMQAAAAkyAAAACTMAAAAJNAAAAAAAAAAAAAAAAAAAAAk1AAAAAAAAAAAACTYAAAAJAQAAAAkBAAAACTgAAAABBwAAAAYAAAAJAQAAAAHG////2P///wAAAADNzEw/AAAACAEACQEAAAAJOwAAAAk8AAAAAQAAAAAAAAAAADMzMzMzM+M/AJqZmZmZmbk/AAAAIEEAAQk9AAAACgk+AAAACT8AAAAJQAAAAAG/////4P///7xeJUJExpVDAb7////g////vF4lQgRWjUEJQwAAAAlEAAAACUUAAAAJRgAAAAAAAAAAAAAAAAAAAAlHAAAAAAAAAAAACUgAAAAJAQAAAAkBAAAACUoAAAAECAAAAKgBU3lzdGVtLkNvbGxlY3Rpb25zLkdlbmVyaWMuTGlzdGAxW1tBcGxvcmlzLkNoYXJ0LkNvbHVtbk9yaWVudGVkQ2hhcnQrVW51c2VkU2VyaWVzLCBBcGxvcmlzLkNoYXJ0LCBWZXJzaW9uPTQuMi4wLjE5MTEsIEN1bHR1cmU9bmV1dHJhbCwgUHVibGljS2V5VG9rZW49MTZmYzEzYTIyNmMwZTk1MV1dAwAAAAZfaXRlbXMFX3NpemUIX3ZlcnNpb24EAAAwQXBsb3Jpcy5DaGFydC5Db2x1bW5PcmllbnRlZENoYXJ0K1VudXNlZFNlcmllc1tdAgAAAAgICUsAAAAAAAAAAAAAAAUJAAAAoQFBcGxvcmlzLkJhc2UuT2JqZWN0cy5EYXRhT2JqZWN0Q29sbGVjdGlvbmAxW1tBcGxvcmlzLkNoYXJ0LkNoYXJ0RGF0YVNlcmllcywgQXBsb3Jpcy5DaGFydCwgVmVyc2lvbj00LjIuMC4xOTEx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i4wLjE5MTEsIEN1bHR1cmU9bmV1dHJhbCwgUHVibGljS2V5VG9rZW49MTZmYzEzYTIyNmMwZTk1MV1dAwAAAJcBU3lzdGVtLkNvbGxlY3Rpb25zLkdlbmVyaWMuTGlzdGAxW1tBcGxvcmlzLkNoYXJ0LkNoYXJ0RGF0YVNlcmllc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UwAAAAJTQAAAAkBAAAACQEAAAAJTwAAAAUKAAAApgFBcGxvcmlzLkJhc2UuT2JqZWN0cy5EYXRhT2JqZWN0Q29sbGVjdGlvbmAxW1tBcGxvcmlzLkNoYXJ0LkFubm90YXRpb25EYXRhU2VyaWVzLCBBcGxvcmlzLkNoYXJ0LCBWZXJzaW9uPTQuMi4wLjE5MTE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IuMC4xOTExLCBDdWx0dXJlPW5ldXRyYWwsIFB1YmxpY0tleVRva2VuPTE2ZmMxM2EyMjZjMGU5NTFdXQMAAACcAVN5c3RlbS5Db2xsZWN0aW9ucy5HZW5lcmljLkxpc3RgMVtbQXBsb3Jpcy5DaGFydC5Bbm5vdGF0aW9uRGF0YVNlcmllc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AAAAAJUQAAAAkBAAAACQEAAAAJUwAAAAULAAAAoQFBcGxvcmlzLkJhc2UuT2JqZWN0cy5EYXRhT2JqZWN0Q29sbGVjdGlvbmAxW1tBcGxvcmlzLkNoYXJ0LkFubm90YXRpb25Hcm91cCwgQXBsb3Jpcy5DaGFydCwgVmVyc2lvbj00LjIuMC4xOTEx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TEsIEN1bHR1cmU9bmV1dHJhbCwgUHVibGljS2V5VG9rZW49MTZmYzEzYTIyNmMwZTk1MV1dAwAAAJcBU3lzdGVtLkNvbGxlY3Rpb25zLkdlbmVyaWMuTGlzdGAxW1tBcGxvcmlzLkNoYXJ0LkFubm90YXRpb25Hcm91cC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QAAAAJVQAAAAkBAAAACQEAAAAJVwAAAAUMAAAAoAFBcGxvcmlzLkJhc2UuT2JqZWN0cy5EYXRhT2JqZWN0Q29sbGVjdGlvbmAxW1tBcGxvcmlzLkNoYXJ0LkNoYXJ0RGF0YUdyb3VwLCBBcGxvcmlzLkNoYXJ0LCBWZXJzaW9uPTQuMi4wLjE5MTE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IuMC4xOTExLCBDdWx0dXJlPW5ldXRyYWwsIFB1YmxpY0tleVRva2VuPTE2ZmMxM2EyMjZjMGU5NTFdXQMAAACWAVN5c3RlbS5Db2xsZWN0aW9ucy5HZW5lcmljLkxpc3RgMVtbQXBsb3Jpcy5DaGFydC5DaGFydERhdGFHcm91cC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gAAAAJWQAAAAkBAAAACQEAAAAJWwAAAAUNAAAAmgFBcGxvcmlzLkJhc2UuT2JqZWN0cy5EYXRhT2JqZWN0Q29sbGVjdGlvbmAxW1tBcGxvcmlzLkNoYXJ0LkRlbHRhQmFyLCBBcGxvcmlzLkNoYXJ0LCBWZXJzaW9uPTQuMi4wLjE5MTE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IuMC4xOTExLCBDdWx0dXJlPW5ldXRyYWwsIFB1YmxpY0tleVRva2VuPTE2ZmMxM2EyMjZjMGU5NTFdXQMAAACQAVN5c3RlbS5Db2xsZWN0aW9ucy5HZW5lcmljLkxpc3RgMVtbQXBsb3Jpcy5DaGFydC5EZWx0YUJhci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VwAAAAJXQAAAAkBAAAACQEAAAAJXwAAAAUOAAAAnQFBcGxvcmlzLkJhc2UuT2JqZWN0cy5EYXRhT2JqZWN0Q29sbGVjdGlvbmAxW1tBcGxvcmlzLkNoYXJ0LkRlbHRhQnJpZGdlLCBBcGxvcmlzLkNoYXJ0LCBWZXJzaW9uPTQuMi4wLjE5MTE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ExLCBDdWx0dXJlPW5ldXRyYWwsIFB1YmxpY0tleVRva2VuPTE2ZmMxM2EyMjZjMGU5NTFdXQMAAACTAVN5c3RlbS5Db2xsZWN0aW9ucy5HZW5lcmljLkxpc3RgMVtbQXBsb3Jpcy5DaGFydC5EZWx0YUJyaWRnZS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AAAAAJYQAAAAkBAAAACQEAAAAJYwAAAAUPAAAAnQFBcGxvcmlzLkJhc2UuT2JqZWN0cy5EYXRhT2JqZWN0Q29sbGVjdGlvbmAxW1tBcGxvcmlzLkNoYXJ0Lkdyb3d0aEFycm93LCBBcGxvcmlzLkNoYXJ0LCBWZXJzaW9uPTQuMi4wLjE5MTE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IuMC4xOTExLCBDdWx0dXJlPW5ldXRyYWwsIFB1YmxpY0tleVRva2VuPTE2ZmMxM2EyMjZjMGU5NTFdXQMAAACTAVN5c3RlbS5Db2xsZWN0aW9ucy5HZW5lcmljLkxpc3RgMVtbQXBsb3Jpcy5DaGFydC5Hcm93dGhBcnJvd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QAAAAJZQAAAAkBAAAACQEAAAAJZwAAAAUQAAAApAFBcGxvcmlzLkJhc2UuT2JqZWN0cy5EYXRhT2JqZWN0Q29sbGVjdGlvbmAxW1tBcGxvcmlzLkNoYXJ0LldhdGVyZmFsbENvbm5lY3RvciwgQXBsb3Jpcy5DaGFydCwgVmVyc2lvbj00LjIuMC4xOTEx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i4wLjE5MTEsIEN1bHR1cmU9bmV1dHJhbCwgUHVibGljS2V5VG9rZW49MTZmYzEzYTIyNmMwZTk1MV1dAwAAAJoBU3lzdGVtLkNvbGxlY3Rpb25zLkdlbmVyaWMuTGlzdGAxW1tBcGxvcmlzLkNoYXJ0LldhdGVyZmFsbENvbm5lY3Rvci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gAAAAJaQAAAAkBAAAACQEAAAAJawAAAAURAAAAogFBcGxvcmlzLkJhc2UuT2JqZWN0cy5EYXRhT2JqZWN0Q29sbGVjdGlvbmAxW1tBcGxvcmlzLkNoYXJ0LkVsZW1lbnRDb25uZWN0b3IsIEFwbG9yaXMuQ2hhcnQsIFZlcnNpb249NC4yLjAuMTkxMS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xMSwgQ3VsdHVyZT1uZXV0cmFsLCBQdWJsaWNLZXlUb2tlbj0xNmZjMTNhMjI2YzBlOTUxXV0DAAAAmAFTeXN0ZW0uQ29sbGVjdGlvbnMuR2VuZXJpYy5MaXN0YDFbW0FwbG9yaXMuQ2hhcnQuRWxlbWVudENvbm5lY3Rvci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MAAAAKCWwAAAAJbQAAAAkBAAAACQEAAAAJbwAAAAUX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hQXBsb3Jpcy5DaGFydC5Db2x1bW5PcmllbnRlZENoYXJ0AgAAACFBcGxvcmlzLkNoYXJ0LkNvbHVtbk9yaWVudGVkQ2hhcnQCAAAACAEICAEICAgCAAAACQEAAAAJAQAAAAAAAAAABnEAAAABLgMAAAAGcgAAAAEsBnMAAAABLQZ0AAAAASsBAAAAAAoKBnUAAAAITS9kL3l5eXkAAAAACgAAAAAAAAAABxgAAAAAAQAAAAEAAAAEGEFwbG9yaXMuQ2hhcnQuQXhpc051bWJlcgIAAAAFiv///xhBcGxvcmlzLkNoYXJ0LkF4aXNOdW1iZXIBAAAAB3ZhbHVlX18ACAIAAAAAAAAADxkAAAADAAAACAEAAAACAAAAAwAAAAUbAAAAGkFwbG9yaXMuQmFzZS5VSS5WaXN1YWxSZWN0FQAAAAttU3RhcnRQb2ludAltRW5kUG9pbnQLbUxpbmVGb3JtYXQLbUZpbGxGb3JtYXQJbVJvdGF0aW9uEm1SZWN0YW5nbGVQcm92aWRlcgxtUGFpbnRPZmZzZXQSbVBhaW50U2l6ZU92ZXJyaWRlDm1FeHRyYVJvdGF0aW9uDm1MYXN0UGFpbnRSZWN0CW1QZXJzRGF0YR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g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GJ////4P///7xeJUIEVo1BAYj////g////XlT1Q0TGlUMJeQAAAAl6AAAAAAAAAAoFhf///xRTeXN0ZW0uRHJhd2luZy5TaXplRgIAAAAFd2lkdGgGaGVpZ2h0AAALCwQAAAAAAAAAAAAAAAGE////hf///wAAAAAAAAAAAAAAAAGD////7P///wAAAAAAAAAAAAAAAAAAAAAJfgAAABQAAAD/////AQEKCX4AAAABAAoBDx4AAACKJgAAAlBLAwQUAAYACAAAACEAkleNNXI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8MwDL4j8R+qXFGbjQNCaN0ODI4wifEDQuKu0ZqH4uz173GzDSE0WtB2adQk38N27NFka5psDQG1syUbFgOWgZVOabso2fv8Ob9nGUZhlWichZLtANlkfH01mu88YEZoiyWrY/QPnKOswQgsnAdLJ5ULRkT6DQvuhVyKBfDbweCOS2cj2JjHloONR1OoxKqJ2dOWtvdOCM6yx/29VqpkwvtGSxHJKG9P+UncuhO3tuqHudxVlZagnFwZslQQfhrEhsL/RSBAgx3OTigcQi8ImdxjrT3eHEJ4pdwHrSCbiRBfhKFA+bbhGxeWH84ti+489MeDPoBQWANE0xRpLYzQ9g/66TLytAwvbKSNLxH3+Ij0oICn7/kWEk2PIMZdA3jptCfSPuVaBFBvMdDbu7iB79w9PqQzbSfgpUt+5O2SpzacBeeRJkSA/xfh2GktOvdEBCFq6Oy1L0UaL2dXHdr5pUCd0OZpXo4/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/uTt5/JoE2hdJdcDJ+Ev+8noe3uZxzEFybqg1dQFSUI9CbY3ncKPprXuycQxNpbPQSPCiYk2NW3N9s3HDTnT+T6SCK7eFLgmOOzlGQcjpqKENHnThvSqDnL1MmozUF3KDdl+SjT0gPqM0+xtwrS3t6DaKaYk//3Dm3bG3wJ5nNEzxciJPE05AFEo1OHrOBPF5kR5OX4h1XjnU5o3znl7S4pluVrMNWaMN8hHcgh8mkdxxLJuVNdg9msCcP5YPAEMks5v0cGeXZx9S8AAAD//wMAUEsDBBQABgAIAAAAIQBAAeZxowIAAEkFAAAPAAAAeGwvd29ya2Jvb2sueG1spFRdb5swFH2ftP+AeKcG85EQBao0H1qkaaqmrn2cHGOCVX9QYxq6af99FxhNt750Gw/Y1zbH555zL8vLTgrnkZmGa5W5wYXvOkxRXXB1zNwvNztv7jqNJaogQiuWuU+scS/z9++WJ23uD1rfOwCgmsytrK0XCDW0YpI0F7pmCnZKbSSxEJojamrDSNFUjFkpEPb9BEnClTsiLMxbMHRZcso2mraSKTuCGCaIBfpNxetmQpP0LXCSmPu29qiWNUAcuOD2aQB1HUkX+6PShhwEpN0F8YQM01fQklOjG13aC4BCI8lX+QY+CoIx5XxZcsFuR9kdUtefiOxvEa4jSGO3BbesyNwEQn1i5wUgYdr6quUCdvE89rHroPzZi2vTR8B8JSwzili21sqCUL8k/l9RBux1pcEC5zN7aLlh4HyvTb6EN6ELcmiuia2c1ojMRY/EoFKLAvJEDyeEqxRX32iBwyA0QfFoI1Wrr/7ch+eo0A2ysg7KIp0TnFzAHL2QnLz28y9EJ3TQCYE0I/182c//lClf9hV9y9mpOYvah053x1WhT5kbRwm0yNMUBrMIwtOweccLW0EPpfF57QPjx8rCYpRgOAjuoBdXDL0AVw2jo4YaWNVCG95siCXQeX2z7MHrAIxfcJiYfQHzHmf6mBJBwfh+GE5GcYLhCNWKtsaA+WvYydzxdtbZj43NlzCCRzxzv8/SXRyls8QLNqvYi5Jg7l0F0cyL1pttdJXG4Sqc/zgbEf1b7fspSqfS74JoMf09gHjBStIKu5fkyDY1UArxLJmNOQLN37jGONzGm9DD8S70VvHW94IkxF4S7XAcrTGOYvzMVXZvoyoJRayjbPglzSeSslusDK32G2cnyBGqfOw0OAmM+vcgI5ryyH8CAAD//wMAUEsDBBQABgAIAAAAIQBonLPgmwAAALUAAAAUAAAAeGwvc2hhcmVkU3RyaW5ncy54bWw0jUEKwjAQRfeCdwiz16kuRCRJEcET6AFCO7aBZlIzU9HbGxcu3/88nm3faTIvKhIzO9htGzDEXe4jDw7ut+vmCEY0cB+mzOTgQwKtX6+siJrqsjgYVecTonQjpSDbPBPX55FLClqxDChzodDLSKRpwn3THDCFyGC6vLDWLpiF43Ohy5+9leit+vNQiCyqt/gbsGb9Fw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NHxzYb4CAABdBwAADQAAAHhsL3N0eWxlcy54bWzEVclu2zAQvRfoPwi8O7IdO7EMSQG8CAiQFgXsAr1SEiUT4SKQVGq16L93SEm20jTI0kN98XA4fO9xZjgKb46ceQ9EaSpFhCYXY+QRkcmcijJCX/fJaIE8bbDIMZOCRKghGt3EHz+E2jSM7A6EGA8ghI7QwZhq6fs6OxCO9YWsiICdQiqODSxV6etKEZxre4gzfzoeX/kcU4FahCXPXgPCsbqvq1EmeYUNTSmjpnFYyOPZ8rYUUuGUgdTjZIazHtstnsBzmimpZWEuAM6XRUEz8lRl4Ac+IMVhIYXRXiZrYSI0BWjLsLwX8rtI7BYksIuKQ/3De8AMPBPk+XGYSSaVZyA1oKx1CcxJG7PGjKaKusACc8qa1g8UcNQltIvkFK7nvL4V00qKw9TFdYzBgJCKnBxJHqHFn5x7fJAcP0PZgbs/DSSUsdO9Z/aK4IhDyL8hSiSw8Dp731RwPwGt0ol0gS+Elwo3k+n8DSe0ZDS3Osq1y6sq0wgl8FtvO5y02zkl4GrW4g9Ex6HfKntB37Ns2+sgcahvYnOkkNVUqhweXt9PtnVaVxwyUhhbUkXLgzOMrOw6lcZIbq2c4lIKzKzt98c6A7AzwtjOvtBvxSOCY+GJmifc3EJPwFu3TdSbUKrObPG6hSUYwrXgA9w5CH8H7rE4E/zH47iqWGNbuH+Wr9AC7/JRik5XeQ/Y5avBXBkg8YPyPiruqUqeHS0R+mxHL4Mx1Wc6rSkzVPytsACaH8+9Aq0BdTd2kLo2OvHARk4KXDOzP21G6Gx/IjmtOSSoi/pCH6RxEBE623e2rydXjoQczZ2GSQb/Xq1ohH5uV9fBZptMR4vxajGaXZL5KJivNqP5bL3abJJgPB2vfw0G+z+Mdff5gfadzJaawfBX3W079buzL0KDRau/HSigG15Ifwv//F2MfwMAAP//AwBQSwMEFAAGAAgAAAAhAHyeQPJZAgAALQUAABgAAAB4bC93b3Jrc2hlZXRzL3NoZWV0MS54bWyMVNtu3CAQfa/Uf0C8x7fN1VpvlOwqah4qVb0+s3hso4Bxgb39fQfIut6kqtYPFjBw5syZA/P7vZJkC8YK3Vc0TzJKoOe6Fn1b0R/fny5uKbGO9TWTuoeKHsDS+8XHD/OdNi+2A3AEEXpb0c65oUxTyztQzCZ6gB4jjTaKOZyaNrWDAVaHQ0qmRZZdp4qJnkaE0pyDoZtGcFhpvlHQuwhiQDKH/G0nBntE29dn4dWG7bDWI58JxVWMjHj55Tt+SnCjrW5cwrVKI7X3Vd6ldyd1Kn5OoYqZl81wgcADFrcWUrhDKJcSxcvntteGrSV2ZJ9fMj5hyd7Dn88TkRbzWqC23hDEQFPRh7xcFpSki3lo3U8BOzsZE8fW30ACd1Cjgyjxzlhr/eI3PuNShpA2bPCQjDuxhSVIWdFljnazv0OWMMYc6ZhkOj4mfAp2+mLImllYavlL1K7DrIhTQ8M20v1dvE1uZ0U2y4urMfhV7z6BaDuHR3A1SFfWhxVYjm5CqkkslGuJGfFPlPDXAjVn+1hcTDjFtu7g+3AZJErj0VDEijm2mBu9I2hFxLAD8xclL2c4rij++cY6rWJRYcs/GSETj/DgISr6ytCvPMaVGQq8XRRZfjVPt6gafz2wfBO+GcMpkhqZIeCU2X8p+L2hVBTLhrTZac7HuCOPsWSWX7/hdBq/Kq6z6Ve8oRjdEIUcWAufmWlFb4mEJrTrhhIT+5klOHZ68E28wd6utUNpj7MOHx5AxbIEVW+0duMELSehZfzwet+JKQWa1jzXqJ734/jQLf4AAAD//wMAUEsDBBQABgAIAAAAIQCMULy2mgIAAD0HAAAbAAAAeGwvZHJhd2luZ3Mvdm1sRHJhd2luZzEudm1s7FXLbtswELwX6D8QysEXG3o0SVtGMhCkyK0t0PRxDGiJtpiQXEFcy3K+PktKduwiLQLk0EsFSyJ3l8uZ4QjOe6MZ3dbxrojWreWurKURbmZU2YKDJc5KMLwzOnr7ZqyEv1XCcqlKyYfX05r+BWtkX8qDbQwhqhEbHsdGlD+NvgnQfrQqmhOWHLirRSO12MIaWcdlj0UkK4Uh7fOqMqI5yrBKoCiiNIpDi/ioxzzvhpa4bSRTVRHd9gldt5glWcRKgLZy6kEWUZaeJ8k0PCNGPRra2dcQLNYIrIvIJNNEjyVD4dEz6eWIkrbEFu4luwNlHW41tTcKZTtAZITJd2SrVlRKWgyc4b6I0O9cgrWyRA+4iFoa7YgdMNnTOqTk0iQ7i9iw8OSI5wBi0oBTqMBysXCg1ygvPDsj2pWyMy2XyM8/NHgxBhAaniY036gKa55mpzSupVrVyDMff5gpW8mep6FNp5xaKK1wy2tVVdJeGAezTSuaWdieo185YUuldQka2iI6WdIlU8+ahJJooCLOYo2wV9JX0zFRefZUH07ay0jKVbBhYAftFq5ct5IOedRsr/Rvqlqw8ukskFy2gJ6NInnUlfLCk1IzoZF7QBNvLsbySnW7Qr+O8mpludduMs9jyoa6PO742HaY9/xK+6P+RF5lXxd31P17OOAvgKNtWN7zz9DJXwrrK6m1G1j68A059JnwpS1raAdgLJ2y9GzKEnrR/Y5+dPvgxzzu+WEpNbwkRtek7PxaaCdDwS4y0Oz5N9jMU5/xg13wilxj7Dzx8XHsU2G65zd8hqNb/+jU81c6Nc3SY6tmB071Lt451cd3Ts3+O/XfOzXbO5VGp2TU98Gor/Bp8OMzPg3+falPY/rPnD8CAAD//wMAUEsDBBQABgAIAAAAIQBz/N+t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U9Lw0AQxe+C3yHsPdkkRVuWJAWVniwKtijeltlJu5j9w+5q2m/vNq2xUo/De/PjvZlqvlNd8oXOS6NrUmQ5SVCDEVJvarJeLdIZSXzgWvDOaKzJHj2ZN9dXFVgGxuGzMxZdkOiTSNKega3JNgTLKPWwRcV9Fh06iq1xioc4ug21HD74BmmZ57dUYeCCB04PwNSORHJCChiR9tN1A0AAxQ4V6uBpkRX01xvQKf/vwqCcOZUMexs7neKeswUcxdG983I09n2f9ZMhRsxf0Lfl48tQNZX6cCtA0lQCGDjkwbimoudDPFzHfVjGG7cSxd2+WUpwxps2JE9tKwGTtUdX0UtjhA4dmDotJzEWO5b4kV4n9w+rBWnKvJim+Swty1Vxw8oJy6fvhyB/ATHbxSObbwAAAP//AwBQSwMEFAAGAAgAAAAhAN9SO6ISAQAALQIAABAAAAB4bC9jb21tZW50czEueG1sxFDLTsMwELwj8Q/W3qnTHlBBsatyKELigET5ABNvGkt+RF63Svl6tknDgRM3JMvyjGdnRltvhuDFCTO5FBUsFxUIjE2yLh4UfOx3d2sQVEy0xqeICs5IsNG3N3WTQsBYSLBBJAVdKf2jlNR0GAwtUo+Rf9qUgykM80FSn9FY6hBL8HJVVfcyGBdB1+ZYupRpfgipa/nDXYNeHRU9p4qMrYKnJYhJ9mIVVGxUcGBR5vPG1+fFiL7EyXgFD3BBTfIpCxctDsgza3ZgNu9SLJNsb7oUzMi2Jjh/nujVyMjRtujnnI69sEhNdn3hzVEtOVdyppwqyGvrX4237PMvjd8xO6Q/Vp7LTyufEelv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EAB5nGjAgAASQUAAA8AAAAAAAAAAAAAAAAAAgkAAHhsL3dvcmtib29rLnhtbFBLAQItABQABgAIAAAAIQBonLPgmwAAALUAAAAUAAAAAAAAAAAAAAAAANILAAB4bC9zaGFyZWRTdHJpbmdzLnhtbFBLAQItABQABgAIAAAAIQDnZXW41gAAALgBAAAjAAAAAAAAAAAAAAAAAJ8MAAB4bC93b3Jrc2hlZXRzL19yZWxzL3NoZWV0MS54bWwucmVsc1BLAQItABQABgAIAAAAIQDcBge+egYAANkbAAATAAAAAAAAAAAAAAAAALYNAAB4bC90aGVtZS90aGVtZTEueG1sUEsBAi0AFAAGAAgAAAAhADR8c2G+AgAAXQcAAA0AAAAAAAAAAAAAAAAAYRQAAHhsL3N0eWxlcy54bWxQSwECLQAUAAYACAAAACEAfJ5A8lkCAAAtBQAAGAAAAAAAAAAAAAAAAABKFwAAeGwvd29ya3NoZWV0cy9zaGVldDEueG1sUEsBAi0AFAAGAAgAAAAhAIxQvLaaAgAAPQcAABsAAAAAAAAAAAAAAAAA2RkAAHhsL2RyYXdpbmdzL3ZtbERyYXdpbmcxLnZtbFBLAQItABQABgAIAAAAIQBz/N+tOAEAABUCAAARAAAAAAAAAAAAAAAAAKwcAABkb2NQcm9wcy9jb3JlLnhtbFBLAQItABQABgAIAAAAIQDfUjuiEgEAAC0CAAAQAAAAAAAAAAAAAAAAABsfAAB4bC9jb21tZW50czEueG1sUEsBAi0AFAAGAAgAAAAhAF6k9QCLAQAADQMAABAAAAAAAAAAAAAAAAAAWyAAAGRvY1Byb3BzL2FwcC54bWxQSwUGAAAAAA0ADQBYAwAAHC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8AAAAFQXJpYWwGgAAAABbvvK3vvLMg77yw44K044K344OD44KvCYEAAAABAAmCAAAAByMAAAAAAQAAABEAAAAEFFN5c3RlbS5EcmF3aW5nLkNvbG9yBAAAAAV9////FFN5c3RlbS5EcmF3aW5nLkNvbG9yBAAAAARuYW1lBXZhbHVlCmtub3duQ29sb3IFc3RhdGUBAAAACQcHBAAAAAoAAAAAAAAAAAAAAAABfP///33///8KAAAA/wAAAAAAAAIAAXv///99////Cv////8AAAAAAAACAAF6////ff///wpOQSL/AAAAAAAAAgABef///33///8K3tzb/wAAAAAAAAIAAXj///99////Cn5pP/8AAAAAAAACAAF3////ff///wqMhHL/AAAAAAAAAgABdv///33///8KJSHt/wAAAAAAAAIAAXX///99////CjQ7Rv8AAAAAAAACAAF0////ff///wp0mMP/AAAAAAAAAgABc////33///8KHpT3/wAAAAAAAAIAAXL///99////Ch6U9/8AAAAAAAACAAFx////ff///wolIe3/AAAAAAAAAgABcP///33///8KAAAA/wAAAAAAAAIAAW////99////Cv////8AAAAAAAACAAFu////ff///wpOQSL/AAAAAAAAAgABbf///33///8K3tzb/wAAAAAAAAIABCQAAACYAVN5c3RlbS5Db2xsZWN0aW9ucy5HZW5lcmljLkxpc3RgMVtbQXBsb3Jpcy5CYXNlLk9iamVjdHMuRGF0YU9iamVjdCwgQXBsb3Jpcy5CYXNlLCBWZXJzaW9uPTQuMi4wLjE5MTEsIEN1bHR1cmU9bmV1dHJhbCwgUHVibGljS2V5VG9rZW49MTZmYzEzYTIyNmMwZTk1MV1dAwAAAAZfaXRlbXMFX3NpemUIX3ZlcnNpb24EAAAhQXBsb3Jpcy5CYXNlLk9iamVjdHMuRGF0YU9iamVjdFtdAwAAAAgICZQAAAAMAAAADAAAAAQmAAAAlQFTeXN0ZW0uQ29sbGVjdGlvbnMuR2VuZXJpYy5MaXN0YDFbW0FwbG9yaXMuQmFzZS5VSS5WaXN1YWxPYmplY3QsIEFwbG9yaXMuQmFzZSwgVmVyc2lvbj00LjIuMC4xOTExLCBDdWx0dXJlPW5ldXRyYWwsIFB1YmxpY0tleVRva2VuPTE2ZmMxM2EyMjZjMGU5NTFdXQMAAAAGX2l0ZW1zBV9zaXplCF92ZXJzaW9uBAAAHkFwbG9yaXMuQmFzZS5VSS5WaXN1YWxPYmplY3RbXQMAAAAICAmVAAAAAQAAAAEAAAAFKQAAAJsBQXBsb3Jpcy5CYXNlLk9iamVjdHMuRGF0YU9iamVjdENvbGxlY3Rpb25gMVtbQXBsb3Jpcy5DaGFydC5WYWx1ZUxpbmUsIEFwbG9yaXMuQ2hhcnQsIFZlcnNpb249NC4yLjAuMTkxMS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ExLCBDdWx0dXJlPW5ldXRyYWwsIFB1YmxpY0tleVRva2VuPTE2ZmMxM2EyMjZjMGU5NTFdXQMAAACRAVN5c3RlbS5Db2xsZWN0aW9ucy5HZW5lcmljLkxpc3RgMVtbQXBsb3Jpcy5DaGFydC5WYWx1ZUxpbmUsIEFwbG9yaXMuQ2hhcnQsIFZlcnNpb249NC4yLjAuMTkxMSwgQ3VsdHVyZT1uZXV0cmFsLCBQdWJsaWNLZXlUb2tlbj0xNmZjMTNhMjI2YzBlOTUxXV2YAVN5c3RlbS5Db2xsZWN0aW9ucy5HZW5lcmljLkxpc3RgMVtbQXBsb3Jpcy5CYXNlLk9iamVjdHMuRGF0YU9iamVjdCwgQXBsb3Jpcy5CYXNlLCBWZXJzaW9uPTQuMi4wLjE5MTEsIEN1bHR1cmU9bmV1dHJhbCwgUHVibGljS2V5VG9rZW49MTZmYzEzYTIyNmMwZTk1MV1dJUFwbG9yaXMuQ2hhcnQuQ29sdW1uT3JpZW50ZWRDaGFydEF4aXMCAAAAIUFwbG9yaXMuQ2hhcnQuQ29sdW1uT3JpZW50ZWRDaGFydAIAAACVAVN5c3RlbS5Db2xsZWN0aW9ucy5HZW5lcmljLkxpc3RgMVtbQXBsb3Jpcy5CYXNlLlVJLlZpc3VhbE9iamVjdCwgQXBsb3Jpcy5CYXNlLCBWZXJzaW9uPTQuMi4wLjE5MTEsIEN1bHR1cmU9bmV1dHJhbCwgUHVibGljS2V5VG9rZW49MTZmYzEzYTIyNmMwZTk1MV1dAwAAAAoJlgAAAAmXAAAACQYAAAAJAQAAAAmaAAAABSoAAACbAUFwbG9yaXMuQmFzZS5PYmplY3RzLkRhdGFPYmplY3RDb2xsZWN0aW9uYDFbW0FwbG9yaXMuQ2hhcnQuQXhpc0JyZWFrLCBBcGxvcmlzLkNoYXJ0LCBWZXJzaW9uPTQuMi4wLjE5MTE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xMSwgQ3VsdHVyZT1uZXV0cmFsLCBQdWJsaWNLZXlUb2tlbj0xNmZjMTNhMjI2YzBlOTUxXV0DAAAAkQFTeXN0ZW0uQ29sbGVjdGlvbnMuR2VuZXJpYy5MaXN0YDFbW0FwbG9yaXMuQ2hhcnQuQXhpc0JyZWFrLCBBcGxvcmlzLkNoYXJ0LCBWZXJzaW9uPTQuMi4wLjE5MTEsIEN1bHR1cmU9bmV1dHJhbCwgUHVibGljS2V5VG9rZW49MTZmYzEzYTIyNmMwZTk1MV1dmAFTeXN0ZW0uQ29sbGVjdGlvbnMuR2VuZXJpYy5MaXN0YDFbW0FwbG9yaXMuQmFzZS5PYmplY3RzLkRhdGFPYmplY3QsIEFwbG9yaXMuQmFzZSwgVmVyc2lvbj00LjIuMC4xOTExLCBDdWx0dXJlPW5ldXRyYWwsIFB1YmxpY0tleVRva2VuPTE2ZmMxM2EyMjZjMGU5NTFdXSVBcGxvcmlzLkNoYXJ0LkNvbHVtbk9yaWVudGVkQ2hhcnRBeGlzAgAAACFBcGxvcmlzLkNoYXJ0LkNvbHVtbk9yaWVudGVkQ2hhcnQCAAAAlQFTeXN0ZW0uQ29sbGVjdGlvbnMuR2VuZXJpYy5MaXN0YDFbW0FwbG9yaXMuQmFzZS5VSS5WaXN1YWxPYmplY3QsIEFwbG9yaXMuQmFzZSwgVmVyc2lvbj00LjIuMC4xOTExLCBDdWx0dXJlPW5ldXRyYWwsIFB1YmxpY0tleVRva2VuPTE2ZmMxM2EyMjZjMGU5NTFdXQMAAAAKCZsAAAAJnAAAAAkGAAAACQEAAAAJnw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xAAAAAwAAAAlyAAAACXMAAAAJdAAAAAEAAAAACgoJdQ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cQAAAAMAAAAJcgAAAAlzAAAACXQAAAABAAAAAAoKCXUAAAAAAAAACgAAAAAAAAAABS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XEAAAADAAAACXIAAAAJcwAAAAl0AAAAAQAAAAAKBrQAAAABJQl1AAAAAQAAAAoAAAAAAAAAAAUuAAAAmgFBcGxvcmlzLkJhc2UuT2JqZWN0cy5EYXRhT2JqZWN0Q29sbGVjdGlvbmAxW1tBcGxvcmlzLkNoYXJ0LlRpY2tNYXJrLCBBcGxvcmlzLkNoYXJ0LCBWZXJzaW9uPTQuMi4wLjE5MTE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ExLCBDdWx0dXJlPW5ldXRyYWwsIFB1YmxpY0tleVRva2VuPTE2ZmMxM2EyMjZjMGU5NTFdXQMAAACQAVN5c3RlbS5Db2xsZWN0aW9ucy5HZW5lcmljLkxpc3RgMVtbQXBsb3Jpcy5DaGFydC5UaWNrTWFyaywgQXBsb3Jpcy5DaGFydCwgVmVyc2lvbj00LjIuMC4xOTExLCBDdWx0dXJlPW5ldXRyYWwsIFB1YmxpY0tleVRva2VuPTE2ZmMxM2EyMjZjMGU5NTFdXZgBU3lzdGVtLkNvbGxlY3Rpb25zLkdlbmVyaWMuTGlzdGAxW1tBcGxvcmlzLkJhc2UuT2JqZWN0cy5EYXRhT2JqZWN0LCBBcGxvcmlzLkJhc2UsIFZlcnNpb249NC4yLjAuMTkxMSwgQ3VsdHVyZT1uZXV0cmFsLCBQdWJsaWNLZXlUb2tlbj0xNmZjMTNhMjI2YzBlOTUxXV0lQXBsb3Jpcy5DaGFydC5Db2x1bW5PcmllbnRlZENoYXJ0QXhpcwIAAAAhQXBsb3Jpcy5DaGFydC5Db2x1bW5PcmllbnRlZENoYXJ0AgAAAJUBU3lzdGVtLkNvbGxlY3Rpb25zLkdlbmVyaWMuTGlzdGAxW1tBcGxvcmlzLkJhc2UuVUkuVmlzdWFsT2JqZWN0LCBBcGxvcmlzLkJhc2UsIFZlcnNpb249NC4yLjAuMTkxMSwgQ3VsdHVyZT1uZXV0cmFsLCBQdWJsaWNLZXlUb2tlbj0xNmZjMTNhMjI2YzBlOTUxXV0DAAAACgm2AAAACbcAAAAJBgAAAAkBAAAACboAAAAFMQAAABpBcGxvcmlzLkJhc2UuVUkuVmlzdWFsTGluZQ4AAAALbVN0YXJ0UG9pbnQJbUVuZFBvaW50C21MaW5lRm9ybWF0CW1QZXJzRGF0YR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CAAAAAAcCAAADABVTeXN0ZW0uRHJhd2luZy5Qb2ludEYEAAAAFVN5c3RlbS5EcmF3aW5nLlBvaW50RgQAAAAfQXBsb3Jpcy5CYXNlLk9iamVjdHMuTGluZUZvcm1hdAMAAAAICAEBCAEBD1N5c3RlbS5JbnRQdHJbXQEDAAAAAUX////g////vF4lQkTGlUMBRP///+D///9eVPVDRMaVQwm9AAAACb4AAAC4AQAA/////wEBCgm+AAAAAQAKAQcyAAAAAAEAAAAFAAAABBVTeXN0ZW0uRHJhd2luZy5Qb2ludEYEAAAAAUH////g////XtT2Q0TGlUMBQP///+D///+8XiVCRLqfQwE/////4P///xsAhUNEup9DAT7////g////XlT1Q0S6n0MBPf///+D///9e1PZDREaYQwczAAAAAAEAAAAFAAAABBdBcGxvcmlzLkJhc2UuQW5jaG9yTW9kZQMAAAAFPP///xdBcGxvcmlzLkJhc2UuQW5jaG9yTW9kZQEAAAAHdmFsdWVfXwAIAwAAAAQAAAABO////zz///8FAAAAATr///88////AwAAAAE5////PP///wYAAAABOP///zz///8FAAAADzQAAAAFAAAAAQAAAAABBTUAAAAVQXBsb3Jpcy5CYXNlLlVJLkxhYmVsHg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J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C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ExLCBDdWx0dXJlPW5ldXRyYWwsIFB1YmxpY0tleVRva2VuPTE2ZmMxM2EyMjZjMGU5NTFdXZYBU3lzdGVtLkNvbGxlY3Rpb25zLkdlbmVyaWMuTGlzdGAxW1tBcGxvcmlzLkJhc2UuT2JqZWN0cy5WYXJpYWJsZSwgQXBsb3Jpcy5CYXNlLCBWZXJzaW9uPTQuMi4wLjE5MTEsIEN1bHR1cmU9bmV1dHJhbCwgUHVibGljS2V5VG9rZW49MTZmYzEzYTIyNmMwZTk1MV1dCAgBAQgBAQ9TeXN0ZW0uSW50UHRyW10BAwAAAAE3////4P///17U9kNExpVDATb///88////BAAAAAAAAAAAAAAAAAnLAAAAAAAAAAnMAAAAAAAABTP///8qQXBsb3Jpcy5CYXNlLlVJLkxhYmVsK0xpbmVBbGlnbm1lbnRPcHRpb25zAQAAAAd2YWx1ZV9fAAgDAAAAAAAAAAEy////hf///wAAAAAAAAAAATH////s////AAAAAAAAAAAAAAAAAAAAAAAAAAAG0AAAAA1DYXRlZ29yeSBheGlzCgnRAAAACdAAAAAJ0wAAAOQCAAD/////AAEKCdMAAAABAAoBATYAAAAkAAAACdQAAAAGAAAABgAAAAE4AAAAJgAAAAnVAAAAAgAAAAIAAAABOwAAACkAAAAKCdYAAAAJ1wAAAAkHAAAACQEAAAAJ2gAAAAE8AAAAKgAAAAoJ2wAAAAncAAAACQcAAAAJAQAAAAnfAAAABT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XEAAAADAAAACXIAAAAJcwAAAAl0AAAAAQAAAAAKBuYAAAABJQl1AAAAAAAAAAoAAAAAAAAAAAU+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xAAAAAwAAAAlyAAAACXMAAAAJdAAAAAEAAAAACgnmAAAACXUAAAAAAAAACgAAAAAAAAAABT8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XEAAAADAAAACXIAAAAJcwAAAAl0AAAAAQAAAAAKCbQAAAAJdQAAAAEAAAAKAAAAAAAAAAABQAAAAC4AAAAKCfgAAAAJ+QAAAAkHAAAACQEAAAAJ/AAAAAFDAAAAMQAAAAED////4P///7xeJUJExpVDAQL////g////vF4lQgRWjUEJ/wAAAAkAAQAAuAEAAP////8BAQoJAAEAAAEACgEHRAAAAAABAAAABQAAAAQVU3lzdGVtLkRyYXdpbmcuUG9pbnRGBAAAAAH//v//4P///7xeJUIKbCNBAf7+///g////qPshQUTGlUMB/f7//+D///+o+yFBpJseQwH8/v//4P///6j7IUEEVo1BAfv+///g////qPshQQpsI0EHRQAAAAABAAAABQAAAAQXQXBsb3Jpcy5CYXNlLkFuY2hvck1vZGUDAAAAAfr+//88////AQAAAAH5/v//PP///wgAAAAB+P7//zz///8CAAAAAff+//88////BgAAAAH2/v//PP///wcAAAAPRgAAAAUAAAABAAAAAAEBRwAAADUAAAAB9f7//+D///+8XiVCCmwjQQH0/v//PP///wEAAAAAAAAAAAAAAAAJDQEAAAAAAAAJDgEAAAAAAAHx/v//M////wAAAAAB8P7//4X///8AAAAAAAAAAAHv/v//7P///wAAAAAAAAAAAAAAAAAAAAAAAAAABhIBAAAKVmFsdWUgYXhpcwoJEwEAAAkSAQAACRUBAADkAgAA/////wABCgkVAQAAAQAKAQFIAAAAJAAAAAkWAQAABgAAAAYAAAABSgAAACYAAAAJFwEAAAIAAAACAAAAB0sAAAAAAQAAAAAAAAAELkFwbG9yaXMuQ2hhcnQuQ29sdW1uT3JpZW50ZWRDaGFydCtVbnVzZWRTZXJpZXMCAAAABEwAAACXAVN5c3RlbS5Db2xsZWN0aW9ucy5HZW5lcmljLkxpc3RgMVtbQXBsb3Jpcy5DaGFydC5DaGFydERhdGFTZXJpZXMsIEFwbG9yaXMuQ2hhcnQsIFZlcnNpb249NC4yLjAuMTkxMSwgQ3VsdHVyZT1uZXV0cmFsLCBQdWJsaWNLZXlUb2tlbj0xNmZjMTNhMjI2YzBlOTUxXV0DAAAABl9pdGVtcwVfc2l6ZQhfdmVyc2lvbgQAAB9BcGxvcmlzLkNoYXJ0LkNoYXJ0RGF0YVNlcmllc1tdAgAAAAgICRgBAAABAAAACwAAAAFNAAAAJAAAAAkZAQAAAQAAAAUAAAABTwAAACYAAAAJGgEAAAAAAAAAAAAABFAAAACcAVN5c3RlbS5Db2xsZWN0aW9ucy5HZW5lcmljLkxpc3RgMVtbQXBsb3Jpcy5DaGFydC5Bbm5vdGF0aW9uRGF0YVNlcmllcywgQXBsb3Jpcy5DaGFydCwgVmVyc2lvbj00LjIuMC4xOTExLCBDdWx0dXJlPW5ldXRyYWwsIFB1YmxpY0tleVRva2VuPTE2ZmMxM2EyMjZjMGU5NTFdXQMAAAAGX2l0ZW1zBV9zaXplCF92ZXJzaW9uBAAAJEFwbG9yaXMuQ2hhcnQuQW5ub3RhdGlvbkRhdGFTZXJpZXNbXQIAAAAICAkbAQAAAAAAAAAAAAABUQAAACQAAAAJHAEAAAAAAAAAAAAAAVMAAAAmAAAACRoBAAAAAAAAAAAAAARUAAAAlwFTeXN0ZW0uQ29sbGVjdGlvbnMuR2VuZXJpYy5MaXN0YDFbW0FwbG9yaXMuQ2hhcnQuQW5ub3RhdGlvbkdyb3VwLCBBcGxvcmlzLkNoYXJ0LCBWZXJzaW9uPTQuMi4wLjE5MTEsIEN1bHR1cmU9bmV1dHJhbCwgUHVibGljS2V5VG9rZW49MTZmYzEzYTIyNmMwZTk1MV1dAwAAAAZfaXRlbXMFX3NpemUIX3ZlcnNpb24EAAAfQXBsb3Jpcy5DaGFydC5Bbm5vdGF0aW9uR3JvdXBbXQIAAAAICAkeAQAAAAAAAAAAAAABVQAAACQAAAAJHAEAAAAAAAAAAAAAAVcAAAAmAAAACRoBAAAAAAAAAAAAAARYAAAAlgFTeXN0ZW0uQ29sbGVjdGlvbnMuR2VuZXJpYy5MaXN0YDFbW0FwbG9yaXMuQ2hhcnQuQ2hhcnREYXRhR3JvdXAsIEFwbG9yaXMuQ2hhcnQsIFZlcnNpb249NC4yLjAuMTkxMSwgQ3VsdHVyZT1uZXV0cmFsLCBQdWJsaWNLZXlUb2tlbj0xNmZjMTNhMjI2YzBlOTUxXV0DAAAABl9pdGVtcwVfc2l6ZQhfdmVyc2lvbgQAAB5BcGxvcmlzLkNoYXJ0LkNoYXJ0RGF0YUdyb3VwW10CAAAACAgJIQEAAAIAAAAGAAAAAVkAAAAkAAAACSIBAAACAAAABAAAAAFbAAAAJgAAAAkaAQAAAAAAAAAAAAAEXAAAAJABU3lzdGVtLkNvbGxlY3Rpb25zLkdlbmVyaWMuTGlzdGAxW1tBcGxvcmlzLkNoYXJ0LkRlbHRhQmFyLCBBcGxvcmlzLkNoYXJ0LCBWZXJzaW9uPTQuMi4wLjE5MTEsIEN1bHR1cmU9bmV1dHJhbCwgUHVibGljS2V5VG9rZW49MTZmYzEzYTIyNmMwZTk1MV1dAwAAAAZfaXRlbXMFX3NpemUIX3ZlcnNpb24EAAAYQXBsb3Jpcy5DaGFydC5EZWx0YUJhcltdAgAAAAgICSQBAAAAAAAAAAAAAAFdAAAAJAAAAAkcAQAAAAAAAAAAAAABXwAAACYAAAAJGgEAAAAAAAAAAAAABGAAAACTAVN5c3RlbS5Db2xsZWN0aW9ucy5HZW5lcmljLkxpc3RgMVtbQXBsb3Jpcy5DaGFydC5EZWx0YUJyaWRnZSwgQXBsb3Jpcy5DaGFydCwgVmVyc2lvbj00LjIuMC4xOTExLCBDdWx0dXJlPW5ldXRyYWwsIFB1YmxpY0tleVRva2VuPTE2ZmMxM2EyMjZjMGU5NTFdXQMAAAAGX2l0ZW1zBV9zaXplCF92ZXJzaW9uBAAAG0FwbG9yaXMuQ2hhcnQuRGVsdGFCcmlkZ2VbXQIAAAAICAknAQAAAAAAAAAAAAABYQAAACQAAAAJHAEAAAAAAAAAAAAAAWMAAAAmAAAACRoBAAAAAAAAAAAAAARkAAAAkwFTeXN0ZW0uQ29sbGVjdGlvbnMuR2VuZXJpYy5MaXN0YDFbW0FwbG9yaXMuQ2hhcnQuR3Jvd3RoQXJyb3csIEFwbG9yaXMuQ2hhcnQsIFZlcnNpb249NC4yLjAuMTkxMSwgQ3VsdHVyZT1uZXV0cmFsLCBQdWJsaWNLZXlUb2tlbj0xNmZjMTNhMjI2YzBlOTUxXV0DAAAABl9pdGVtcwVfc2l6ZQhfdmVyc2lvbgQAABtBcGxvcmlzLkNoYXJ0Lkdyb3d0aEFycm93W10CAAAACAgJKgEAAAEAAAADAAAAAWUAAAAkAAAACSsBAAABAAAAAwAAAAFnAAAAJgAAAAkaAQAAAAAAAAAAAAAEaAAAAJoBU3lzdGVtLkNvbGxlY3Rpb25zLkdlbmVyaWMuTGlzdGAxW1tBcGxvcmlzLkNoYXJ0LldhdGVyZmFsbENvbm5lY3RvciwgQXBsb3Jpcy5DaGFydCwgVmVyc2lvbj00LjIuMC4xOTExLCBDdWx0dXJlPW5ldXRyYWwsIFB1YmxpY0tleVRva2VuPTE2ZmMxM2EyMjZjMGU5NTFdXQMAAAAGX2l0ZW1zBV9zaXplCF92ZXJzaW9uBAAAIkFwbG9yaXMuQ2hhcnQuV2F0ZXJmYWxsQ29ubmVjdG9yW10CAAAACAgJLQEAAAAAAAAAAAAAAWkAAAAkAAAACRwBAAAAAAAAAAAAAAFrAAAAJgAAAAkaAQAAAAAAAAAAAAAEbAAAAJgBU3lzdGVtLkNvbGxlY3Rpb25zLkdlbmVyaWMuTGlzdGAxW1tBcGxvcmlzLkNoYXJ0LkVsZW1lbnRDb25uZWN0b3IsIEFwbG9yaXMuQ2hhcnQsIFZlcnNpb249NC4yLjAuMTkxMSwgQ3VsdHVyZT1uZXV0cmFsLCBQdWJsaWNLZXlUb2tlbj0xNmZjMTNhMjI2YzBlOTUxXV0DAAAABl9pdGVtcwVfc2l6ZQhfdmVyc2lvbgQAACBBcGxvcmlzLkNoYXJ0LkVsZW1lbnRDb25uZWN0b3JbXQIAAAAICAkwAQAAAAAAAAAAAAABbQAAACQAAAAJHAEAAAAAAAAAAAAAAW8AAAAmAAAACRoBAAAAAAAAAAAAAAV5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TMBAAAJNAEAAAEAAAD+////AQAAAAEAAAABAAAAAQAAAAEAAAABAAAAAAABBXo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NQEAAAk2AQAAAQAAAAAAAAAAAAAAAAAAAAABBX4AAAAfQXBsb3Jpcy5CYXNlLk9iamVjdHMuUGVyc0lkRGF0YQIAAAADbUlkC21DdXN0b21EYXRhBwIIAwAAAAk3AQAACTgBAAAFgQAAABpBcGxvcmlzLkJhc2UuT2JqZWN0cy5Db2xvcgcAAAASRGF0YU9iamVjdCttUGFyZW50FURhdGFPYmplY3QrbUNvbnRhaW5lcgVtVHlwZQRtUkdCEG1UaGVtZUNvbG9ySW5kZXgMbUF1dG9VcGRhdGVkCW1Nb2RpZmllZAICAAAAAAAICAgBAQMAAAAKCgAAAAAAAAAADQAAAAABAYIAAACBAAAACgoBAAAAAAAAAP////8AAQeUAAAAAAEAAAAQAAAABB9BcGxvcmlzLkJhc2UuT2JqZWN0cy5EYXRhT2JqZWN0AwAAAAkJAAAACQoAAAAJCwAAAAkMAAAACRAAAAAJEQAAAAkNAAAACQ4AAAAJDwAAAAkHAAAACQYAAAAJFwAAAA0EB5UAAAAAAQAAAAQAAAAEHEFwbG9yaXMuQmFzZS5VSS5WaXN1YWxPYmplY3QDAAAACRsAAAANAwSWAAAAkQFTeXN0ZW0uQ29sbGVjdGlvbnMuR2VuZXJpYy5MaXN0YDFbW0FwbG9yaXMuQ2hhcnQuVmFsdWVMaW5lLCBBcGxvcmlzLkNoYXJ0LCBWZXJzaW9uPTQuMi4wLjE5MTEsIEN1bHR1cmU9bmV1dHJhbCwgUHVibGljS2V5VG9rZW49MTZmYzEzYTIyNmMwZTk1MV1dAwAAAAZfaXRlbXMFX3NpemUIX3ZlcnNpb24EAAAZQXBsb3Jpcy5DaGFydC5WYWx1ZUxpbmVbXQIAAAAICAlGAQAAAAAAAAAAAAABlwAAACQAAAAJHAEAAAAAAAAAAAAAAZoAAAAmAAAACRoBAAAAAAAAAAAAAASbAAAAkQFTeXN0ZW0uQ29sbGVjdGlvbnMuR2VuZXJpYy5MaXN0YDFbW0FwbG9yaXMuQ2hhcnQuQXhpc0JyZWFrLCBBcGxvcmlzLkNoYXJ0LCBWZXJzaW9uPTQuMi4wLjE5MTEsIEN1bHR1cmU9bmV1dHJhbCwgUHVibGljS2V5VG9rZW49MTZmYzEzYTIyNmMwZTk1MV1dAwAAAAZfaXRlbXMFX3NpemUIX3ZlcnNpb24EAAAZQXBsb3Jpcy5DaGFydC5BeGlzQnJlYWtbXQIAAAAICAlJAQAAAAAAAAAAAAABnAAAACQAAAAJHAEAAAAAAAAAAAAAAZ8AAAAmAAAACRoBAAAAAAAAAAAAAAS2AAAAkAFTeXN0ZW0uQ29sbGVjdGlvbnMuR2VuZXJpYy5MaXN0YDFbW0FwbG9yaXMuQ2hhcnQuVGlja01hcmssIEFwbG9yaXMuQ2hhcnQsIFZlcnNpb249NC4yLjAuMTkxMSwgQ3VsdHVyZT1uZXV0cmFsLCBQdWJsaWNLZXlUb2tlbj0xNmZjMTNhMjI2YzBlOTUxXV0DAAAABl9pdGVtcwVfc2l6ZQhfdmVyc2lvbgQAABhBcGxvcmlzLkNoYXJ0LlRpY2tNYXJrW10CAAAACAgJTAEAAAAAAAAAAAAAAbcAAAAkAAAACRwBAAAAAAAAAAAAAAG6AAAAJgAAAAkaAQAAAAAAAAAAAAABvQAAAHkAAAAKCgAAAEA/CU8BAAAJUAEAAAEAAAD+////AAAAAAEAAAAAAAAAAAAAAAEAAAAAAAAAAAAAAb4AAAB+AAAACVEBAAAJUgEAAAXL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fwAAAAmAAAAACVYBAAABAAlXAQAAAcwAAACBAAAACgoBAAAAAAAAAP////8AAQTRAAAAlgFTeXN0ZW0uQ29sbGVjdGlvbnMuR2VuZXJpYy5MaXN0YDFbW0FwbG9yaXMuQmFzZS5PYmplY3RzLlZhcmlhYmxlLCBBcGxvcmlzLkJhc2UsIFZlcnNpb249NC4yLjAuMTkxMSwgQ3VsdHVyZT1uZXV0cmFsLCBQdWJsaWNLZXlUb2tlbj0xNmZjMTNhMjI2YzBlOTUxXV0DAAAABl9pdGVtcwVfc2l6ZQhfdmVyc2lvbgQAAB9BcGxvcmlzLkJhc2UuT2JqZWN0cy5WYXJpYWJsZVtdAwAAAAgICVgBAAAAAAAAAAAAAAHTAAAAfgAAAAlZAQAACVoBAAAH1AAAAAABAAAACAAAAAQfQXBsb3Jpcy5CYXNlLk9iamVjdHMuRGF0YU9iamVjdAMAAAAJKwAAAAksAAAACS0AAAAJLgAAAAkpAAAACSoAAAANAgfVAAAAAAEAAAAEAAAABBxBcGxvcmlzLkJhc2UuVUkuVmlzdWFsT2JqZWN0AwAAAAkxAAAACTUAAAANAgHWAAAAlgAAAAlGAQAAAAAAAAAAAAAB1wAAACQAAAAJHAEAAAAAAAAAAAAAAdoAAAAmAAAACRoBAAAAAAAAAAAAAAHbAAAAmwAAAAlJAQAAAAAAAAAAAAAB3AAAACQAAAAJHAEAAAAAAAAAAAAAAd8AAAAmAAAACRoBAAAAAAAAAAAAAAH4AAAAtgAAAAlpAQAABwAAACcAAAAB+QAAACQAAAAJagEAAAcAAAAnAAAAAfwAAAAmAAAACRoBAAAAAAAAAAAAAAH/AAAAeQAAAAoKAAAAQD8JbAEAAAltAQAAAQAAAP7///8AAAAAAQAAAAAAAAAAAAAAAQAAAAAAAAAAAAABAAEAAH4AAAAJbgEAAAlvAQAABQ0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/AAAACYAAAAAJcwEAAAEACXQBAAABDgEAAIEAAAAKCgEAAAAAAAAA/////wABARMBAADRAAAACVgBAAAAAAAAAAAAAAEVAQAAfgAAAAl2AQAACXcBAAAHFgEAAAABAAAACAAAAAQfQXBsb3Jpcy5CYXNlLk9iamVjdHMuRGF0YU9iamVjdAMAAAAJPQAAAAk+AAAACT8AAAAJQAAAAAk7AAAACTwAAAANAgcXAQAAAAEAAAAEAAAABBxBcGxvcmlzLkJhc2UuVUkuVmlzdWFsT2JqZWN0AwAAAAlDAAAACUcAAAANAgcYAQAAAAEAAAAEAAAABB1BcGxvcmlzLkNoYXJ0LkNoYXJ0RGF0YVNlcmllcwIAAAAJgAEAAA0DBxkBAAAAAQAAAAQAAAAEH0FwbG9yaXMuQmFzZS5PYmplY3RzLkRhdGFPYmplY3QDAAAACYABAAANAwcaAQAAAAEAAAAAAAAABBxBcGxvcmlzLkJhc2UuVUkuVmlzdWFsT2JqZWN0AwAAAAcbAQAAAAEAAAAAAAAABCJBcGxvcmlzLkNoYXJ0LkFubm90YXRpb25EYXRhU2VyaWVzAgAAAAccAQAAAAEAAAAAAAAABB9BcGxvcmlzLkJhc2UuT2JqZWN0cy5EYXRhT2JqZWN0AwAAAAceAQAAAAEAAAAAAAAABB1BcGxvcmlzLkNoYXJ0LkFubm90YXRpb25Hcm91cAIAAAAHIQEAAAABAAAABAAAAAQcQXBsb3Jpcy5DaGFydC5DaGFydERhdGFHcm91cAIAAAAJgQEAAAmCAQAADQIHIgEAAAABAAAABAAAAAQfQXBsb3Jpcy5CYXNlLk9iamVjdHMuRGF0YU9iamVjdAMAAAAJggEAAAmBAQAADQIHJAEAAAABAAAAAAAAAAQWQXBsb3Jpcy5DaGFydC5EZWx0YUJhcgIAAAAHJwEAAAABAAAAAAAAAAQZQXBsb3Jpcy5DaGFydC5EZWx0YUJyaWRnZQIAAAAHKgEAAAABAAAABAAAAAQZQXBsb3Jpcy5DaGFydC5Hcm93dGhBcnJvdwIAAAAJhAEAAA0DBysBAAAAAQAAAAQAAAAEH0FwbG9yaXMuQmFzZS5PYmplY3RzLkRhdGFPYmplY3QDAAAACYQBAAANAwctAQAAAAEAAAAAAAAABCBBcGxvcmlzLkNoYXJ0LldhdGVyZmFsbENvbm5lY3RvcgIAAAAHMAEAAAABAAAAAAAAAAQeQXBsb3Jpcy5DaGFydC5FbGVtZW50Q29ubmVjdG9yAgAAAAEzAQAAgQAAAAoKAAAAAAAAAAANAAAAAAEBNAEAAIEAAAAKCgEAAAAAAAAA/////wABATUBAACBAAAACgoBAAAA////AP////8AAQE2AQAAgQAAAAoKAQAAAAAAAAD/////AAEPNwEAAAEAAAAIXwAAAAc4AQAAAAEAAAABAAAAAw1TeXN0ZW0uSW50UHRyBHv+//8NU3lzdGVtLkludFB0cgEAAAAFdmFsdWUACQAAAAAAAAAAB0YBAAAAAQAAAAAAAAAEF0FwbG9yaXMuQ2hhcnQuVmFsdWVMaW5lAgAAAAdJAQAAAAEAAAAAAAAABBdBcGxvcmlzLkNoYXJ0LkF4aXNCcmVhawIAAAAHTAEAAAABAAAAAAAAAAQWQXBsb3Jpcy5DaGFydC5UaWNrTWFyawIAAAAFTwEAABpBcGxvcmlzLkJhc2UuT2JqZWN0cy5Db2xvcgcAAAASRGF0YU9iamVjdCttUGFyZW50FURhdGFPYmplY3QrbUNvbnRhaW5lcgVtVHlwZQRtUkdCEG1UaGVtZUNvbG9ySW5kZXgMbUF1dG9VcGRhdGVkCW1Nb2RpZmllZAQCAAAAAAAfQXBsb3Jpcy5CYXNlLk9iamVjdHMuTGluZUZvcm1hdAMAAAAICAgBAQMAAAAJvQAAAAoAAAAAAAAAAA0AAAAAAAVQAQAAGkFwbG9yaXMuQmFzZS5PYmplY3RzLkNvbG9yBwAAABJEYXRhT2JqZWN0K21QYXJlbnQVRGF0YU9iamVjdCttQ29udGFpbmVyBW1UeXBlBG1SR0IQbVRoZW1lQ29sb3JJbmRleAxtQXV0b1VwZGF0ZWQJbU1vZGlmaWVkBAIAAAAAAB9BcGxvcmlzLkJhc2UuT2JqZWN0cy5MaW5lRm9ybWF0AwAAAAgICAEBAwAAAAm9AAAACgEAAAAAAAAA/////wABD1EBAAABAAAACFYAAAAHUgEAAAABAAAAAQAAAAMNU3lzdGVtLkludFB0cgF5/v//e/7//wAAAAAAAAAAAVYBAACBAAAACgoAAAAAAAAAAA0AAAAAAQFXAQAAgQAAAAoKAQAAAAAAAAD/////AAEHWAEAAAABAAAAAAAAAAQdQXBsb3Jpcy5CYXNlLk9iamVjdHMuVmFyaWFibGUDAAAAD1kBAAABAAAACGEAAAAHWgEAAAABAAAAAQAAAAMNU3lzdGVtLkludFB0cgF4/v//e/7//wAAAAAAAAAAB2kBAAAAAQAAABAAAAAEFkFwbG9yaXMuQ2hhcnQuVGlja01hcmsCAAAACYkBAAAJigEAAAmLAQAACYwBAAAJjQEAAAmOAQAACY8BAAANCQdqAQAAAAEAAAAQAAAABB9BcGxvcmlzLkJhc2UuT2JqZWN0cy5EYXRhT2JqZWN0AwAAAAmJAQAACYoBAAAJiwEAAAmMAQAACY0BAAAJjgEAAAmPAQAADQkFbAEAABpBcGxvcmlzLkJhc2UuT2JqZWN0cy5Db2xvcgcAAAASRGF0YU9iamVjdCttUGFyZW50FURhdGFPYmplY3QrbUNvbnRhaW5lcgVtVHlwZQRtUkdCEG1UaGVtZUNvbG9ySW5kZXgMbUF1dG9VcGRhdGVkCW1Nb2RpZmllZAQCAAAAAAAfQXBsb3Jpcy5CYXNlLk9iamVjdHMuTGluZUZvcm1hdAMAAAAICAgBAQMAAAAJ/wAAAAoAAAAAAAAAAA0AAAAAAAVtAQAAGkFwbG9yaXMuQmFzZS5PYmplY3RzLkNvbG9yBwAAABJEYXRhT2JqZWN0K21QYXJlbnQVRGF0YU9iamVjdCttQ29udGFpbmVyBW1UeXBlBG1SR0IQbVRoZW1lQ29sb3JJbmRleAxtQXV0b1VwZGF0ZWQJbU1vZGlmaWVkBAIAAAAAAB9BcGxvcmlzLkJhc2UuT2JqZWN0cy5MaW5lRm9ybWF0AwAAAAgICAEBAwAAAAn/AAAACgEAAAAAAAAA/////wABD24BAAABAAAACFUAAAAHbwEAAAABAAAAAQAAAAMNU3lzdGVtLkludFB0cgFo/v//e/7//wAAAAAAAAAAAXMBAACBAAAACgoAAAAAAAAAAA0AAAAAAQF0AQAAgQAAAAoKAQAAAAAAAAD/////AAEPdgEAAAEAAAAIYAAAAAd3AQAAAAEAAAABAAAAAw1TeXN0ZW0uSW50UHRyAWf+//97/v//AAAAAAAAAAAFgA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Ex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TEsIEN1bHR1cmU9bmV1dHJhbCwgUHVibGljS2V5VG9rZW49MTZmYzEzYTIyNmMwZTk1MV1dIUFwbG9yaXMuQ2hhcnQuQ29sdW1uT3JpZW50ZWRDaGFydAIAAAAhQXBsb3Jpcy5DaGFydC5Db2x1bW5PcmllbnRlZENoYXJ0AgAAAJUBU3lzdGVtLkNvbGxlY3Rpb25zLkdlbmVyaWMuTGlzdGAxW1tBcGxvcmlzLkJhc2UuVUkuVmlzdWFsT2JqZWN0LCBBcGxvcmlzLkJhc2UsIFZlcnNpb249NC4yLjAuMTkxMSwgQ3VsdHVyZT1uZXV0cmFsLCBQdWJsaWNLZXlUb2tlbj0xNmZjMTNhMjI2YzBlOTUxXV0CAAAACQEAAAABZf7//+3///8AAAAAAgAAAP////8JBwAAAAmdAQAABp4BAAAFQWdyZWUKCgAAAAAAAAAAAAAAAAoKAAmfAQAACaABAAAJoQEAAAAAAAAAAAAAAAAAAAAAAAAAAAmiAQAACQEAAAAJAQAAAAmkAQAABYE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xMSwgQ3VsdHVyZT1uZXV0cmFsLCBQdWJsaWNLZXlUb2tlbj0xNmZjMTNhMjI2YzBlOTUxXV0hQXBsb3Jpcy5DaGFydC5Db2x1bW5PcmllbnRlZENoYXJ0AgAAACFBcGxvcmlzLkNoYXJ0LkNvbHVtbk9yaWVudGVkQ2hhcnQCAAAAlQFTeXN0ZW0uQ29sbGVjdGlvbnMuR2VuZXJpYy5MaXN0YDFbW0FwbG9yaXMuQmFzZS5VSS5WaXN1YWxPYmplY3QsIEFwbG9yaXMuQmFzZSwgVmVyc2lvbj00LjIuMC4xOTExLCBDdWx0dXJlPW5ldXRyYWwsIFB1YmxpY0tleVRva2VuPTE2ZmMxM2EyMjZjMGU5NTFdXQIAAAAJAQAAAAamAQAABDIwMTUABVn+//8eQXBsb3Jpcy5DaGFydC5DaGFydEdyb3VwQW5jaG9yAQAAAAd2YWx1ZV9fAAgCAAAAAAAAAAoAAAAAAQAAAAEAAAAJqAEAAAmpAQAACaoBAAAKCgmrAQAACQEAAAAJAQAAAAmtAQAAAYIBAACBAQAACQEAAAAGrwEAAAQyMDE3AAFQ/v//Wf7//wAAAAAKAAAAAAEAAAABAAAACbEBAAAJsgEAAAmzAQAACgoJtAEAAAkBAAAACQEAAAAJtgEAAAWEAQAAGUFwbG9yaXMuQ2hhcnQuR3Jvd3RoQXJyb3cRAAAADW1EYXRhRWxlbWVudDENbURhdGFFbGVtZW50MgZtQ2hhcnQObVBvc2l0aW9uSW5kZXgPbVBvc2l0aW9uT2Zmc2V0Em1NYWduaXR1ZGVQcm92aWRlchBtTnVtYmVyRm9ybWF0QWJzFG1OdW1iZXJGb3JtYXRQZXJjZW50BW1MaW5lBm1MYWJlbA9tTGFiZWxQb3NpdGlvbnMRbUxhYmVsQW5jaG9yTW9kZXMObUxhYmVsUG9zaXRpb24YRGF0YU9iamVjdCttQ2hpbGRPYmplY3RzEkRhdGFPYmplY3QrbVBhcmVudBVEYXRhT2JqZWN0K21Db250YWluZXIZRGF0YU9iamVjdCttVmlzdWFsT2JqZWN0cwQEBAAABAQEBAQEBAADBAQDHkFwbG9yaXMuQ2hhcnQuQ2hhcnREYXRhRWxlbWVudAIAAAAeQXBsb3Jpcy5DaGFydC5DaGFydERhdGFFbGVtZW50AgAAACFBcGxvcmlzLkNoYXJ0LkNvbHVtbk9yaWVudGVkQ2hhcnQCAAAACAsnQXBsb3Jpcy5DaGFydC5TdGFuZGFyZE1hZ25pdHVkZVByb3ZpZGVyAgAAABpBcGxvcmlzLkNoYXJ0Lk51bWJlckZvcm1hdAIAAAAaQXBsb3Jpcy5DaGFydC5OdW1iZXJGb3JtYXQCAAAAGkFwbG9yaXMuQmFzZS5VSS5WaXN1YWxMaW5lAwAAABtBcGxvcmlzLkJhc2UuVUkuRnJhbWVkTGFiZWwDAAAAF1N5c3RlbS5EcmF3aW5nLlBvaW50RltdBAAAABlBcGxvcmlzLkJhc2UuQW5jaG9yTW9kZVtdAwAAAAiYAVN5c3RlbS5Db2xsZWN0aW9ucy5HZW5lcmljLkxpc3RgMVtbQXBsb3Jpcy5CYXNlLk9iamVjdHMuRGF0YU9iamVjdCwgQXBsb3Jpcy5CYXNlLCBWZXJzaW9uPTQuMi4wLjE5MTEsIEN1bHR1cmU9bmV1dHJhbCwgUHVibGljS2V5VG9rZW49MTZmYzEzYTIyNmMwZTk1MV1dIUFwbG9yaXMuQ2hhcnQuQ29sdW1uT3JpZW50ZWRDaGFydAIAAAAhQXBsb3Jpcy5DaGFydC5Db2x1bW5PcmllbnRlZENoYXJ0AgAAAJUBU3lzdGVtLkNvbGxlY3Rpb25zLkdlbmVyaWMuTGlzdGAxW1tBcGxvcmlzLkJhc2UuVUkuVmlzdWFsT2JqZWN0LCBBcGxvcmlzLkJhc2UsIFZlcnNpb249NC4yLjAuMTkxMSwgQ3VsdHVyZT1uZXV0cmFsLCBQdWJsaWNLZXlUb2tlbj0xNmZjMTNhMjI2YzBlOTUxXV0CAAAACbcBAAAJuAEAAAkBAAAAAAAAAOzEFkIJugEAAAm7AQAACbwBAAAJvQEAAAm+AQAACb8BAAAJwAEAAAAAAAAJwQEAAAkBAAAACQEAAAAJwwEAAAWJ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JUFwbG9yaXMuQ2hhcnQuQ29sdW1uT3JpZW50ZWRDaGFydEF4aXMCAAAAAQYVU3lzdGVtLkRyYXdpbmcuUG9pbnRGBAAAABVTeXN0ZW0uRHJhd2luZy5Qb2ludEYEAAAAAZgBU3lzdGVtLkNvbGxlY3Rpb25zLkdlbmVyaWMuTGlzdGAxW1tBcGxvcmlzLkJhc2UuT2JqZWN0cy5EYXRhT2JqZWN0LCBBcGxvcmlzLkJhc2UsIFZlcnNpb249NC4yLjAuMTkxMSwgQ3VsdHVyZT1uZXV0cmFsLCBQdWJsaWNLZXlUb2tlbj0xNmZjMTNhMjI2YzBlOTUxXV0lQXBsb3Jpcy5DaGFydC5Db2x1bW5PcmllbnRlZENoYXJ0QXhpcwIAAAAhQXBsb3Jpcy5DaGFydC5Db2x1bW5PcmllbnRlZENoYXJ0AgAAAJUBU3lzdGVtLkNvbGxlY3Rpb25zLkdlbmVyaWMuTGlzdGAxW1tBcGxvcmlzLkJhc2UuVUkuVmlzdWFsT2JqZWN0LCBBcGxvcmlzLkJhc2UsIFZlcnNpb249NC4yLjAuMTkxMSwgQ3VsdHVyZT1uZXV0cmFsLCBQdWJsaWNLZXlUb2tlbj0xNmZjMTNhMjI2YzBlOTUxXV0CAAAACcQBAAAKCcUBAAAJBwAAAAEAAAAAAAAAAAE5/v//4P///7xeJUJExpVDATj+///g////vF4VQkTGlUMACckBAAAJBwAAAAkBAAAACcwBAAABigEAAIkBAAAJzQEAAAoJzgEAAAkHAAAAAZqZmZmZmbk/ATD+///g////vF4lQpGRfEMBL/7//+D///+8XhVCkZF8QwAJ0gEAAAkHAAAACQEAAAAJ1QEAAAGLAQAAiQEAAAnWAQAACgnXAQAACQcAAAABmpmZmZmZyT8BJ/7//+D///+8XiVCm5ZNQwEm/v//4P///7xeFUKblk1DAAnbAQAACQcAAAAJAQAAAAneAQAAAYwBAACJAQAACd8BAAAKCeABAAAJBwAAAAEzMzMzMzPTPwEe/v//4P///7xeJUKkmx5DAR3+///g////vF4VQqSbHkMACeQBAAAJBwAAAAkBAAAACecBAAABjQEAAIkBAAAJ6AEAAAoJ6QEAAAkHAAAAAZqZmZmZmdk/ARX+///g////vF4lQltB30IBFP7//+D///+8XhVCW0HfQgAJ7QEAAAkHAAAACQEAAAAJ8AEAAAGOAQAAiQEAAAnxAQAACgnyAQAACQcAAAABAAAAAAAA4D8BDP7//+D///+8XiVCbkuBQgEL/v//4P///7xeFUJuS4FCAAn2AQAACQcAAAAJAQAAAAn5AQAAAY8BAACJAQAACfoBAAAKCfsBAAAJBwAAAAEzMzMzMzPjPwED/v//4P///7xeJUIEVo1BAQL+///g////vF4VQgRWjUEACf8BAAAJBwAAAAkBAAAACQICAAAFnQEAAKIBQXBsb3Jpcy5CYXNlLk9iamVjdHMuRGF0YU9iamVjdENvbGxlY3Rpb25gMVtbQXBsb3Jpcy5DaGFydC5DaGFydERhdGFFbGVtZW50LCBBcGxvcmlzLkNoYXJ0LCBWZXJzaW9uPTQuMi4wLjE5MTE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i4wLjE5MTEsIEN1bHR1cmU9bmV1dHJhbCwgUHVibGljS2V5VG9rZW49MTZmYzEzYTIyNmMwZTk1MV1dAwAAAJgBU3lzdGVtLkNvbGxlY3Rpb25zLkdlbmVyaWMuTGlzdGAxW1tBcGxvcmlzLkNoYXJ0LkNoYXJ0RGF0YUVsZW1lbnQsIEFwbG9yaXMuQ2hhcnQsIFZlcnNpb249NC4yLjAuMTkxMSwgQ3VsdHVyZT1uZXV0cmFsLCBQdWJsaWNLZXlUb2tlbj0xNmZjMTNhMjI2YzBlOTUxXV2YAVN5c3RlbS5Db2xsZWN0aW9ucy5HZW5lcmljLkxpc3RgMVtbQXBsb3Jpcy5CYXNlLk9iamVjdHMuRGF0YU9iamVjdCwgQXBsb3Jpcy5CYXNlLCBWZXJzaW9uPTQuMi4wLjE5MTEsIEN1bHR1cmU9bmV1dHJhbCwgUHVibGljS2V5VG9rZW49MTZmYzEzYTIyNmMwZTk1MV1dHUFwbG9yaXMuQ2hhcnQuQ2hhcnREYXRhU2VyaWVzAgAAACFBcGxvcmlzLkNoYXJ0LkNvbHVtbk9yaWVudGVkQ2hhcnQCAAAAlQFTeXN0ZW0uQ29sbGVjdGlvbnMuR2VuZXJpYy5MaXN0YDFbW0FwbG9yaXMuQmFzZS5VSS5WaXN1YWxPYmplY3QsIEFwbG9yaXMuQmFzZSwgVmVyc2lvbj00LjIuMC4xOTExLCBDdWx0dXJlPW5ldXRyYWwsIFB1YmxpY0tleVRva2VuPTE2ZmMxM2EyMjZjMGU5NTFdXQMAAAAKCQMCAAAJBAIAAAmAAQAACQEAAAAJBwIAAAWfAQAAHEFwbG9yaXMuQ2hhcnQuQ29ubmVjdGVkTGFiZWwnAAAADm1Db25uZWN0b3JMaW5lEG1aT3JkZXJDb25uZWN0b3IObUNvbm5lY3Rvck1vZGUZbUFuZ2xlZENvbm5lY3RvckRpcmVjdGlvbhBtQ29ubmVjdG9yVGFyZ2V0GW1Db25uZWN0b3JUYXJnZXRBcmVhU2hhcGUabUNvbm5lY3RvckRpc3BsYXlUaHJlc2hvbGQTbUNvbm5lY3RBbmNob3JQb2ludAltUGVyc0RhdGE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D0xhYmVsK21QZXJzRGF0YR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IEBAAAAAQABAAAAAQEBAABAwMBAg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xMSwgQ3VsdHVyZT1uZXV0cmFsLCBQdWJsaWNLZXlUb2tlbj0xNmZjMTNhMjI2YzBlOTUxXV2WAVN5c3RlbS5Db2xsZWN0aW9ucy5HZW5lcmljLkxpc3RgMVtbQXBsb3Jpcy5CYXNlLk9iamVjdHMuVmFyaWFibGUsIEFwbG9yaXMuQmFzZSwgVmVyc2lvbj00LjIuMC4xOTExLCBDdWx0dXJlPW5ldXRyYWwsIFB1YmxpY0tleVRva2VuPTE2ZmMxM2EyMjZjMGU5NTFdXQgIAQEIAQEPU3lzdGVtLkludFB0cltdAQIAAAAKWAIAAAX4/f//K0FwbG9yaXMuQ2hhcnQuQ29ubmVjdGVkTGFiZWwrZUNvbm5lY3Rvck1vZGUBAAAAB3ZhbHVlX18ACAIAAAABAAAABff9//82QXBsb3Jpcy5DaGFydC5Db25uZWN0ZWRMYWJlbCtlQW5nbGVkQ29ubmVjdG9yRGlyZWN0aW9uAQAAAAd2YWx1ZV9fAAgCAAAAAAAAAAH2/f//7P///+ePm0PSul1CVGkGQ9QdcUMF9f3//y1BcGxvcmlzLkNoYXJ0LkNvbm5lY3RlZExhYmVsK2VUYXJnZXRBcmVhU2hhcGUBAAAAB3ZhbHVlX18ACAIAAAAAAAAAAAAQQQEJDAIAAAHz/f//4P///5HE4kOe/S9DAfL9//88////BAAAAAAAAAAAAAAAAAkPAgAAAAAAAAkQAgAAAAAAAe/9//8z////AAAAAAHu/f//hf///wAAJEIAAIhBAe39///s////AAAAAAAAAAAAAAAAAAAAAF662T8JngEAAAoJFQIAAAYWAgAAAAkMAgAAIAMAAP////8AAQoJDAIAAAEACgEHoAEAAAABAAAAAgAAAAQVU3lzdGVtLkRyYXdpbmcuUG9pbnRGBAAAAAHo/f//4P///5HE4kOe/S9DAef9///g////vF4RQu5RYUMHoQEAAAABAAAAAgAAAAQXQXBsb3Jpcy5CYXNlLkFuY2hvck1vZGUDAAAAAeb9//88////BAAAAAHl/f//PP///wIAAAABogEAACQAAAAJHAIAAAEAAAABAAAAAaQBAAAmAAAACR0CAAABAAAAAQAAAA+oAQAAAQAAAAgAAAAAB6kBAAAAAQAAAAEAAAAEFUFwbG9yaXMuQmFzZS5VSS5MYWJlbAMAAAAJHgIAAAGqAQAANQAAAAHh/f//4P////KrGUNERphDAeD9//88////AwAAAAAAAAAAAAAAAAkhAgAAAAAAAAkiAgAAAAAAAd39//8z////AAAAAAHc/f//hf///6qCAkL+v5FBAdv9///s////uugLQ0aXmENLx/BB/X9uQV662T8JpgEAAAoJJwIAAAkWAgAACSkCAAAgAwAA/////wEBCgkpAgAAAQAKAQGrAQAAJAAAAAkcAQAAAAAAAAAAAAABrQEAACYAAAAJKwIAAAIAAAACAAAAD7EBAAABAAAACAAAAAAHsgEAAAABAAAAAQAAAAQVQXBsb3Jpcy5CYXNlLlVJLkxhYmVsAwAAAAksAgAAAbMBAAA1AAAAAdP9///g////PCq9Q0RGmEMB0v3//zz///8DAAAAAAAAAAAAAAAACS8CAAAAAAAACTACAAAAAAABz/3//zP///8AAAAAAc79//+F////qoICQv6/kUEBzf3//+z///+jC7ZDRpeYQ0vH8EH9f25BXrrZPwmvAQAACgk1AgAACRYCAAAJNwIAACADAAD/////AQEKCTcCAAABAAoBAbQBAAAkAAAACRwBAAAAAAAAAAAAAAG2AQAAJgAAAAk5AgAAAgAAAAIAAAAFtwE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TEsIEN1bHR1cmU9bmV1dHJhbCwgUHVibGljS2V5VG9rZW49MTZmYzEzYTIyNmMwZTk1MV1dHUFwbG9yaXMuQ2hhcnQuQ2hhcnREYXRhU2VyaWVzAgAAACFBcGxvcmlzLkNoYXJ0LkNvbHVtbk9yaWVudGVkQ2hhcnQCAAAAlQFTeXN0ZW0uQ29sbGVjdGlvbnMuR2VuZXJpYy5MaXN0YDFbW0FwbG9yaXMuQmFzZS5VSS5WaXN1YWxPYmplY3QsIEFwbG9yaXMuQmFzZSwgVmVyc2lvbj00LjIuMC4xOTExLCBDdWx0dXJlPW5ldXRyYWwsIFB1YmxpY0tleVRva2VuPTE2ZmMxM2EyMjZjMGU5NTFdXQIAAAAJOgIAAAk7AgAACgk8AgAACgmAAQAACAbTTWIQWDnUPwoAAAAACT4CAAAJPwIAAAAAAAAACUACAAAJgAEAAAkBAAAACUMCAAABuAEAALcBAAAJRAIAAAlFAgAACglGAgAACgmAAQAACAaiRbbz/dTgPwoBAAAACUgCAAAJSQIAAAAAAAAACUoCAAAJgAEAAAkBAAAACU0CAAAFugEAACdBcGxvcmlzLkNoYXJ0LlN0YW5kYXJkTWFnbml0dWRlUHJvdmlkZXIEAAAAEm1NYWduaXR1ZGVBYnNvbHV0ZRFtTWFnbml0dWRlUGVyY2VudBJtQWJzb2x1dGVWYXJpYWJsZXMRbVBlcmNlbnRWYXJpYWJsZXMAAAcHCAgICAIAAAAAAAAAAAAAAAlOAgAACU8CAAAFuw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GUFwbG9yaXMuQ2hhcnQuR3Jvd3RoQXJyb3cCAAAAIUFwbG9yaXMuQ2hhcnQuQ29sdW1uT3JpZW50ZWRDaGFydAIAAAAIAQgIAQgICAIAAAAJhAEAAAkBAAAAAAAAAAEGUgIAAAEuAwAAAAZTAgAAASwGVAIAAAEtBlUCAAABKwEAAAAACgnmAAAABlcCAAAITS9kL3l5eXkAAAAACgAAAAAAAAAABbw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lBcGxvcmlzLkNoYXJ0Lkdyb3d0aEFycm93AgAAACFBcGxvcmlzLkNoYXJ0LkNvbHVtbk9yaWVudGVkQ2hhcnQCAAAACAEICAEICAgCAAAACYQBAAAJAQAAAAAAAAAACVICAAADAAAACVMCAAAJVAIAAAlVAgAAAQAAAAAKBl4CAAABJQlXAgAAAQAAAAoAAAAAAAAAAAG9AQAAMQAAAAGg/f//4P////KrGUPd8xdDAZ/9///g////PCq9Q/YsVUIJYgIAAAljAgAAqAIAAP////8BAQoJYwIAAAEACgEFvgEAABtBcGxvcmlzLkJhc2UuVUkuRnJhbWVkTGFiZWwhAAAAC21MaW5lRm9ybWF0C21GaWxsRm9ybWF0CW1QZXJzRGF0YR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PTGFiZWwrbVBlcnNEYXRh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gQEAAAABAAEAAAABAQEAAEDAwECAAAAAAcCAAADAB9BcGxvcmlzLkJhc2UuT2JqZWN0cy5MaW5lRm9ybWF0AwAAAB9BcGxvcmlzLkJhc2UuT2JqZWN0cy5GaWxsRm9ybWF0AwAA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ExLCBDdWx0dXJlPW5ldXRyYWwsIFB1YmxpY0tleVRva2VuPTE2ZmMxM2EyMjZjMGU5NTFdXZYBU3lzdGVtLkNvbGxlY3Rpb25zLkdlbmVyaWMuTGlzdGAxW1tBcGxvcmlzLkJhc2UuT2JqZWN0cy5WYXJpYWJsZSwgQXBsb3Jpcy5CYXNlLCBWZXJzaW9uPTQuMi4wLjE5MTEsIEN1bHR1cmU9bmV1dHJhbCwgUHVibGljS2V5VG9rZW49MTZmYzEzYTIyNmMwZTk1MV1dCAgBAQgBAQ9TeXN0ZW0uSW50UHRyW10BAwAAAAlkAgAACWUCAAAJZgIAAAGZ/f//4P///xoAhUMaP81CAZj9//88////AAAAAAAAAAAAAAAAAAlpAgAAAAAAAAlqAgAAAAAAAZX9//8z////AAAAAAGU/f//hf///wAA+EEAAIhBAZP9///s////AAAAAAAAAAAAAAAAAAAAAAAAAAAGbgIAAAMyOSUKCW8CAAAJFgIAAAlmAgAANAMAAP////8AAQoJZgIAAAEACgEHvwEAAAABAAAAAQAAAAQVU3lzdGVtLkRyYXdpbmcuUG9pbnRGBAAAAAGO/f//4P///xoAhUMaP81CB8ABAAAAAQAAAAEAAAAEF0FwbG9yaXMuQmFzZS5BbmNob3JNb2RlAwAAAAGN/f//PP///wAAAAABwQEAACQAAAAJdAIAAAIAAAACAAAAAcMBAAAmAAAACXUCAAACAAAAAgAAAAHEAQAAMQAAAAGK/f//4P///7xeJUJExpVDAYn9///g////vF4VQkTGlUMJeAIAAAl5AgAAzAEAAP////8BAQoJeQIAAAEACgEBxQEAADUAAAABhv3//+D///+8Xg9CRMaVQwGF/f//PP///wIAAAAAAAAAAAAAAAAJfAIAAAAAAAAJfQIAAAAAAAGC/f//M////wAAAAABgf3//4X///9UlalB/r+RQQGA/f//7P///wAAkEFddJJDS/elQf1/bkFeutk/BoECAAACMCUKCYICAAAJFgIAAAmEAgAA0AIAAP////8BAQoJhAIAAAEACgEByQEAACQAAAAJHAEAAAAAAAAAAAAAAcwBAAAmAAAACYYCAAACAAAAAgAAAAHNAQAAMQAAAAF5/f//4P///7xeJUKRkXxDAXj9///g////vF4VQpGRfEMJiQIAAAmKAgAAzAEAAP////8BAQoJigIAAAEACgEBzgEAADUAAAABdf3//+D///+8Xg9CkZF8QwF0/f//PP///wIAAAAAAAAAAAAAAAAJjQIAAAAAAAAJjgIAAAAAAAFx/f//M////wAAAAABcP3//4X///+p1upB/r+RQQFv/f//7P///9JFN0FddHVDSlvbQf1/bkFeutk/BpICAAADMTAlCgmTAgAACRYCAAAJlQIAANACAAD/////AQEKCZUCAAABAAoBAdIBAAAkAAAACRwBAAAAAAAAAAAAAAHVAQAAJgAAAAmXAgAAAgAAAAIAAAAB1gEAADEAAAABaP3//+D///+8XiVCm5ZNQwFn/f//4P///7xeFUKblk1DCZoCAAAJmwIAAMwBAAD/////AQEKCZsCAAABAAoBAdcBAAA1AAAAAWT9///g////vF4PQpuWTUMBY/3//zz///8CAAAAAAAAAAAAAAAACZ4CAAAAAAAACZ8CAAAAAAABYP3//zP///8AAAAAAV/9//+F////qdbqQf6/kUEBXv3//+z////SRTdBddFGQ0pb20H9f25BXrrZPwajAgAAAzIwJQoJpAIAAAkWAgAACaYCAADQAgAA/////wEBCgmmAgAAAQAKAQHbAQAAJAAAAAkcAQAAAAAAAAAAAAAB3gEAACYAAAAJqAIAAAIAAAACAAAAAd8BAAAxAAAAAVf9///g////vF4lQqSbHkMBVv3//+D///+8XhVCpJseQwmrAgAACawCAADMAQAA/////wEBCgmsAgAAAQAKAQHgAQAANQAAAAFT/f//4P///7xeD0Kkmx5DAVL9//88////AgAAAAAAAAAAAAAAAAmvAgAAAAAAAAmwAgAAAAAAAU/9//8z////AAAAAAFO/f//hf///6nW6kH+v5FBAU39///s////0kU3QYwuGENKW9tB/X9uQV662T8GtAIAAAMzMCUKCbUCAAAJFgIAAAm3AgAA0AIAAP////8BAQoJtwIAAAEACgEB5AEAACQAAAAJHAEAAAAAAAAAAAAAAecBAAAmAAAACbkCAAACAAAAAgAAAAHoAQAAMQAAAAFG/f//4P///7xeJUJbQd9CAUX9///g////vF4VQltB30IJvAIAAAm9AgAAzAEAAP////8BAQoJvQIAAAEACgEB6QEAADUAAAABQv3//+D///+8Xg9CW0HfQgFB/f//PP///wIAAAAAAAAAAAAAAAAJwAIAAAAAAAAJwQIAAAAAAAE+/f//M////wAAAAABPf3//4X///+p1upB/r+RQQE8/f//7P///9JFN0FddNFCSlvbQf1/bkFeutk/BsUCAAADNDAlCgnGAgAACRYCAAAJyAIAANACAAD/////AQEKCcgCAAABAAoBAe0BAAAkAAAACRwBAAAAAAAAAAAAAAHwAQAAJgAAAAnKAgAAAgAAAAIAAAAB8QEAADEAAAABNf3//+D///+8XiVCbkuBQgE0/f//4P///7xeFUJuS4FCCc0CAAAJzgIAAMwBAAD/////AQEKCc4CAAABAAoBAfIBAAA1AAAAATH9///g////vF4PQm5LgUIBMP3//zz///8CAAAAAAAAAAAAAAAACdECAAAAAAAACdICAAAAAAABLf3//zP///8AAAAAASz9//+F////qdbqQf6/kUEBK/3//+z////SRTdBF11oQkpb20H9f25BXrrZPwbWAgAAAzUwJQoJ1wIAAAkWAgAACdkCAADQAgAA/////wEBCgnZAgAAAQAKAQH2AQAAJAAAAAkcAQAAAAAAAAAAAAAB+QEAACYAAAAJ2wIAAAIAAAACAAAAAfoBAAAxAAAAAST9///g////vF4lQgRWjUEBI/3//+D///+8XhVCBFaNQQneAgAACd8CAADMAQAA/////wEBCgnfAgAAAQAKAQH7AQAANQAAAAEg/f//4P///7xeD0IEVo1BAR/9//88////AgAAAAAAAAAAAAAAAAniAgAAAAAAAAnjAgAAAAAAARz9//8z////AAAAAAEb/f//hf///6nW6kH+v5FBARr9///s////0kU3QYwuKkFKW9tB/X9uQV662T8G5wIAAAM2MCUKCegCAAAJFgIAAAnqAgAA0AIAAP////8BAQoJ6gIAAAEACgEB/wEAACQAAAAJHAEAAAAAAAAAAAAAAQICAAAmAAAACewCAAACAAAAAgAAAAQDAgAAmAFTeXN0ZW0uQ29sbGVjdGlvbnMuR2VuZXJpYy5MaXN0YDFbW0FwbG9yaXMuQ2hhcnQuQ2hhcnREYXRhRWxlbWVudCwgQXBsb3Jpcy5DaGFydCwgVmVyc2lvbj00LjIuMC4xOTExLCBDdWx0dXJlPW5ldXRyYWwsIFB1YmxpY0tleVRva2VuPTE2ZmMxM2EyMjZjMGU5NTFdXQMAAAAGX2l0ZW1zBV9zaXplCF92ZXJzaW9uBAAAIEFwbG9yaXMuQ2hhcnQuQ2hhcnREYXRhRWxlbWVudFtdAgAAAAgICe0CAAACAAAABgAAAAEEAgAAJAAAAAnuAgAAAgAAAAQAAAABBwIAACYAAAAJGgEAAAAAAAAAAAAAAQwCAAB+AAAACfACAAAJ8QIAAAUP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gAEAAAoAAAAAAEBBCX8AAAAJgAAAAAn1AgAAAQAJ9gIAAAEQAgAAgQAAAAoKAAAAAP///wAOAAAAAAEBFQIAANEAAAAJ9wIAAAEAAAABAAAABxwCAAAAAQAAAAQAAAAEH0FwbG9yaXMuQmFzZS5PYmplY3RzLkRhdGFPYmplY3QDAAAACZ0BAAANAwcdAgAAAAEAAAAEAAAABBxBcGxvcmlzLkJhc2UuVUkuVmlzdWFsT2JqZWN0AwAAAAmfAQAADQMBHgIAADUAAAABBv3//+D////yqxlDVBcUQwEF/f//PP///wEAAAAAAAAAAAAAAAAJ/AIAAAAAAAAJ/QIAAAAAAAEC/f//M////wAAAAABAf3//4X///8AANhBAABwQQEA/f//7P///wAAAAAAAAAAAAAAAAAAAAASg74/BgEDAAADMzIlCgkCAwAACRYCAAAJBAMAADQDAAD/////AAEKCQQDAAABAAoBASECAAAiAAAACgoAAAAAAEBBCX8AAAAJgAAAAAkHAwAAAAAJCAMAAAEiAgAAgQAAAAoKAAAAAP///wAOAAAAAAEBJwIAANEAAAAJCQMAAAEAAAABAAAAASkCAAB+AAAACQoDAAAJCwMAAAcrAgAAAAEAAAAEAAAABBxBcGxvcmlzLkJhc2UuVUkuVmlzdWFsT2JqZWN0AwAAAAmqAQAACR4CAAANAgEsAgAANQAAAAHy/P//4P///zwqvUPSukVCAfH8//88////AQAAAAAAAAAAAAAAAAkQAwAAAAAAAAkRAwAAAAAAAe78//8z////AAAAAAHt/P//hf///wAA2EEAAHBBAez8///s////AAAAAAAAAAAAAAAAAAAAABKDvj8GFQMAAAM1MyUKCRYDAAAJFgIAAAkYAwAANAMAAP////8AAQoJGAMAAAEACgEBLwIAACIAAAAKCgAAAAAAQEEJfwAAAAmAAAAACRsDAAAAAAkcAwAAATACAACBAAAACgoAAAAA////AA4AAAAAAQE1AgAA0QAAAAkdAwAAAQAAAAEAAAABNwIAAH4AAAAJHgMAAAkfAwAABzkCAAAAAQAAAAQAAAAEHEFwbG9yaXMuQmFzZS5VSS5WaXN1YWxPYmplY3QDAAAACbMBAAAJLAIAAA0CAToCAACfAQAAClgCAAAB3vz///j9//8CAAAAAd38///3/f//AQAAAAHc/P//7P///5DurEJUFxpDVGkGQzR1DkMB2/z///X9//8AAAAAAACgQAAJJgMAAAHZ/P//4P////KrGUPuUWFDAdj8//88////AAAAAAAAAAAAAAAAAAkpAwAAAAAAAAkqAwAAAAAAAdX8//8z////AAAAAAHU/P//hf///xyPHEJUVcJBAdP8///s////6aIIQwAAWEPdPBJC//+eQekmEUAGLgMAAAMzMiUKCS8DAAAJFgIAAAkmAwAANAMAAP////8BAQoJJgMAAAEACgEBOwIAABsAAAABzvz//+D///+Q7qZCRMaVQwHN/P//4P///5zgX0NUFxdDCTQDAAAJNQMAAAAAAAAKAcr8//+F////AAAAAAAAAAAByfz//4X///8AAAAAAAAAAAAAAAAByPz//+z///8AAAAAAAAAAAAAAAAAAAAACTkDAACkAQAA/////wEBCgk5AwAAAQAKAQc8AgAAAAEAAAACAAAABBpBcGxvcmlzLkJhc2UuVUkuVmlzdWFsTGluZQMAAAANAgc+AgAAAAEAAAADAAAABBVTeXN0ZW0uRHJhd2luZy5Qb2ludEYEAAAAAcb8///g////8qsZQ+5RYUMBxfz//+D///+Q7qBC7lFhQwHE/P//4P///5zgYkPuUWFDBz8CAAAAAQAAAAMAAAAEF0FwbG9yaXMuQmFzZS5BbmNob3JNb2RlAwAAAAHD/P//PP///wAAAAABwvz//zz///8CAAAAAcH8//88////BAAAAAFAAgAAJAAAAAkcAQAAAAAAAAAAAAABQwIAACYAAAAJQQMAAAIAAAACAAAAAUQCAACfAQAAClgCAAABvvz///j9//8CAAAAAb38///3/f//AQAAAAG8/P//7P///+ePm0PSul1CVGkGQ9QdcUMBu/z///X9//8AAAAAAACgQAAJRgMAAAG5/P//4P///zwqvUOe/S9DAbj8//88////AAAAAAAAAAAAAAAAAAlJAwAAAAAAAAlKAwAAAAAAAbX8//8z////AAAAAAG0/P//hf///xyPHEJUVcJBAbP8///s////umi0Q7roJkPdPBJC//+eQekmEUAGTgMAAAM1MyUKCU8DAAAJFgIAAAlGAwAANAMAAP////8BAQoJRgMAAAEACgEBRQIAABsAAAABrvz//+D////nD5pDRMaVQwGt/P//4P///5FE4EPSulFCCVQDAAAJVQMAAAAAAAAKAar8//+F////AAAAAAAAAAABqfz//4X///8AAAAAAAAAAAAAAAABqPz//+z///8AAAAAAAAAAAAAAAAAAAAACVkDAACkAQAA/////wEBCglZAwAAAQAKAQdGAgAAAAEAAAACAAAABBpBcGxvcmlzLkJhc2UuVUkuVmlzdWFsTGluZQMAAAANAgdIAgAAAAEAAAADAAAABBVTeXN0ZW0uRHJhd2luZy5Qb2ludEYEAAAAAab8///g////PCq9Q579L0MBpfz//+D////nj5hDnv0vQwGk/P//4P///5HE4UOe/S9DB0kCAAAAAQAAAAMAAAAEF0FwbG9yaXMuQmFzZS5BbmNob3JNb2RlAwAAAAGj/P//PP///wAAAAABovz//zz///8CAAAAAaH8//88////BAAAAAFKAgAAJAAAAAkcAQAAAAAAAAAAAAABTQIAACYAAAAJYQMAAAIAAAACAAAAD04CAAABAAAACAEAAAAPTwIAAAMAAAAIAgAAAAMAAAAEAAAAAWICAAB5AAAACgoAAAAAQAliAwAACWMDAAABAAAA/v///wIAAAABAAAAAgAAAAIAAAACAAAAAgAAAAAAAAFjAgAAfgAAAAlkAwAACWUDAAABZAIAAHkAAAAKCgEAAEA/CWYDAAAJZwMAAAEAAAD+////AAAAAAEAAAAAAAAAAAAAAAEAAAAAAAAAAAABAWUCAAB6AAAACgoJaAMAAAlpAwAAAQAAAAAAAAAAAAAA/////wABAWYCAAB+AAAACWoDAAAJawMAAAVp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lBcGxvcmlzLkNoYXJ0Lkdyb3d0aEFycm93AgAAAAEBAQsaQXBsb3Jpcy5CYXNlLk9iamVjdHMuQ29sb3IDAAAAAQEaQXBsb3Jpcy5CYXNlLk9iamVjdHMuQ29sb3IDAAAAAwAAAAmEAQAACgAAAAAAQEEJfwAAAAmAAAAACW8DAAABAAlwAwAAAWoCAACBAAAACgoBAAAAAAAAAP////8AAQFvAgAA0QAAAAlxAwAAAQAAAAEAAAAHdAIAAAABAAAABAAAAAQfQXBsb3Jpcy5CYXNlLk9iamVjdHMuRGF0YU9iamVjdAMAAAAJuwEAAAm8AQAADQIHdQIAAAABAAAABAAAAAQcQXBsb3Jpcy5CYXNlLlVJLlZpc3VhbE9iamVjdAMAAAAJvQEAAAm+AQAADQIBeAIAAHkAAAAKCgAAAEA/CXYDAAAJdwMAAAEAAAD+////AAAAAAEAAAAAAAAAAAAAAAEAAAAAAAAAAAAAAXkCAAB+AAAACXgDAAAJeQMAAAF8AgAAIgAAAAoKAAAAAABAQQl/AAAACYAAAAAJfAMAAAAACX0DAAABfQIAAIEAAAAKCgAAAAD///8ADgAAAAABAYICAADRAAAACX4DAAABAAAAAQAAAAGEAgAAfgAAAAl/AwAACYADAAAHhgIAAAABAAAABAAAAAQcQXBsb3Jpcy5CYXNlLlVJLlZpc3VhbE9iamVjdAMAAAAJxAEAAAnFAQAADQIBiQIAAHkAAAAKCgAAAEA/CYMDAAAJhAMAAAEAAAD+////AAAAAAEAAAAAAAAAAAAAAAEAAAAAAAAAAAAAAYoCAAB+AAAACYUDAAAJhgMAAAGNAgAAIgAAAAoKAAAAAABAQQl/AAAACYAAAAAJiQMAAAAACYoDAAABjgIAAIEAAAAKCgAAAAD///8ADgAAAAABAZMCAADRAAAACYsDAAABAAAAAwAAAAGVAgAAfgAAAAmMAwAACY0DAAAHlwIAAAABAAAABAAAAAQcQXBsb3Jpcy5CYXNlLlVJLlZpc3VhbE9iamVjdAMAAAAJzQEAAAnOAQAADQIBmgIAAHkAAAAKCgAAAEA/CZADAAAJkQMAAAEAAAD+////AAAAAAEAAAAAAAAAAAAAAAEAAAAAAAAAAAAAAZsCAAB+AAAACZIDAAAJkwMAAAGeAgAAIgAAAAoKAAAAAABAQQl/AAAACYAAAAAJlgMAAAAACZcDAAABnwIAAIEAAAAKCgAAAAD///8ADgAAAAABAaQCAADRAAAACZgDAAABAAAAAwAAAAGmAgAAfgAAAAmZAwAACZoDAAAHqAIAAAABAAAABAAAAAQcQXBsb3Jpcy5CYXNlLlVJLlZpc3VhbE9iamVjdAMAAAAJ1gEAAAnXAQAADQIBqwIAAHkAAAAKCgAAAEA/CZ0DAAAJngMAAAEAAAD+////AAAAAAEAAAAAAAAAAAAAAAEAAAAAAAAAAAAAAawCAAB+AAAACZ8DAAAJoAMAAAGvAgAAIgAAAAoKAAAAAABAQQl/AAAACYAAAAAJowMAAAAACaQDAAABsAIAAIEAAAAKCgAAAAD///8ADgAAAAABAbUCAADRAAAACaUDAAABAAAAAwAAAAG3AgAAfgAAAAmmAwAACacDAAAHuQIAAAABAAAABAAAAAQcQXBsb3Jpcy5CYXNlLlVJLlZpc3VhbE9iamVjdAMAAAAJ3wEAAAngAQAADQIBvAIAAHkAAAAKCgAAAEA/CaoDAAAJqwMAAAEAAAD+////AAAAAAEAAAAAAAAAAAAAAAEAAAAAAAAAAAAAAb0CAAB+AAAACawDAAAJrQMAAAHAAgAAIgAAAAoKAAAAAABAQQl/AAAACYAAAAAJsAMAAAAACbEDAAABwQIAAIEAAAAKCgAAAAD///8ADgAAAAABAcYCAADRAAAACbIDAAABAAAAAwAAAAHIAgAAfgAAAAmzAwAACbQDAAAHygIAAAABAAAABAAAAAQcQXBsb3Jpcy5CYXNlLlVJLlZpc3VhbE9iamVjdAMAAAAJ6AEAAAnpAQAADQIBzQIAAHkAAAAKCgAAAEA/CbcDAAAJuAMAAAEAAAD+////AAAAAAEAAAAAAAAAAAAAAAEAAAAAAAAAAAAAAc4CAAB+AAAACbkDAAAJugMAAAHRAgAAIgAAAAoKAAAAAABAQQl/AAAACYAAAAAJvQMAAAAACb4DAAAB0gIAAIEAAAAKCgAAAAD///8ADgAAAAABAdcCAADRAAAACb8DAAABAAAAAwAAAAHZAgAAfgAAAAnAAwAACcEDAAAH2wIAAAABAAAABAAAAAQcQXBsb3Jpcy5CYXNlLlVJLlZpc3VhbE9iamVjdAMAAAAJ8QEAAAnyAQAADQIB3gIAAHkAAAAKCgAAAEA/CcQDAAAJxQMAAAEAAAD+////AAAAAAEAAAAAAAAAAAAAAAEAAAAAAAAAAAAAAd8CAAB+AAAACcYDAAAJxwMAAAHiAgAAIgAAAAoKAAAAAABAQQl/AAAACYAAAAAJygMAAAAACcsDAAAB4wIAAIEAAAAKCgAAAAD///8ADgAAAAABAegCAADRAAAACcwDAAABAAAAAwAAAAHqAgAAfgAAAAnNAwAACc4DAAAH7AIAAAABAAAABAAAAAQcQXBsb3Jpcy5CYXNlLlVJLlZpc3VhbE9iamVjdAMAAAAJ+gEAAAn7AQAADQIH7QIAAAABAAAABAAAAAQeQXBsb3Jpcy5DaGFydC5DaGFydERhdGFFbGVtZW50AgAAAAm3AQAACbgBAAANAgfuAgAAAAEAAAAEAAAABB9BcGxvcmlzLkJhc2UuT2JqZWN0cy5EYXRhT2JqZWN0AwAAAAm4AQAACbcBAAANAg/wAgAAAQAAAAhiAAAAB/ECAAAAAQAAAAEAAAADDVN5c3RlbS5JbnRQdHIBLPz//3v+//8AAAAAAAAAAAH1AgAAgQAAAAoKAAAAAAAAAAANAAAAAAEB9gIAAIEAAAAKCgEAAAAAAAAA/////wABB/cCAAAAAQAAAAQAAAAEHUFwbG9yaXMuQmFzZS5PYmplY3RzLlZhcmlhYmxlAwAAAAUr/P//HUFwbG9yaXMuQmFzZS5PYmplY3RzLlZhcmlhYmxlAgAAAAZOdW1iZXIIUG9zaXRpb24AAAgIAwAAAAEAAAAAAAAAASr8//8r/P//AAAAAAAAAAABKfz//yv8//8AAAAAAAAAAAEo/P//K/z//wAAAAAAAAAABfw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YEBAAAKAAAAAABAQQl/AAAACYAAAAAJ3AMAAAEACd0DAAAB/QIAAIEAAAAKCgAAAAD///8ADgAAAAABAQIDAADRAAAACd4DAAABAAAAAwAAAAEEAwAAfgAAAAnfAwAACeADAAABBwMAAIEAAAAKCgAAAAAAAAAADQAAAAAAAQgDAACBAAAACgoAAAAAAAAAAA0AAAAAAQcJAwAAAAEAAAAEAAAABB1BcGxvcmlzLkJhc2UuT2JqZWN0cy5WYXJpYWJsZQMAAAABH/z//yv8//8BAAAAAAAAAAEe/P//K/z//wAAAAAAAAAAAR38//8r/P//AAAAAAAAAAABHPz//yv8//8AAAAAAAAAAA8KAwAAAQAAAAgUAAAABwsDAAAAAQAAAAEAAAADDVN5c3RlbS5JbnRQdHIBG/z//3v+//8AAAAAAAAAAAUQ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mCAQAACgAAAAAAQEEJfwAAAAmAAAAACekDAAABAAnqAwAAAREDAACBAAAACgoAAAAA////AA4AAAAAAQEWAwAA0QAAAAnrAwAAAQAAAAMAAAABGAMAAH4AAAAJ7AMAAAntAwAAARsDAACBAAAACgoAAAAAAAAAAA0AAAAAAAEcAwAAgQAAAAoKAAAAAAAAAAANAAAAAAEHHQMAAAABAAAABAAAAAQdQXBsb3Jpcy5CYXNlLk9iamVjdHMuVmFyaWFibGUDAAAAARL8//8r/P//AQAAAAAAAAABEfz//yv8//8AAAAAAAAAAAEQ/P//K/z//wAAAAAAAAAAAQ/8//8r/P//AAAAAAAAAAAPHgMAAAEAAAAIEwAAAAcfAwAAAAEAAAABAAAAAw1TeXN0ZW0uSW50UHRyAQ78//97/v//AAAAAAAAAAABJgMAAH4AAAAJ8wMAAAn0AwAAASkDAAAiAAAACgoAAAAAAIBBCX8AAAAJgAAAAAn3AwAAAQAJ+AMAAAEqAwAAgQAAAAoKAQAAAHKEjAD/////AAEBLwMAANEAAAAJ+QMAAAEAAAADAAAAATQDAAB5AAAACgoAAABAPwn6AwAACfsDAAABAAAA/v///wAAAAABAAAAAAAAAAAAAAABAAAAAAAAAAAAAAE1AwAAegAAAAoKCfwDAAAJ/QMAAAEAAAD+////AAAAAP////8AAAE5AwAAfgAAAAn+AwAACf8DAAAHQQMAAAABAAAABAAAAAQcQXBsb3Jpcy5CYXNlLlVJLlZpc3VhbE9iamVjdAMAAAAJOwIAAAk6AgAADQIBRgMAAH4AAAAJAgQAAAkDBAAAAUkDAAAiAAAACgoAAAAAAIBBCX8AAAAJgAAAAAkGBAAAAQAJBwQAAAFKAwAAgQAAAAoKAAAAAD9pfgAFAAAAAAEBTwMAANEAAAAJCAQAAAEAAAADAAAAAVQDAAB5AAAACgoAAABAPwkJBAAACQoEAAABAAAA/v///wAAAAABAAAAAAAAAAAAAAABAAAAAAAAAAAAAAFVAwAAegAAAAoKCQsEAAAJDAQAAAEAAAD+////AAAAAP////8AAAFZAwAAfgAAAAkNBAAACQ4EAAAHYQMAAAABAAAABAAAAAQcQXBsb3Jpcy5CYXNlLlVJLlZpc3VhbE9iamVjdAMAAAAJRQIAAAlEAgAADQIFYgMAABpBcGxvcmlzLkJhc2UuT2JqZWN0cy5Db2xvcgcAAAASRGF0YU9iamVjdCttUGFyZW50FURhdGFPYmplY3QrbUNvbnRhaW5lcgVtVHlwZQRtUkdCEG1UaGVtZUNvbG9ySW5kZXgMbUF1dG9VcGRhdGVkCW1Nb2RpZmllZAQCAAAAAAAfQXBsb3Jpcy5CYXNlLk9iamVjdHMuTGluZUZvcm1hdAMAAAAICAgBAQMAAAAJYgIAAAoAAAAAAAAAAA0AAAAAAAVjAwAAGkFwbG9yaXMuQmFzZS5PYmplY3RzLkNvbG9yBwAAABJEYXRhT2JqZWN0K21QYXJlbnQVRGF0YU9iamVjdCttQ29udGFpbmVyBW1UeXBlBG1SR0IQbVRoZW1lQ29sb3JJbmRleAxtQXV0b1VwZGF0ZWQJbU1vZGlmaWVkBAIAAAAAAB9BcGxvcmlzLkJhc2UuT2JqZWN0cy5MaW5lRm9ybWF0AwAAAAgICAEBAwAAAAliAgAACgEAAAAAAAAA/////wABD2QDAAABAAAACF4AAAAHZQMAAAABAAAAAQAAAAMNU3lzdGVtLkludFB0cgHu+///e/7//wAAAAAAAAAABWYDAAAaQXBsb3Jpcy5CYXNlLk9iamVjdHMuQ29sb3IHAAAAEkRhdGFPYmplY3QrbVBhcmVudBVEYXRhT2JqZWN0K21Db250YWluZXIFbVR5cGUEbVJHQhBtVGhlbWVDb2xvckluZGV4DG1BdXRvVXBkYXRlZAltTW9kaWZpZWQEAgAAAAAAH0FwbG9yaXMuQmFzZS5PYmplY3RzLkxpbmVGb3JtYXQDAAAACAgIAQEDAAAACWQCAAAKAAAAAAAAAAANAAAAAAEFZwMAABpBcGxvcmlzLkJhc2UuT2JqZWN0cy5Db2xvcgcAAAASRGF0YU9iamVjdCttUGFyZW50FURhdGFPYmplY3QrbUNvbnRhaW5lcgVtVHlwZQRtUkdCEG1UaGVtZUNvbG9ySW5kZXgMbUF1dG9VcGRhdGVkCW1Nb2RpZmllZAQCAAAAAAAfQXBsb3Jpcy5CYXNlLk9iamVjdHMuTGluZUZvcm1hdAMAAAAICAgBAQMAAAAJZAIAAAoBAAAAAAAAAP////8AAQFoAwAAgQAAAAoKAQAAAP///wD/////AAEBaQMAAIEAAAAKCgEAAAAAAAAA/////wABD2oDAAABAAAACGMAAAAHawMAAAABAAAAAQAAAAMNU3lzdGVtLkludFB0cgHs+///e/7//wAAAAAAAAAAAW8DAACBAAAACgoAAAAAAAAAAA0AAAAAAQFwAwAAgQAAAAoKAAAAAAAAAAANAAAAAAEHcQMAAAABAAAABAAAAAQdQXBsb3Jpcy5CYXNlLk9iamVjdHMuVmFyaWFibGUDAAAAAev7//8r/P//BAAAAAAAAAAB6vv//yv8//8AAAAAAAAAAAHp+///K/z//wAAAAAAAAAAAej7//8r/P//AAAAAAAAAAABdgMAAIEAAAAKCgAAAAAAAAAADQAAAAAABXcDAAAaQXBsb3Jpcy5CYXNlLk9iamVjdHMuQ29sb3IHAAAAEkRhdGFPYmplY3QrbVBhcmVudBVEYXRhT2JqZWN0K21Db250YWluZXIFbVR5cGUEbVJHQhBtVGhlbWVDb2xvckluZGV4DG1BdXRvVXBkYXRlZAltTW9kaWZpZWQEAgAAAAAAH0FwbG9yaXMuQmFzZS5PYmplY3RzLkxpbmVGb3JtYXQDAAAACAgIAQEDAAAACXgCAAAKAQAAAAAAAAD/////AAEPeAMAAAEAAAAIWQAAAAd5AwAAAAEAAAABAAAAAw1TeXN0ZW0uSW50UHRyAeb7//97/v//AAAAAAAAAAABfAMAAIEAAAAKCgAAAAAAAAAADQAAAAAAAX0DAACBAAAACgoAAAAAAAAAAA0AAAAAAQd+AwAAAAEAAAAEAAAABB1BcGxvcmlzLkJhc2UuT2JqZWN0cy5WYXJpYWJsZQMAAAAB5fv//yv8//8BAAAAAAAAAAHk+///K/z//wAAAAAAAAAAAeP7//8r/P//AAAAAAAAAAAB4vv//yv8//8AAAAAAAAAAA9/AwAAAQAAAAgRAAAAB4ADAAAAAQAAAAEAAAADDVN5c3RlbS5JbnRQdHIB4fv//3v+//8AAAAAAAAAAAGDAwAAgQAAAAoKAAAAAAAAAAANAAAAAAAFhAMAABpBcGxvcmlzLkJhc2UuT2JqZWN0cy5Db2xvcgcAAAASRGF0YU9iamVjdCttUGFyZW50FURhdGFPYmplY3QrbUNvbnRhaW5lcgVtVHlwZQRtUkdCEG1UaGVtZUNvbG9ySW5kZXgMbUF1dG9VcGRhdGVkCW1Nb2RpZmllZAQCAAAAAAAfQXBsb3Jpcy5CYXNlLk9iamVjdHMuTGluZUZvcm1hdAMAAAAICAgBAQMAAAAJiQIAAAoBAAAAAAAAAP////8AAQ+FAwAAAQAAAAhYAAAAB4YDAAAAAQAAAAEAAAADDVN5c3RlbS5JbnRQdHIB3/v//3v+//8AAAAAAAAAAAGJAwAAgQAAAAoKAAAAAAAAAAANAAAAAAABigMAAIEAAAAKCgAAAAAAAAAADQAAAAABB4sDAAAAAQAAAAQAAAAEHUFwbG9yaXMuQmFzZS5PYmplY3RzLlZhcmlhYmxlAwAAAAHe+///K/z//wEAAAAAAAAAAd37//8r/P//AAAAAAAAAAAB3Pv//yv8//8AAAAAAAAAAAHb+///K/z//wAAAAAAAAAAD4wDAAABAAAACBIAAAAHjQMAAAABAAAAAQAAAAMNU3lzdGVtLkludFB0cgHa+///e/7//wAAAAAAAAAAAZADAACBAAAACgoAAAAAAAAAAA0AAAAAAAWRAwAAGkFwbG9yaXMuQmFzZS5PYmplY3RzLkNvbG9yBwAAABJEYXRhT2JqZWN0K21QYXJlbnQVRGF0YU9iamVjdCttQ29udGFpbmVyBW1UeXBlBG1SR0IQbVRoZW1lQ29sb3JJbmRleAxtQXV0b1VwZGF0ZWQJbU1vZGlmaWVkBAIAAAAAAB9BcGxvcmlzLkJhc2UuT2JqZWN0cy5MaW5lRm9ybWF0AwAAAAgICAEBAwAAAAmaAgAACgEAAAAAAAAA/////wABD5IDAAABAAAACFcAAAAHkwMAAAABAAAAAQAAAAMNU3lzdGVtLkludFB0cgHY+///e/7//wAAAAAAAAAAAZYDAACBAAAACgoAAAAAAAAAAA0AAAAAAAGXAwAAgQAAAAoKAAAAAAAAAAANAAAAAAEHmAMAAAABAAAABAAAAAQdQXBsb3Jpcy5CYXNlLk9iamVjdHMuVmFyaWFibGUDAAAAAdf7//8r/P//AQAAAAAAAAAB1vv//yv8//8AAAAAAAAAAAHV+///K/z//wAAAAAAAAAAAdT7//8r/P//AAAAAAAAAAAPmQMAAAEAAAAIDAAAAAeaAwAAAAEAAAABAAAAAw1TeXN0ZW0uSW50UHRyAdP7//97/v//AAAAAAAAAAABnQMAAIEAAAAKCgAAAAAAAAAADQAAAAAABZ4DAAAaQXBsb3Jpcy5CYXNlLk9iamVjdHMuQ29sb3IHAAAAEkRhdGFPYmplY3QrbVBhcmVudBVEYXRhT2JqZWN0K21Db250YWluZXIFbVR5cGUEbVJHQhBtVGhlbWVDb2xvckluZGV4DG1BdXRvVXBkYXRlZAltTW9kaWZpZWQEAgAAAAAAH0FwbG9yaXMuQmFzZS5PYmplY3RzLkxpbmVGb3JtYXQDAAAACAgIAQEDAAAACasCAAAKAQAAAAAAAAD/////AAEPnwMAAAEAAAAIXAAAAAegAwAAAAEAAAABAAAAAw1TeXN0ZW0uSW50UHRyAdH7//97/v//AAAAAAAAAAABowMAAIEAAAAKCgAAAAAAAAAADQAAAAAAAaQDAACBAAAACgoAAAAAAAAAAA0AAAAAAQelAwAAAAEAAAAEAAAABB1BcGxvcmlzLkJhc2UuT2JqZWN0cy5WYXJpYWJsZQMAAAAB0Pv//yv8//8BAAAAAAAAAAHP+///K/z//wAAAAAAAAAAAc77//8r/P//AAAAAAAAAAABzfv//yv8//8AAAAAAAAAAA+mAwAAAQAAAAgPAAAAB6cDAAAAAQAAAAEAAAADDVN5c3RlbS5JbnRQdHIBzPv//3v+//8AAAAAAAAAAAGqAwAAgQAAAAoKAAAAAAAAAAANAAAAAAAFqwMAABpBcGxvcmlzLkJhc2UuT2JqZWN0cy5Db2xvcgcAAAASRGF0YU9iamVjdCttUGFyZW50FURhdGFPYmplY3QrbUNvbnRhaW5lcgVtVHlwZQRtUkdCEG1UaGVtZUNvbG9ySW5kZXgMbUF1dG9VcGRhdGVkCW1Nb2RpZmllZAQCAAAAAAAfQXBsb3Jpcy5CYXNlLk9iamVjdHMuTGluZUZvcm1hdAMAAAAICAgBAQMAAAAJvAIAAAoBAAAAAAAAAP////8AAQ+sAwAAAQAAAAhdAAAAB60DAAAAAQAAAAEAAAADDVN5c3RlbS5JbnRQdHIByvv//3v+//8AAAAAAAAAAAGwAwAAgQAAAAoKAAAAAAAAAAANAAAAAAABsQMAAIEAAAAKCgAAAAAAAAAADQAAAAABB7IDAAAAAQAAAAQAAAAEHUFwbG9yaXMuQmFzZS5PYmplY3RzLlZhcmlhYmxlAwAAAAHJ+///K/z//wEAAAAAAAAAAcj7//8r/P//AAAAAAAAAAABx/v//yv8//8AAAAAAAAAAAHG+///K/z//wAAAAAAAAAAD7MDAAABAAAACBAAAAAHtAMAAAABAAAAAQAAAAMNU3lzdGVtLkludFB0cgHF+///e/7//wAAAAAAAAAAAbcDAACBAAAACgoAAAAAAAAAAA0AAAAAAAW4AwAAGkFwbG9yaXMuQmFzZS5PYmplY3RzLkNvbG9yBwAAABJEYXRhT2JqZWN0K21QYXJlbnQVRGF0YU9iamVjdCttQ29udGFpbmVyBW1UeXBlBG1SR0IQbVRoZW1lQ29sb3JJbmRleAxtQXV0b1VwZGF0ZWQJbU1vZGlmaWVkBAIAAAAAAB9BcGxvcmlzLkJhc2UuT2JqZWN0cy5MaW5lRm9ybWF0AwAAAAgICAEBAwAAAAnNAgAACgEAAAAAAAAA/////wABD7kDAAABAAAACFoAAAAHugMAAAABAAAAAQAAAAMNU3lzdGVtLkludFB0cgHD+///e/7//wAAAAAAAAAAAb0DAACBAAAACgoAAAAAAAAAAA0AAAAAAAG+AwAAgQAAAAoKAAAAAAAAAAANAAAAAAEHvwMAAAABAAAABAAAAAQdQXBsb3Jpcy5CYXNlLk9iamVjdHMuVmFyaWFibGUDAAAAAcL7//8r/P//AQAAAAAAAAABwfv//yv8//8AAAAAAAAAAAHA+///K/z//wAAAAAAAAAAAb/7//8r/P//AAAAAAAAAAAPwAMAAAEAAAAIDQAAAAfBAwAAAAEAAAABAAAAAw1TeXN0ZW0uSW50UHRyAb77//97/v//AAAAAAAAAAABxAMAAIEAAAAKCgAAAAAAAAAADQAAAAAABcUDAAAaQXBsb3Jpcy5CYXNlLk9iamVjdHMuQ29sb3IHAAAAEkRhdGFPYmplY3QrbVBhcmVudBVEYXRhT2JqZWN0K21Db250YWluZXIFbVR5cGUEbVJHQhBtVGhlbWVDb2xvckluZGV4DG1BdXRvVXBkYXRlZAltTW9kaWZpZWQEAgAAAAAAH0FwbG9yaXMuQmFzZS5PYmplY3RzLkxpbmVGb3JtYXQDAAAACAgIAQEDAAAACd4CAAAKAQAAAAAAAAD/////AAEPxgMAAAEAAAAIWwAAAAfHAwAAAAEAAAABAAAAAw1TeXN0ZW0uSW50UHRyAbz7//97/v//AAAAAAAAAAABygMAAIEAAAAKCgAAAAAAAAAADQAAAAAAAcsDAACBAAAACgoAAAAAAAAAAA0AAAAAAQfMAwAAAAEAAAAEAAAABB1BcGxvcmlzLkJhc2UuT2JqZWN0cy5WYXJpYWJsZQMAAAABu/v//yv8//8BAAAAAAAAAAG6+///K/z//wAAAAAAAAAAAbn7//8r/P//AAAAAAAAAAABuPv//yv8//8AAAAAAAAAAA/NAwAAAQAAAAgOAAAAB84DAAAAAQAAAAEAAAADDVN5c3RlbS5JbnRQdHIBt/v//3v+//8AAAAAAAAAAAHcAwAAgQAAAAoKAAAAAAAAAAANAAAAAAEB3QMAAIEAAAAKCgEAAAAAAAAA/////wABB94DAAAAAQAAAAQAAAAEHUFwbG9yaXMuQmFzZS5PYmplY3RzLlZhcmlhYmxlAwAAAAG2+///K/z//wEAAAAAAAAAAbX7//8r/P//AAAAAAAAAAABtPv//yv8//8AAAAAAAAAAAGz+///K/z//wAAAAAAAAAAD98DAAABAAAACGQAAAAH4AMAAAABAAAAAQAAAAMNU3lzdGVtLkludFB0cgGy+///e/7//wAAAAAAAAAAAekDAACBAAAACgoAAAAAAAAAAA0AAAAAAQHqAwAAgQAAAAoKAQAAAAAAAAD/////AAEH6wMAAAABAAAABAAAAAQdQXBsb3Jpcy5CYXNlLk9iamVjdHMuVmFyaWFibGUDAAAAAbH7//8r/P//AQAAAAAAAAABsPv//yv8//8AAAAAAAAAAAGv+///K/z//wAAAAAAAAAAAa77//8r/P//AAAAAAAAAAAP7AMAAAEAAAAIZQAAAAftAwAAAAEAAAABAAAAAw1TeXN0ZW0uSW50UHRyAa37//97/v//AAAAAAAAAAAP8wMAAAEAAAAIGAAAAAf0AwAAAAEAAAABAAAAAw1TeXN0ZW0uSW50UHRyAaz7//97/v//AAAAAAAAAAAB9wMAAIEAAAAKCgAAAAD///8ADgAAAAAAAfgDAACBAAAACgoAAAAA////AA4AAAAAAQf5AwAAAAEAAAAEAAAABB1BcGxvcmlzLkJhc2UuT2JqZWN0cy5WYXJpYWJsZQMAAAABq/v//yv8//8BAAAAAAAAAAGq+///K/z//wAAAAAAAAAAAan7//8r/P//AAAAAAAAAAABqPv//yv8//8AAAAAAAAAAAX6AwAAGkFwbG9yaXMuQmFzZS5PYmplY3RzLkNvbG9yBwAAABJEYXRhT2JqZWN0K21QYXJlbnQVRGF0YU9iamVjdCttQ29udGFpbmVyBW1UeXBlBG1SR0IQbVRoZW1lQ29sb3JJbmRleAxtQXV0b1VwZGF0ZWQJbU1vZGlmaWVkBAIAAAAAAB9BcGxvcmlzLkJhc2UuT2JqZWN0cy5MaW5lRm9ybWF0AwAAAAgICAEBAwAAAAk0AwAACgAAAAD///8ADgAAAAAABfsDAAAaQXBsb3Jpcy5CYXNlLk9iamVjdHMuQ29sb3IHAAAAEkRhdGFPYmplY3QrbVBhcmVudBVEYXRhT2JqZWN0K21Db250YWluZXIFbVR5cGUEbVJHQhBtVGhlbWVDb2xvckluZGV4DG1BdXRvVXBkYXRlZAltTW9kaWZpZWQEAgAAAAAAH0FwbG9yaXMuQmFzZS5PYmplY3RzLkxpbmVGb3JtYXQDAAAACAgIAQEDAAAACTQDAAAKAQAAAAAAAAD/////AAEB/AMAAIEAAAAKCgEAAAByhIwA/////wAAAf0DAACBAAAACgoBAAAA////AP////8AAA/+AwAAAQAAAAgBAAAAB/8DAAAAAQAAAAEAAAADDVN5c3RlbS5JbnRQdHIBpvv//3v+//8AAAAAAAAAAA8CBAAAAQAAAAgVAAAABwMEAAAAAQAAAAEAAAADDVN5c3RlbS5JbnRQdHIBpfv//3v+//8AAAAAAAAAAAEGBAAAgQAAAAoKAAAAAP///wAOAAAAAAABBwQAAIEAAAAKCgAAAAD///8ADgAAAAABBwgEAAAAAQAAAAQAAAAEHUFwbG9yaXMuQmFzZS5PYmplY3RzLlZhcmlhYmxlAwAAAAGk+///K/z//wEAAAAAAAAAAaP7//8r/P//AAAAAAAAAAABovv//yv8//8AAAAAAAAAAAGh+///K/z//wAAAAAAAAAABQkEAAAaQXBsb3Jpcy5CYXNlLk9iamVjdHMuQ29sb3IHAAAAEkRhdGFPYmplY3QrbVBhcmVudBVEYXRhT2JqZWN0K21Db250YWluZXIFbVR5cGUEbVJHQhBtVGhlbWVDb2xvckluZGV4DG1BdXRvVXBkYXRlZAltTW9kaWZpZWQEAgAAAAAAH0FwbG9yaXMuQmFzZS5PYmplY3RzLkxpbmVGb3JtYXQDAAAACAgIAQEDAAAACVQDAAAKAAAAAP///wAOAAAAAAAFCgQAABpBcGxvcmlzLkJhc2UuT2JqZWN0cy5Db2xvcgcAAAASRGF0YU9iamVjdCttUGFyZW50FURhdGFPYmplY3QrbUNvbnRhaW5lcgVtVHlwZQRtUkdCEG1UaGVtZUNvbG9ySW5kZXgMbUF1dG9VcGRhdGVkCW1Nb2RpZmllZAQCAAAAAAAfQXBsb3Jpcy5CYXNlLk9iamVjdHMuTGluZUZvcm1hdAMAAAAICAgBAQMAAAAJVAMAAAoBAAAAAAAAAP////8AAQELBAAAgQAAAAoKAAAAAD9pfgAFAAAAAAABDAQAAIEAAAAKCgEAAAD///8A/////wAADw0EAAABAAAACAIAAAAHDgQAAAABAAAAAQAAAAMNU3lzdGVtLkludFB0cgGf+///e/7//wAAAAAAAAAACw=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29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85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8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88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89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90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87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9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9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9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3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9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8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2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6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3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7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2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1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3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2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88u69k+uaORTnIkm.24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6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A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FtXQEJjINtB0h4XROTwjEMABB0AAAALU3lzdGVtLkd1aWQLAAAAAl9hAl9iAl9jAl9kAl9lAl9mAl9nAl9oAl9pAl9qAl9rAAAAAAAAAAAAAAAIBwcCAgICAgICAgAAAAAAAAAAAAAAAAAAAAAACgoJHgAAAAAKCgoBAAAAAAAAAP////8BAQEfAAAAFAAAAP//H0H//x9BVzInRLETnkOaV5tBBDkSQ1dyLESxk6hDBSAAAAAVU3lzdGVtLkRyYXdpbmcuUG9pbnRGAgAAAAF4AXkAAAsLBAAAAHZjmUOGUUNDBiEAAAAQWDNrejBkNk9wR3Ixa0REM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BbV0BC6qKaQwEuAAAAIAAAAEgkI0TqoppDCS8AAAAJMAAAAAkxAAAACTIAAAAAAAAAAAAAAAAAAAAJMwAAAAAAAAAAAAk0AAAACQEAAAAJAQAAAAk1AAAAAQcAAAAGAAAACQEAAAABNgAAACYAAAAAAAAAzcxMPwAAAAgBAAkBAAAACTcAAAAJOAAAAAEAAAAAAAAAAAEAAAAAAADwPwCamZmZmZnJPwAAACBBAAEJOQAAAAoJOgAAAAk7AAAACTwAAAABPQAAACAAAABbV0BC6qKaQwE+AAAAIAAAAFtXQEJjINt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AAAAAgBAAAAAgAAAAMAAAAEAAAABRs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IAAAAFtXQEJjINtBAWkAAAAgAAAASCQjROqimkMJagAAAAlrAAAAAAAAAAoFbAAAABRTeXN0ZW0uRHJhd2luZy5TaXplRgIAAAAFd2lkdGgGaGVpZ2h0AAALCwQAAAAAAAAAAAAAAAFtAAAAbAAAAAAAAAAAAAAAAAAAAAFuAAAAFAAAAAAAAAAAAAAAAAAAAAAAAAAUAAAA/////wEBCglvAAAAAQAKAQ8eAAAApigAAAJQSwMEFAAGAAgAAAAhAFVkqut9AQAA8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yU7DMBC9I/EPka+occsBIdS0hxaOUInyAcaeNFG9yeNuf8/EpQihkoCaS6zYftvYnvF0b3S2hYC1swUb5UOWgZVO1XZVsLfl0+CeZRiFVUI7CwU7ALLp5PpqvDx4wIzQFgtWxegfOEdZgRGYOw+WVkoXjIj0G1bcC7kWK+C3w+Edl85GsHEQGw42Gc+hFBsds8c9TR+dEJxls+O+RqpgwntdSxHJKG9W+VncthW3teqHuYEry1qCcnJjyFJO+HkQO4r/i0AAjS3Ozih8Rs8JmdxjVXu8+YzwQrUPtYJsIUJ8FoaC8r3mOxfW786t8/Y6dOdBH0AorACi0XkacyNq+wf9tBl5GkY9G2nyJeIOH5EuFPD0vdxCoukQxHjQgH2XPZF2KVcigHqNge5e7wa+c3f4kM40LwH7PvITb5e80HJW0Q3t+QzkibdNn9rAIjiP1KEC/N/A6aU36IEnIgixhta3/qVI7e3ixND0TwXqjDZP/Xry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ltX5cwIBAAA/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daoQwEIXvC32HMPc1uv2hlI170VLY29Y+QIijkdVEMtMf377Bgrqw2BtvAmeGnPPNMPvDT9eKLwzUeKcgS1IQ6IwvG1cr+Chebx5BEGtX6tY7VDAgwSG/vtq/Yas5fiLb9CSiiyMFlrl/kpKMxU5T4nt0sVP50GmOMtSy1+aka5S7NH2QYekB+ZmnOJYKwrG8BVEMfUz+39tXVWPwxZvPDh1fiJDEQxsHEIUONbKCP51ERpCX4+82jbc6YPnOIW53SbEsr8HcbwljdGuerW7cvI6ptAaRbQnx7cOJLCLPEFOJ5NjJ1mB2W8JwvFqcQUYpx3dikGdnn/8CAAD//wMAUEsDBBQABgAIAAAAIQCnnOoUmgIAAEUFAAAPAAAAeGwvd29ya2Jvb2sueG1spFRdb5swFH2ftP+AeCcG8xEShVRpPrRI01RNXfs4OcYJVv1BbdPQTfvvu8Bou/Wl23jA99rmcO45vl5ctFJ4D8xYrlXhR5PQ95iiuuTqVPhfrndB7nvWEVUSoRUr/Edm/Yvl+3eLszZ3B63vPABQtvAr5+o5QpZWTBI70TVTsHLURhIHqTkhWxtGSlsx5qRAOAwzJAlX/oAwN2/B0Mcjp2yjaSOZcgOIYYI4oG8rXtsRTdK3wEli7po6oFrWAHHggrvHHtT3JJ3vT0obchBQdhulIzKEr6Alp0ZbfXQTgEIDyVf1RiGKoqHk5eLIBbsZZPdIXX8isvuL8D1BrNuW3LGy8DNI9Zk9TwAJ09SXDRewivOsY4WWT15cmS4D5ivhmFHEsbVWDoT6JfH/itJjrysNFnif2X3DDQPnO22WC3gTOicHe0Vc5TVGFD56IAYdtSihTnR/Rria4eobLXEcxSYqH1yiavU1zEN4TgpdIyfrJE7TOAvTCcToheTktZ9/ITqhvU4IpBnoLxdd/KdMy0V3om84O9tnUbvUa2+5KvW58KE/Hsc4ySA79wu3vHQV9E+a5U9zHxg/Va6bxBgmwRn0Ar7vA/hNP3qq939VC2243RBHoOu6RtmDzxGYPucQmH0JcYczfkyJoGB6N/Q7U1AStlCtaGMMGL+GlZ40fMVa99G6fgR/eOF/n852aTKbZkG0WaVBkkV5cBkl0yBZb7bJ5SyNV3H+49mE5N/OfThDs/HYt1EyH28OIF6yI2mE20tyYpsaKMV4mk2HGoHub1xTHG/TTRzgdBcHq3QbBlEW4yBLdjhN1hgnKX7iKtu3UZWEItZS1l9H+UhStvOVodV+4+0EOcEJxy8Ywf5BRjTWsfwJAAD//wMAUEsDBBQABgAIAAAAIQC4xJE81wAAAFUBAAAUAAAAeGwvc2hhcmVkU3RyaW5ncy54bWxskMFOwzAQRO9I/IO1BzhAa1MJqMB2DyC4I/gAK9k2FvY6ZDcU/h6HCiEFjvNmRppdu/nISb3jwLGQg4ulAYXUlDbSzsHL88NiDYolUBtSIXTwiQwbf3xkmUXVLrGDTqS/0ZqbDnPgZemRqrMtQw5S5bDT3A8YWu4QJSe9MuZK5xAJVFNGEgfXoEaKbyPe/WhvOXor/iTJrbo8N8ZYLd7qiR6cb7hYmf+8Az2bVx6Hsqc5fKqjI2Fbt9B0qcwD99ikKfCHFzoV9Upl/+vo+hb/BQ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Uxv77M4CAAC6BwAADQAAAHhsL3N0eWxlcy54bWzEVclu2zAQvRfoPwi8O7Id27EMSQG8CAiQFgHiAr1SEiUT4aKSVCq16L9nSMlLmgZZWqC6aEgO33sznCHDy4Yz754oTaWI0OhsiDwiMplTUUboyzYZzJGnDRY5ZlKQCLVEo8v444dQm5aR2x0hxgMIoSO0M6Za+L7OdoRjfSYrImClkIpjA0NV+rpSBOfabuLMHw+HM59jKlCHsODZa0A4Vnd1Ncgkr7ChKWXUtA4LeTxbXJVCKpwykNqMJjjbY7vBE3hOMyW1LMwZwPmyKGhGnqoM/MAHpDgspDDay2QtTITGAG0ZFndCfheJXYIE9l5xqH9495jBzAh5fhxmkknlGUgNKOumBOak81lhRlNFnWOBOWVtNw8UsNUltPfkFMJzs74V00mKw9T59YzBCSEVOWlIHqH575xbvJMcP0PZg7ufBhLK2CHuiQ0RJuIQ8m+IEgkMvN7ethXEJ6BUepHO8QX3UuF2NJ6+YYeWjOZWR7lyeVVlGqEEvtWmx0n7lUMCZpMO/0R0HPqdshf0Pcu2uQgSh/omNkcKWU2lyqHx9vVkS6ebikNGCmOPVNFy5wwjKztOpTGSWyunuJQCM2v7+229AdgZYezWdujX4hFBU3ii5gk3V1AT0Ou2iPYmHFVvdnj9wBKcwnXgJ7gzEP4O3KY4EvzH7biqWGtLeN+Wr9ACffkoRYdQ3gN2/i/BnlX2rZaG3ChS0MYF+kSpO2M41ZPaeVQ5hxLw7L0Voc/2XmdwB+6PMa0pM1T8qWoANG+OhQh1B0Vl7C3tavTAAws5KXDNzPawGKGj/YnktOYQY+91Q++lcRAROtrXtmlGM0dCGnOt4ZqEv1crGqGfm+VFsN4k48F8uJwPJudkOgimy/VgOlkt1+skGI6Hq18nr8ZfvBnubYPeGE0WmsHLovpoe/W3x7kInQw6/d1tBbqh/fZR+MdHN34AAAD//wMAUEsDBBQABgAIAAAAIQCExGFICgMAABYIAAAYAAAAeGwvd29ya3NoZWV0cy9zaGVldDEueG1sjFXJjuIwEL2PNP9g+d7ZWQW0GjKt6cNIo1nPxnHA6iTO2Gb7+ynbEJKAWuQATvz86r2qSmX2fCwLtGdScVHNcegFGLGKioxXmzn+/ev1aYyR0qTKSCEqNscnpvDz4vOn2UHId7VlTCNgqNQcb7Wup76v6JaVRHmiZhXs5EKWRMOt3Piqloxk9lBZ+FEQDP2S8Ao7hql8hEPkOacsFXRXsko7EskKokG/2vJaXdiO2UN8mSQH8HrR05KYup2GL0xu9JWcSqFErj0qSt9Ju3U58ScdnyV9xGhJ5PuufgLiGsytecH1ydrFqKTTt00lJFkXUJFjmBDaUklu6R/XCUyLWcYht6YhkGT5HL+E03SAkb+Y2dL94eygWmukyfonKxjVLIMOwsh0xlqIdwN8g0cBUCoLMJSEar5nK1YUc/w1HEJ3/bNR7Bpi+E2Q9voS8NW203eJ1kSxlSj+8kxvISq0bcZysiv09eHYG8dREIcRiD9v/hCHr4xvthqOwFObuml2Spmi0E0g1YusUSoKiAi/qOTmtYCck6Mz5wK2uZU+mTok9qTvjloTKdFkMZPigKAVgUPVxLwo4RSg8B9jRHdKi9KZspC7ikCJYXgxFHN8VmieLN0TIALtCtK8XwQzfw+Jo+czK4cArw0i7CLSW0TUIHwQ3ziAwG0HH0o1WJuSJmzcDbt0iNCJ9pLJsCe8uz8chUH7Snomruh8EXijGKLlNh2wjibta3zfHOTwYXMG2zXXk7N0iIu5eBh2JEx6VrvoaHDNv617et035qII9s/m7Ppc706tTIe1uu3DWrluhN+mVoNerRzC2Rl5w66ZyZennuBVGx97g07lgvgGn17xYPBi7n6doJMfNmaw3Tr1mmw5sO037EuMbi05ZOLBV6t93TFjkKZOQQJdYeuUeHE3ZaM2v6ubG3tuYtRkw74RueGVQgXL7VwaYSTd4IL2hlKJ2kyrEVhcCw0z5HK3hS8sg9EQeNA1uRC6uYHZWrANoafzhw3JKYfpLN8ymABm8DZf9MV/AAAA//8DAFBLAwQUAAYACAAAACEAjFC8tpoCAAA9BwAAGwAAAHhsL2RyYXdpbmdzL3ZtbERyYXdpbmcxLnZtbOxVy27bMBC8F+g/EMrBFxt6NElbRjIQpMitLdD0cQxoibaYkFxBXMtyvj5LSnbsIi0C5NBLBUsid5fLmeEIznujGd3W8a6I1q3lrqylEW5mVNmCgyXOSjC8Mzp6+2ashL9VwnKpSsmH19Oa/gVrZF/Kg20MIaoRGx7HRpQ/jb4J0H60KpoTlhy4q0UjtdjCGlnHZY9FJCuFIe3zqjKiOcqwSqAoojSKQ4v4qMc874aWuG0kU1UR3fYJXbeYJVnESoC2cupBFlGWnifJNDwjRj0a2tnXECzWCKyLyCTTRI8lQ+HRM+nliJK2xBbuJbsDZR1uNbU3CmU7QGSEyXdkq1ZUSloMnOG+iNDvXIK1skQPuIhaGu2IHTDZ0zqk5NIkO4vYsPDkiOcAYtKAU6jAcrFwoNcoLzw7I9qVsjMtl8jPPzR4MQYQGp4mNN+oCmueZqc0rqVa1cgzH3+YKVvJnqehTaecWiitcMtrVVXSXhgHs00rmlnYnqNfOWFLpXUJGtoiOlnSJVPPmoSSaKAizmKNsFfSV9MxUXn2VB9O2stIylWwYWAH7RauXLeSDnnUbK/0b6pasPLpLJBctoCejSJ51JXywpNSM6GRe0ATby7G8kp1u0K/jvJqZbnXbjLPY8qGujzu+Nh2mPf8Svuj/kReZV8Xd9T9ezjgL4CjbVje88/QyV8K6yuptRtY+vANOfSZ8KUta2gHYCydsvRsyhJ60f2OfnT74Mc87vlhKTW8JEbXpOz8WmgnQ8EuMtDs+TfYzFOf8YNd8IpcY+w88fFx7FNhuuc3fIajW//o1PNXOjXN0mOrZgdO9S7eOdXHd07N/jv13zs12zuVRqdk1PfBqK/wafDjMz4N/n2pT2P6z5w/Ag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wQUAAYACAAAACEA50HGqqIAAADgAAAAEAAAAHhsL2NhbGNDaGFpbi54bWxkzk0KwjAQBeC94B3C7G1q/UGkaReKJ9ADhHQ0gWRSMkH09gahRXAzMN+Dx2v7V/DiiYldJAXrqgaBZOLg6KHgdr2sDiA4axq0j4QK3sjQd8tFa7Q3J6sdidJArMDmPB6lZGMxaK7iiFSSe0xB5/Kmh+QxoR7YIubgZVPXexlKAXStEUnBeQfClQ0g/PfKybeTz7L5k+ZH5Lyt+wAAAP//AwBQSwMEFAAGAAgAAAAhAN9SO6ISAQAALQIAABAAAAB4bC9jb21tZW50czEueG1sxFDLTsMwELwj8Q/W3qnTHlBBsatyKELigET5ABNvGkt+RF63Svl6tknDgRM3JMvyjGdnRltvhuDFCTO5FBUsFxUIjE2yLh4UfOx3d2sQVEy0xqeICs5IsNG3N3WTQsBYSLBBJAVdKf2jlNR0GAwtUo+Rf9qUgykM80FSn9FY6hBL8HJVVfcyGBdB1+ZYupRpfgipa/nDXYNeHRU9p4qMrYKnJYhJ9mIVVGxUcGBR5vPG1+fFiL7EyXgFD3BBTfIpCxctDsgza3ZgNu9SLJNsb7oUzMi2Jjh/nujVyMjRtujnnI69sEhNdn3hzVEtOVdyppwqyGvrX4237PMvjd8xO6Q/Vp7LTyufEelvAAAA//8DAFBLAwQUAAYACAAAACEAJITKEjgBAAAV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HNTsMwEITvSLxD5HviJBW0WEkqAeqJCiRagbhZ601rEf/INqR9e9y0hCI4rmb208xuNd+pLvlE56XRNSmynCSowQipNzVZrxbpjCQ+cC14ZzTWZI+ezJvLiwosA+PwyRmLLkj0SSRpz8DWZBuCZZR62KLiPosOHcXWOMVDHN2GWg7vfIO0zPNrqjBwwQOnB2BqRyI5IQWMSPvhugEggGKHCnXwtMgK+uMN6JT/d2FQzpxKhr2NnU5xz9kCjuLo3nk5Gvu+z/rJECPmL+jr8uF5qJpKfbgVIGkqAQwc8mBcU9HzIR6u4z4s441bieJ23ywlOONNG5LHtpWAydqjq+hfY4QOHZg6LScxFjuW+JZeJnf3qwVpyryYpvlNWkxWecnKKbuavR2C/AbEbH8e2XwBAAD//wMAUEsBAi0AFAAGAAgAAAAhAFVkqut9AQAA8AUAABMAAAAAAAAAAAAAAAAAAAAAAFtDb250ZW50X1R5cGVzXS54bWxQSwECLQAUAAYACAAAACEAUHxOwfMAAABMAgAACwAAAAAAAAAAAAAAAAC2AwAAX3JlbHMvLnJlbHNQSwECLQAUAAYACAAAACEAltX5cwIBAAA/AwAAGgAAAAAAAAAAAAAAAADaBgAAeGwvX3JlbHMvd29ya2Jvb2sueG1sLnJlbHNQSwECLQAUAAYACAAAACEAp5zqFJoCAABFBQAADwAAAAAAAAAAAAAAAAAcCQAAeGwvd29ya2Jvb2sueG1sUEsBAi0AFAAGAAgAAAAhALjEkTzXAAAAVQEAABQAAAAAAAAAAAAAAAAA4wsAAHhsL3NoYXJlZFN0cmluZ3MueG1sUEsBAi0AFAAGAAgAAAAhAOdldbjWAAAAuAEAACMAAAAAAAAAAAAAAAAA7AwAAHhsL3dvcmtzaGVldHMvX3JlbHMvc2hlZXQxLnhtbC5yZWxzUEsBAi0AFAAGAAgAAAAhANwGB756BgAA2RsAABMAAAAAAAAAAAAAAAAAAw4AAHhsL3RoZW1lL3RoZW1lMS54bWxQSwECLQAUAAYACAAAACEAUxv77M4CAAC6BwAADQAAAAAAAAAAAAAAAACuFAAAeGwvc3R5bGVzLnhtbFBLAQItABQABgAIAAAAIQCExGFICgMAABYIAAAYAAAAAAAAAAAAAAAAAKcXAAB4bC93b3Jrc2hlZXRzL3NoZWV0MS54bWxQSwECLQAUAAYACAAAACEAjFC8tpoCAAA9BwAAGwAAAAAAAAAAAAAAAADnGgAAeGwvZHJhd2luZ3Mvdm1sRHJhd2luZzEudm1sUEsBAi0AFAAGAAgAAAAhAF6k9QCLAQAADQMAABAAAAAAAAAAAAAAAAAAuh0AAGRvY1Byb3BzL2FwcC54bWxQSwECLQAUAAYACAAAACEA50HGqqIAAADgAAAAEAAAAAAAAAAAAAAAAAB7IAAAeGwvY2FsY0NoYWluLnhtbFBLAQItABQABgAIAAAAIQDfUjuiEgEAAC0CAAAQAAAAAAAAAAAAAAAAAEshAAB4bC9jb21tZW50czEueG1sUEsBAi0AFAAGAAgAAAAhACSEyhI4AQAAFQIAABEAAAAAAAAAAAAAAAAAiyIAAGRvY1Byb3BzL2NvcmUueG1sUEsFBgAAAAAOAA4AlgMAAPok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W77yt77yzIO+8sOOCtOOCt+ODg+OCrwlyAAAAAQAJcwAAAAcjAAAAAAEAAAARAAAABBRTeXN0ZW0uRHJhd2luZy5Db2xvcgQAAAAFdAAAABRTeXN0ZW0uRHJhd2luZy5Db2xvcgQAAAAFdmFsdWUFc3RhdGUKa25vd25Db2xvcgRuYW1lAAAAAQkHBwQAAAAAAAAAAAAAAAAAAAAKAXUAAAB0AAAAAAAA//////8CAAAACgF2AAAAdAAAAP//////////AgAAAAoBdwAAAHQAAABOQSL//////wIAAAAKAXgAAAB0AAAA3tzb//////8CAAAACgF5AAAAdAAAAH5pP///////AgAAAAoBegAAAHQAAACMhHL//////wIAAAAKAXsAAAB0AAAAJSHt//////8CAAAACgF8AAAAdAAAADQ7Rv//////AgAAAAoBfQAAAHQAAAB0mMP//////wIAAAAKAX4AAAB0AAAAHpT3//////8CAAAACgF/AAAAdAAAAB6U9///////AgAAAAoBgAAAAHQAAAAlIe3//////wIAAAAKAYEAAAB0AAAAAAAA//////8CAAAACgGCAAAAdAAAAP//////////AgAAAAoBgwAAAHQAAABOQSL//////wIAAAAKAYQAAAB0AAAA3tzb//////8CAAAACgQk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mFAAAADAAAAA4AAAAEJ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wOCwgQ3VsdHVyZT1uZXV0cmFsLCBQdWJsaWNLZXlUb2tlbj0xNmZjMTNhMjI2YzBlOTUxXV0DAAAAkQFTeXN0ZW0uQ29sbGVjdGlvbnMuR2VuZXJpYy5MaXN0YDFbW0FwbG9yaXMuQ2hhcnQuVmFsdWVMaW5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cAAAAJiAAAAAkGAAAACQEAAAAJiQAAAAUoAAAAmwFBcGxvcmlzLkJhc2UuT2JqZWN0cy5EYXRhT2JqZWN0Q29sbGVjdGlvbmAxW1tBcGxvcmlzLkNoYXJ0LkF4aXNCcmVhay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DgsIEN1bHR1cmU9bmV1dHJhbCwgUHVibGljS2V5VG9rZW49MTZmYzEzYTIyNmMwZTk1MV1dAwAAAJEBU3lzdGVtLkNvbGxlY3Rpb25zLkdlbmVyaWMuTGlzdGAxW1tBcGxvcmlzLkNoYXJ0LkF4aXNCcmVh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wOCwgQ3VsdHVyZT1uZXV0cmFsLCBQdWJsaWNLZXlUb2tlbj0xNmZjMTNhMjI2YzBlOTUxXV0DAAAAkAFTeXN0ZW0uQ29sbGVjdGlvbnMuR2VuZXJpYy5MaXN0YDFbW0FwbG9yaXMuQ2hhcnQuVGlja01hcm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BbV0BC6qKaQwGSAAAAIAAAAEgkI0TqoppDCZMAAAC4AQAA/////wEBCgmUAAAAAQAKAQcwAAAAAAEAAAAFAAAABBVTeXN0ZW0uRHJhd2luZy5Qb2ludEYEAAAAAZUAAAAgAAAASOQjROqimkMBlgAAACAAAABbV0BCw6yjQwGXAAAAIAAAAL4pr0PDrKNDAZgAAAAgAAAASCQjRMOso0MBmQAAACAAAABI5CNE6iKdQwcxAAAAAAEAAAAFAAAABBdBcGxvcmlzLkJhc2UuQW5jaG9yTW9kZQMAAAAFmgAAABdBcGxvcmlzLkJhc2UuQW5jaG9yTW9kZQEAAAAHdmFsdWVfXwAIAwAAAAQAAAABmwAAAJoAAAAFAAAAAZwAAACaAAAAAwAAAAGdAAAAmgAAAAYAAAABngAAAJoAAAAFAAAADzIAAAAFAAAAAQAAAAABBT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nwAAACAAAABI5CNE6qKaQwGgAAAAmgAAAAQAAAAAAAAAAAAAAAAJoQAAAAAAAAAJogAAAAAAAAWjAAAAKkFwbG9yaXMuQmFzZS5VSS5MYWJlbCtMaW5lQWxpZ25tZW50T3B0aW9ucwEAAAAHdmFsdWVfXwAIAwAAAAAAAAABpAAAAGwAAAAAAAAAAAAAAAGlAAAAFAAAAAAAAAAAAAAAAAAAAAAAAAAAAAAABqYAAAANQ2F0ZWdvcnkgYXhpcwoJpwAAAAmmAAAA5AIAAP////8AAQoJqAAAAAEACgE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GsQAAAAEl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CbEAAAA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E8AAAALAAAAAoJsgAAAAmzAAAACQcAAAAJAQAAAAm0AAAAAT8AAAAvAAAAAbUAAAAgAAAAW1dAQuqimkMBtgAAACAAAABbV0BCYyDbQQm3AAAAuAEAAP////8BAQoJuAAAAAEACgEHQAAAAAABAAAABQAAAAQVU3lzdGVtLkRyYXdpbmcuUG9pbnRGBAAAAAG5AAAAIAAAAFtXQEKe0aZBAboAAAAgAAAAJCYuQeqimkMBuwAAACAAAAAkJi5B8FQoQwG8AAAAIAAAACQmLkFjINtBAb0AAAAgAAAAJCYuQZ7RpkEHQQAAAAABAAAABQAAAAQXQXBsb3Jpcy5CYXNlLkFuY2hvck1vZGUDAAAAAb4AAACaAAAAAQAAAAG/AAAAmgAAAAgAAAABwAAAAJoAAAACAAAAAcEAAACaAAAABgAAAAHCAAAAmgAAAAcAAAAPQgAAAAUAAAABAAAAAAEBQwAAADMAAAABwwAAACAAAABbV0BCntGmQQHEAAAAmgAAAAEAAAAAAAAAAAAAAAAJxQAAAAAAAAAJxgAAAAAAAAHHAAAAowAAAAAAAAAByAAAAGwAAAAAAAAAAAAAAAHJAAAAFAAAAAAAAAAAAAAAAAAAAAAAAAAAAAAABsoAAAAKVmFsdWUgYXhpcwoJywAAAAnKAAAA5AIAAP////8AAQoJzAAAAAEACgEBRAAAACQAAAAJzQAAAAYAAAAGAAAAAUUAAAAlAAAACc4AAAACAAAAAgAAAAdGAAAAAAEAAAAAAAAABC5BcGxvcmlzLkNoYXJ0LkNvbHVtbk9yaWVudGVkQ2hhcnQrVW51c2VkU2VyaWVzAgAAAARHAAAAlwFTeXN0ZW0uQ29sbGVjdGlvbnMuR2VuZXJpYy5MaXN0YDFbW0FwbG9yaXMuQ2hhcnQuQ2hhcnREYXRhU2VyaWVzLCBBcGxvcmlzLkNoYXJ0LCBWZXJzaW9uPTQuMi4wLjE5MDgsIEN1bHR1cmU9bmV1dHJhbCwgUHVibGljS2V5VG9rZW49MTZmYzEzYTIyNmMwZTk1MV1dAwAAAAZfaXRlbXMFX3NpemUIX3ZlcnNpb24EAAAfQXBsb3Jpcy5DaGFydC5DaGFydERhdGFTZXJpZXNbXQIAAAAICAnPAAAABAAAAAwAAAABSAAAACQAAAAJ0AAAAAQAAAAEAAAAAUkAAAAlAAAACdEAAAAAAAAAAAAAAARKAAAAnAFTeXN0ZW0uQ29sbGVjdGlvbnMuR2VuZXJpYy5MaXN0YDFbW0FwbG9yaXMuQ2hhcnQuQW5ub3RhdGlvbkRhdGFTZXJpZXMsIEFwbG9yaXMuQ2hhcnQsIFZlcnNpb249NC4yLjAuMTkwOCwgQ3VsdHVyZT1uZXV0cmFsLCBQdWJsaWNLZXlUb2tlbj0xNmZjMTNhMjI2YzBlOTUxXV0DAAAABl9pdGVtcwVfc2l6ZQhfdmVyc2lvbgQAACRBcGxvcmlzLkNoYXJ0LkFubm90YXRpb25EYXRhU2VyaWVzW10CAAAACAgJ0gAAAAAAAAAAAAAAAUsAAAAkAAAACdMAAAAAAAAAAAAAAAFMAAAAJQAAAAnRAAAAAAAAAAAAAAAETQAAAJcBU3lzdGVtLkNvbGxlY3Rpb25zLkdlbmVyaWMuTGlzdGAxW1tBcGxvcmlzLkNoYXJ0LkFubm90YXRpb25Hcm91cCwgQXBsb3Jpcy5DaGFydCwgVmVyc2lvbj00LjIuMC4xOTA4LCBDdWx0dXJlPW5ldXRyYWwsIFB1YmxpY0tleVRva2VuPTE2ZmMxM2EyMjZjMGU5NTFdXQMAAAAGX2l0ZW1zBV9zaXplCF92ZXJzaW9uBAAAH0FwbG9yaXMuQ2hhcnQuQW5ub3RhdGlvbkdyb3VwW10CAAAACAgJ1AAAAAAAAAAAAAAAAU4AAAAkAAAACdMAAAAAAAAAAAAAAAFPAAAAJQAAAAnRAAAAAAAAAAAAAAAEUAAAAJYBU3lzdGVtLkNvbGxlY3Rpb25zLkdlbmVyaWMuTGlzdGAxW1tBcGxvcmlzLkNoYXJ0LkNoYXJ0RGF0YUdyb3VwLCBBcGxvcmlzLkNoYXJ0LCBWZXJzaW9uPTQuMi4wLjE5MDgsIEN1bHR1cmU9bmV1dHJhbCwgUHVibGljS2V5VG9rZW49MTZmYzEzYTIyNmMwZTk1MV1dAwAAAAZfaXRlbXMFX3NpemUIX3ZlcnNpb24EAAAeQXBsb3Jpcy5DaGFydC5DaGFydERhdGFHcm91cFtdAgAAAAgICdUAAAADAAAAAwAAAAFRAAAAJAAAAAnWAAAAAwAAAAMAAAABUgAAACUAAAAJ0QAAAAAAAAAAAAAABFMAAACQAVN5c3RlbS5Db2xsZWN0aW9ucy5HZW5lcmljLkxpc3RgMVtbQXBsb3Jpcy5DaGFydC5EZWx0YUJhciwgQXBsb3Jpcy5DaGFydCwgVmVyc2lvbj00LjIuMC4xOTA4LCBDdWx0dXJlPW5ldXRyYWwsIFB1YmxpY0tleVRva2VuPTE2ZmMxM2EyMjZjMGU5NTFdXQMAAAAGX2l0ZW1zBV9zaXplCF92ZXJzaW9uBAAAGEFwbG9yaXMuQ2hhcnQuRGVsdGFCYXJbXQIAAAAICAnXAAAAAAAAAAAAAAABVAAAACQAAAAJ0wAAAAAAAAAAAAAAAVUAAAAlAAAACdEAAAAAAAAAAAAAAARWAAAAkwFTeXN0ZW0uQ29sbGVjdGlvbnMuR2VuZXJpYy5MaXN0YDFbW0FwbG9yaXMuQ2hhcnQuRGVsdGFCcmlkZ2UsIEFwbG9yaXMuQ2hhcnQsIFZlcnNpb249NC4yLjAuMTkwOCwgQ3VsdHVyZT1uZXV0cmFsLCBQdWJsaWNLZXlUb2tlbj0xNmZjMTNhMjI2YzBlOTUxXV0DAAAABl9pdGVtcwVfc2l6ZQhfdmVyc2lvbgQAABtBcGxvcmlzLkNoYXJ0LkRlbHRhQnJpZGdlW10CAAAACAgJ2AAAAAAAAAAAAAAAAVcAAAAkAAAACdMAAAAAAAAAAAAAAAFYAAAAJQAAAAnRAAAAAAAAAAAAAAAEWQAAAJMBU3lzdGVtLkNvbGxlY3Rpb25zLkdlbmVyaWMuTGlzdGAxW1tBcGxvcmlzLkNoYXJ0Lkdyb3d0aEFycm93LCBBcGxvcmlzLkNoYXJ0LCBWZXJzaW9uPTQuMi4wLjE5MDgsIEN1bHR1cmU9bmV1dHJhbCwgUHVibGljS2V5VG9rZW49MTZmYzEzYTIyNmMwZTk1MV1dAwAAAAZfaXRlbXMFX3NpemUIX3ZlcnNpb24EAAAbQXBsb3Jpcy5DaGFydC5Hcm93dGhBcnJvd1tdAgAAAAgICdkAAAAAAAAAAAAAAAFaAAAAJAAAAAnTAAAAAAAAAAAAAAABWwAAACUAAAAJ0QAAAAAAAAAAAAAABFwAAACaAVN5c3RlbS5Db2xsZWN0aW9ucy5HZW5lcmljLkxpc3RgMVtbQXBsb3Jpcy5DaGFydC5XYXRlcmZhbGxDb25uZWN0b3IsIEFwbG9yaXMuQ2hhcnQsIFZlcnNpb249NC4yLjAuMTkwOCwgQ3VsdHVyZT1uZXV0cmFsLCBQdWJsaWNLZXlUb2tlbj0xNmZjMTNhMjI2YzBlOTUxXV0DAAAABl9pdGVtcwVfc2l6ZQhfdmVyc2lvbgQAACJBcGxvcmlzLkNoYXJ0LldhdGVyZmFsbENvbm5lY3RvcltdAgAAAAgICdoAAAAAAAAAAAAAAAFdAAAAJAAAAAnTAAAAAAAAAAAAAAABXgAAACUAAAAJ0QAAAAAAAAAAAAAABF8AAACYAVN5c3RlbS5Db2xsZWN0aW9ucy5HZW5lcmljLkxpc3RgMVtbQXBsb3Jpcy5DaGFydC5FbGVtZW50Q29ubmVjdG9yLCBBcGxvcmlzLkNoYXJ0LCBWZXJzaW9uPTQuMi4wLjE5MDgsIEN1bHR1cmU9bmV1dHJhbCwgUHVibGljS2V5VG9rZW49MTZmYzEzYTIyNmMwZTk1MV1dAwAAAAZfaXRlbXMFX3NpemUIX3ZlcnNpb24EAAAgQXBsb3Jpcy5DaGFydC5FbGVtZW50Q29ubmVjdG9yW10CAAAACAgJ2wAAAAAAAAAAAAAAAWAAAAAkAAAACdMAAAAAAAAAAAAAAAFhAAAAJQAAAAnR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cAAAACd0AAAABAAAA/v///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4AAAAJ3wAAAAEAAAAAAAAAAAAAAAAAAAAAAQVvAAAAH0FwbG9yaXMuQmFzZS5PYmplY3RzLlBlcnNJZERhdGECAAAAA21JZAttQ3VzdG9tRGF0YQcCCAMAAAAJ4AAAAAoFcgAAABpBcGxvcmlzLkJhc2UuT2JqZWN0cy5Db2xvcgcAAAASRGF0YU9iamVjdCttUGFyZW50FURhdGFPYmplY3QrbUNvbnRhaW5lcgVtVHlwZQRtUkdCEG1UaGVtZUNvbG9ySW5kZXgMbUF1dG9VcGRhdGVkCW1Nb2RpZmllZAICAAAAAAAICAgBAQMAAAAKCgAAAAAAAAAADQAAAAABAXMAAAByAAAACgoBAAAAAAAAAP////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i4wLjE5MDgsIEN1bHR1cmU9bmV1dHJhbCwgUHVibGljS2V5VG9rZW49MTZmYzEzYTIyNmMwZTk1MV1dAwAAAAZfaXRlbXMFX3NpemUIX3ZlcnNpb24EAAAZQXBsb3Jpcy5DaGFydC5WYWx1ZUxpbmVbXQIAAAAICAnhAAAAAAAAAAAAAAABiAAAACQAAAAJ0wAAAAAAAAAAAAAAAYkAAAAlAAAACdEAAAAAAAAAAAAAAASKAAAAkQFTeXN0ZW0uQ29sbGVjdGlvbnMuR2VuZXJpYy5MaXN0YDFbW0FwbG9yaXMuQ2hhcnQuQXhpc0JyZWFrLCBBcGxvcmlzLkNoYXJ0LCBWZXJzaW9uPTQuMi4wLjE5MDgsIEN1bHR1cmU9bmV1dHJhbCwgUHVibGljS2V5VG9rZW49MTZmYzEzYTIyNmMwZTk1MV1dAwAAAAZfaXRlbXMFX3NpemUIX3ZlcnNpb24EAAAZQXBsb3Jpcy5DaGFydC5BeGlzQnJlYWtbXQIAAAAICAniAAAAAAAAAAAAAAABiwAAACQAAAAJ0wAAAAAAAAAAAAAAAYwAAAAlAAAACdEAAAAAAAAAAAAAAASOAAAAkAFTeXN0ZW0uQ29sbGVjdGlvbnMuR2VuZXJpYy5MaXN0YDFbW0FwbG9yaXMuQ2hhcnQuVGlja01hcmssIEFwbG9yaXMuQ2hhcnQsIFZlcnNpb249NC4yLjAuMTkwOCwgQ3VsdHVyZT1uZXV0cmFsLCBQdWJsaWNLZXlUb2tlbj0xNmZjMTNhMjI2YzBlOTUxXV0DAAAABl9pdGVtcwVfc2l6ZQhfdmVyc2lvbgQAABhBcGxvcmlzLkNoYXJ0LlRpY2tNYXJrW10CAAAACAgJ4wAAAAAAAAAAAAAAAY8AAAAkAAAACdMAAAAAAAAAAAAAAAGQAAAAJQAAAAnRAAAAAAAAAAAAAAABkwAAAGoAAAAKCgAAAEA/CeQAAAAJ5QAAAAEAAAD+////AAAAAAEAAAAAAAAAAAAAAAEAAAAAAAAAAAAAAZQAAABvAAAACeY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wAAAAEACegAAAABogAAAHIAAAAKCgEAAAAAAAAA/////wABBKc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6QAAAAAAAAAAAAAAAagAAABvAAAACeoAAAAKB6kAAAAAAQAAAAgAAAAEH0FwbG9yaXMuQmFzZS5PYmplY3RzLkRhdGFPYmplY3QDAAAACSkAAAAJKgAAAAkrAAAACSwAAAAJJwAAAAkoAAAACgoHqgAAAAABAAAABAAAAAQcQXBsb3Jpcy5CYXNlLlVJLlZpc3VhbE9iamVjdAMAAAAJLwAAAAkzAAAACgoBqwAAAIcAAAAJ4QAAAAAAAAAAAAAAAawAAAAkAAAACdMAAAAAAAAAAAAAAAGtAAAAJQAAAAnRAAAAAAAAAAAAAAABrgAAAIoAAAAJ4gAAAAAAAAAAAAAAAa8AAAAkAAAACdMAAAAAAAAAAAAAAAGwAAAAJQAAAAnRAAAAAAAAAAAAAAABsgAAAI4AAAAJ6wAAAAYAAAAmAAAAAbMAAAAkAAAACewAAAAGAAAAJgAAAAG0AAAAJQAAAAnRAAAAAAAAAAAAAAABtwAAAGoAAAAKCgAAAEA/Ce0AAAAJ7gAAAAEAAAD+////AAAAAAEAAAAAAAAAAAAAAAEAAAAAAAAAAAAAAbgAAABvAAAACe8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8AAAAAEACfEAAAABxgAAAHIAAAAKCgEAAAAAAAAA/////wABAcsAAACnAAAACekAAAAAAAAAAAAAAAHMAAAAbwAAAAnyAAAACgfNAAAAAAEAAAAIAAAABB9BcGxvcmlzLkJhc2UuT2JqZWN0cy5EYXRhT2JqZWN0AwAAAAk5AAAACToAAAAJOwAAAAk8AAAACTcAAAAJOAAAAAoKB84AAAAAAQAAAAQAAAAEHEFwbG9yaXMuQmFzZS5VSS5WaXN1YWxPYmplY3QDAAAACT8AAAAJQwAAAAoKB88AAAAAAQAAAAQAAAAEHUFwbG9yaXMuQ2hhcnQuQ2hhcnREYXRhU2VyaWVzAgAAAAnzAAAACfQAAAAJ9QAAAAn2AAAAB9AAAAAAAQAAAAQAAAAEH0FwbG9yaXMuQmFzZS5PYmplY3RzLkRhdGFPYmplY3QDAAAACfMAAAAJ9AAAAAn1AAAACfYAAAA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QAAAAEHEFwbG9yaXMuQ2hhcnQuQ2hhcnREYXRhR3JvdXACAAAACfcAAAAJ+AAAAAn5AAAACgfWAAAAAAEAAAAEAAAABB9BcGxvcmlzLkJhc2UuT2JqZWN0cy5EYXRhT2JqZWN0AwAAAAn3AAAACfgAAAAJ+QAAAAoH1wAAAAABAAAAAAAAAAQWQXBsb3Jpcy5DaGFydC5EZWx0YUJhcgIAAAAH2AAAAAABAAAAAAAAAAQZQXBsb3Jpcy5DaGFydC5EZWx0YUJyaWRnZQIAAAAH2QAAAAABAAAAAAAAAAQZQXBsb3Jpcy5DaGFydC5Hcm93dGhBcnJvdwIAAAAH2gAAAAABAAAAAAAAAAQgQXBsb3Jpcy5DaGFydC5XYXRlcmZhbGxDb25uZWN0b3ICAAAAB9sAAAAAAQAAAAAAAAAEHkFwbG9yaXMuQ2hhcnQuRWxlbWVudENvbm5lY3RvcgIAAAAB3AAAAHIAAAAKCgAAAAAAAAAADQAAAAABAd0AAAByAAAACgoBAAAAAAAAAP////8AAQHeAAAAcgAAAAoKAQAAAP///wD/////AAEB3wAAAHIAAAAKCgEAAAAAAAAA/////wABD+AAAAABAAAACAAAAAAH4QAAAAABAAAAAAAAAAQXQXBsb3Jpcy5DaGFydC5WYWx1ZUxpbmUCAAAAB+IAAAAAAQAAAAAAAAAEF0FwbG9yaXMuQ2hhcnQuQXhpc0JyZWFrAgAAAAfjAAAAAAEAAAAAAAAABBZBcGxvcmlzLkNoYXJ0LlRpY2tNYXJrAgAAAAXkAAAAGkFwbG9yaXMuQmFzZS5PYmplY3RzLkNvbG9yBwAAABJEYXRhT2JqZWN0K21QYXJlbnQVRGF0YU9iamVjdCttQ29udGFpbmVyBW1UeXBlBG1SR0IQbVRoZW1lQ29sb3JJbmRleAxtQXV0b1VwZGF0ZWQJbU1vZGlmaWVkBAIAAAAAAB9BcGxvcmlzLkJhc2UuT2JqZWN0cy5MaW5lRm9ybWF0AwAAAAgICAEBAwAAAAmTAAAACgAAAAAAAAAADQAAAAAABeUAAAAaQXBsb3Jpcy5CYXNlLk9iamVjdHMuQ29sb3IHAAAAEkRhdGFPYmplY3QrbVBhcmVudBVEYXRhT2JqZWN0K21Db250YWluZXIFbVR5cGUEbVJHQhBtVGhlbWVDb2xvckluZGV4DG1BdXRvVXBkYXRlZAltTW9kaWZpZWQEAgAAAAAAH0FwbG9yaXMuQmFzZS5PYmplY3RzLkxpbmVGb3JtYXQDAAAACAgIAQEDAAAACZMAAAAKAQAAAAAAAAD/////AAEP5gAAAAEAAAAIWQAAAAHnAAAAcgAAAAoKAAAAAAAAAAANAAAAAAEB6AAAAHIAAAAKCgEAAAAAAAAA/////wABB+kAAAAAAQAAAAAAAAAEHUFwbG9yaXMuQmFzZS5PYmplY3RzLlZhcmlhYmxlAwAAAA/qAAAAAQAAAAgAAAAAB+sAAAAAAQAAABAAAAAEFkFwbG9yaXMuQ2hhcnQuVGlja01hcmsCAAAACfoAAAAJ+wAAAAn8AAAACf0AAAAJ/gAAAAn/AAAADQoH7AAAAAABAAAAEAAAAAQfQXBsb3Jpcy5CYXNlLk9iamVjdHMuRGF0YU9iamVjdAMAAAAJ+gAAAAn7AAAACfwAAAAJ/QAAAAn+AAAACf8AAAANCg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/////AAEP7wAAAAEAAAAIWAAAAAHwAAAAcgAAAAoKAAAAAAAAAAANAAAAAAEB8QAAAHIAAAAKCgEAAAAAAAAA/////wABD/IAAAABAAAAC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QABAAATAAAAAAAAAAIAAAD/////CQcAAAAJAQEAAAYCAQAABUdyb3duCgoAAAAAAAAAAAAAAAAKCgAJAwEAAAkEAQAACQUBAAAAAAAAAAAAAAAAAAAAAAAAAAAJBgEAAAkBAAAACQEAAAAJBwEAAAH0AAAA8wAAAAkBAAAAAQgBAAATAAAAAAAAAAMAAAD/////CQcAAAAJCQEAAAYKAQAAEVJlbWFpbmVkIGNvbnN0YW50CgoAAAAAAAAAAAAAAAAKCgAJCwEAAAkMAQAACQ0BAAAAAAAAAAEAAAAAAAAAAAAAAAAJDgEAAAkBAAAACQEAAAAJDwEAAAH1AAAA8wAAAAkBAAAAARABAAATAAAAAAAAAAQAAAD/////CQcAAAAJEQEAAAYSAQAACERlY2xpbmVkCgoAAAAAAAAAAAAAAAAKCgAJEwEAAAkUAQAACRUBAAAAAAAAAAIAAAAAAAAAAAAAAAAJFgEAAAkBAAAACQEAAAAJFwEAAAH2AAAA8wAAAAkBAAAAARgBAAATAAAAAAAAAAUAAAD/////CQcAAAAJGQEAAAYaAQAACkRvbid0IGtub3cKCgAAAAAAAAAAAAAAAAoKAAkbAQAACRwBAAAJHQEAAAAAAAAAAwAAAAAAAAAAAAAAAAkeAQAACQEAAAAJAQAAAAkfAQAABfc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IAEAAAc8IDUsMDAwAAUhAQAAHkFwbG9yaXMuQ2hhcnQuQ2hhcnRHcm91cEFuY2hvcgEAAAAHdmFsdWVfXwAIAgAAAAAAAAAKAAAAAAEAAAABAAAACSIBAAAJIwEAAAkkAQAACgkHAAAACSUBAAAJAQAAAAkBAAAACSYBAAAB+AAAAPcAAAAJAQAAAAYnAQAADDUsMDAwLTIwLDAwMAABKAEAACEBAAAAAAAACgAAAAABAAAAAQAAAAkpAQAACSoBAAAJKwEAAAoJBwAAAAksAQAACQEAAAAJAQAAAAktAQAAAfkAAAD3AAAACQEAAAAGLgEAAAcyMCwwMDArAAEvAQAAIQEAAAAAAAAKAAAAAAEAAAABAAAACTABAAAJMQEAAAkyAQAACgkHAAAACTMBAAAJAQAAAAkBAAAACTQBAAAF+g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TUBAAAKCTYBAAAJBwAAAAEAAAAAAAAAAAE3AQAAIAAAAFtXQELqoppDATgBAAAgAAAAW1cwQuqimkMACTkBAAAJBwAAAAkBAAAACToBAAAB+wAAAPoAAAAJOwEAAAoJPAEAAAkHAAAAAZqZmZmZmck/AT0BAAAgAAAAW1dAQnnlfEMBPgEAACAAAABbVzBCeeV8QwAJPwEAAAkHAAAACQEAAAAJQAEAAAH8AAAA+gAAAAlBAQAACglCAQAACQcAAAABmpmZmZmZ2T8BQwEAACAAAABbV0BCHoVEQwFEAQAAIAAAAFtXMEIehURDAAlFAQAACQcAAAAJAQAAAAlGAQAAAf0AAAD6AAAACUcBAAAKCUgBAAAJBwAAAAEzMzMzMzPjPwFJAQAAIAAAAFtXQELDJAxDAUoBAAAgAAAAW1cwQsMkDEMACUsBAAAJBwAAAAkBAAAACUwBAAAB/gAAAPoAAAAJTQEAAAoJTgEAAAkHAAAAAZqZmZmZmek/AU8BAAAgAAAAW1dAQs+Ip0IBUAEAACAAAABbVzBCz4inQgAJUQEAAAkHAAAACQEAAAAJUgEAAAH/AAAA+gAAAAlTAQAACglUAQAACQcAAAABAAAAAAAA8D8BVQEAACAAAABbV0BCYyDbQQFWAQAAIAAAAFtXMEJjINtBAAlXAQAACQcAAAAJAQAAAAlYAQAABQEBAACiAUFwbG9yaXMuQmFzZS5PYmplY3RzLkRhdGFPYmplY3RDb2xsZWN0aW9uYDFbW0FwbG9yaXMuQ2hhcnQuQ2hhcnREYXRh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IuMC4xOTA4LCBDdWx0dXJlPW5ldXRyYWwsIFB1YmxpY0tleVRva2VuPTE2ZmMxM2EyMjZjMGU5NTFdXQMAAACYAVN5c3RlbS5Db2xsZWN0aW9ucy5HZW5lcmljLkxpc3RgMVtbQXBsb3Jpcy5DaGFydC5DaGFydERhdGFFbGVtZW50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kBAAAJWgEAAAnzAAAACQEAAAAJWwEAAAUDAQAAHEFwbG9yaXMuQ2hhcnQuQ29ubmVjdGVkTGFiZWwl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gAAAApYAgAABVwBAAArQXBsb3Jpcy5DaGFydC5Db25uZWN0ZWRMYWJlbCtlQ29ubmVjdG9yTW9kZQEAAAAHdmFsdWVfXwAIAgAAAAEAAAAFXQEAADZBcGxvcmlzLkNoYXJ0LkNvbm5lY3RlZExhYmVsK2VBbmdsZWRDb25uZWN0b3JEaXJlY3Rpb24BAAAAB3ZhbHVlX18ACAIAAAAAAAAAAV4BAAAUAAAAM+31Q31O00IE3u9Clp5IQwVfAQAALUFwbG9yaXMuQ2hhcnQuQ29ubmVjdGVkTGFiZWwrZVRhcmdldEFyZWFTaGFwZQEAAAAHdmFsdWVfXwAIAgAAAAAAAAAAABBBAQFgAQAAIAAAAFryGkSJ9k1DAWEBAACaAAAABAAAAAAAAAAAAAAAAAliAQAAAAAAAAljAQAAAAAAAWQBAACjAAAAAAAAAAFlAQAAbAAAAAAANEIAAIhBAWYBAAAUAAAAEzsaRCd2RkPNERhCEztRQV662T8JAgEAAAoJZwEAAAZoAQAAACADAAD/////AQEKCWkBAAABAAoBBwQBAAAAAQAAAAIAAAAEFVN5c3RlbS5EcmF3aW5nLlBvaW50RgQAAAABagEAACAAAABa8hpEifZNQwFrAQAAIAAAAFtXLEK1XW9DBwUBAAAAAQAAAAIAAAAEF0FwbG9yaXMuQmFzZS5BbmNob3JNb2RlAwAAAAFsAQAAmgAAAAQAAAABbQEAAJoAAAACAAAAAQYBAAAkAAAACW4BAAABAAAAAQAAAAEHAQAAJQAAAAlvAQAAAQAAAAEAAAABCQEAAAEBAAAKCXABAAAJcQEAAAn0AAAACQEAAAAJcgEAAAELAQAAAwEAAApYAgAAAXMBAABcAQAAAQAAAAF0AQAAXQEAAAAAAAABdQEAABQAAAAz7fVDUE0sQgTe70KqT2JCAXYBAABfAQAAAAAAAAAAEEEBAXcBAAAgAAAAWvIaRJK6jkIBeAEAAJoAAAAEAAAAAAAAAAAAAAAACXkBAAAAAAAACXoBAAAAAAABewEAAKMAAAAAAAAAAXwBAABsAAAAAACOQgAACEIBfQEAABQAAAATOxpEOrFjQswRaEITO9FBXrrZPwZ+AQAAElJlbWFpbmVkDQpjb25zdGFudAoJfwEAAAl+AQAAIAMAAP////8BAQoJgAEAAAEACgEHDAEAAAABAAAAAgAAAAQVU3lzdGVtLkRyYXdpbmcuUG9pbnRGBAAAAAGBAQAAIAAAAFryGkSSuo5CAYIBAAAgAAAAW1csQpzg7EIHDQEAAAABAAAAAgAAAAQXQXBsb3Jpcy5CYXNlLkFuY2hvck1vZGUDAAAAAYMBAACaAAAABAAAAAGEAQAAmgAAAAIAAAABDgEAACQAAAAJhQEAAAEAAAABAAAAAQ8BAAAlAAAACYYBAAABAAAAAwAAAAERAQAAAQEAAAoJhwEAAAmIAQAACfUAAAAJAQAAAAmJAQAAARMBAAADAQAAClgCAAABigEAAFwBAAABAAAAAYsBAABdAQAAAAAAAAGMAQAAFAAAADPt9UNQTSBCBN7vQgAAAAABjQEAAF8BAAAAAAAAAAAQQQEBjgEAACAAAABa8hpEUE0gQgGPAQAAmgAAAAQAAAAAAAAAAAAAAAAJkAEAAAAAAAAJkQEAAAAAAAGSAQAAowAAAAAAAAABkwEAAGwAAAAAAHBCAACIQQGUAQAAFAAAABM7GkQTOwFCLzlGQhM7UUFeutk/CRIBAAAKCZUBAAAJaAEAACADAAD/////AQEKCZYBAAABAAoBBxQBAAAAAQAAAAIAAAAEFVN5c3RlbS5EcmF3aW5nLlBvaW50RgQAAAABlwEAACAAAABa8hpEUE0gQgGYAQAAIAAAAFtXLEIsQ2JCBxUBAAAAAQAAAAIAAAAEF0FwbG9yaXMuQmFzZS5BbmNob3JNb2RlAwAAAAGZAQAAmgAAAAQAAAABmgEAAJoAAAACAAAAARYBAAAkAAAACZsBAAABAAAAAQAAAAEXAQAAJQAAAAmcAQAAAQAAAAMAAAABGQEAAAEBAAAKCZ0BAAAJngEAAAn2AAAACQEAAAAJnwEAAAEbAQAAAwEAAApYAgAAAaABAABcAQAAAQAAAAGhAQAAXQEAAAAAAAABogEAABQAAAAz7fVDrmH1QQTe70LI48xAAaMBAABfAQAAAAAAAAAAEEEBAaQBAAAgAAAAWvIaRBj910EBpQEAAJoAAAAEAAAAAAAAAAAAAAAACaYBAAAAAAAACacBAAAAAAABqAEAAKMAAAAAAAAAAakBAABsAAAAAACYQgAAiEEBqgEAABQAAAATOxpEndiZQUJ0d0ITO1FBXrrZPwkaAQAACgmrAQAACWgBAAAgAwAA/////wEBCgmsAQAAAQAKAQccAQAAAAEAAAACAAAABBVTeXN0ZW0uRHJhd2luZy5Qb2ludEYEAAAAAa0BAAAgAAAAWvIaRBj910EBrgEAACAAAAAkJi5BOjUSQgcdAQAAAAEAAAACAAAABBdBcGxvcmlzLkJhc2UuQW5jaG9yTW9kZQMAAAABrwEAAJoAAAAEAAAAAbABAACaAAAAAgAAAAEeAQAAJAAAAAmxAQAAAQAAAAEAAAABHwEAACUAAAAJsgEAAAEAAAABAAAADyIBAAABAAAACAAAAAAHIwEAAAABAAAAAQAAAAQVQXBsb3Jpcy5CYXNlLlVJLkxhYmVsAwAAAAmzAQAAASQBAAAzAAAAAbQBAAAgAAAADdUUQ+oinUMBtQEAAJoAAAADAAAAAAAAAAAAAAAACbYBAAAAAAAACbcBAAAAAAABuAEAAKMAAAAAAAAAAbkBAABsAAAAAABQQgAAiEEBugEAABQAAADETvxC2ImcQ6WbLUITO1FBXrrZPwkgAQAACgm7AQAACWgBAAAgAwAA/////wEBCgm8AQAAAQAKAQElAQAAJAAAAAnTAAAAAAAAAAAAAAABJgEAACUAAAAJvQEAAAIAAAACAAAADykBAAABAAAACAAAAAAHKgEAAAABAAAAAQAAAAQVQXBsb3Jpcy5CYXNlLlVJLkxhYmVsAwAAAAm+AQAAASsBAAAzAAAAAb8BAAAgAAAAvSmvQ+oinUMBwAEAAJoAAAADAAAAAAAAAAAAAAAACcEBAAAAAAAACcIBAAAAAAABwwEAAKMAAAAAAAAAAcQBAABsAAAAAAC2QgAAiEEBxQEAABQAAABiJ5xD2ImcQ9LNkkITO1FBXrrZPwknAQAACgnGAQAACWgBAAAgAwAA/////wEBCgnHAQAAAQAKAQEsAQAAJAAAAAnTAAAAAAAAAAAAAAABLQEAACUAAAAJyAEAAAIAAAACAAAADzABAAABAAAACAAAAAAHMQEAAAABAAAAAQAAAAQVQXBsb3Jpcy5CYXNlLlVJLkxhYmVsAwAAAAnJAQAAATIBAAAzAAAAAcoBAAAgAAAAevQJROoinUMBywEAAJoAAAADAAAAAAAAAAAAAAAACcwBAAAAAAAACc0BAAAAAAABzgEAAKMAAAAAAAAAAc8BAABsAAAAAABgQgAAiEEB0AEAABQAAABO7ANE2ImcQ2rqOUITO1FBXrrZPwkuAQAACgnRAQAACWgBAAAgAwAA/////wEBCgnSAQAAAQAKAQEzAQAAJAAAAAnTAAAAAAAAAAAAAAABNAEAACUAAAAJ0wEAAAIAAAACAAAAATUBAAAvAAAAAdQBAAAgAAAAW1dAQuqimkMB1QEAACAAAABbVzBC6qKaQwnWAQAAzAEAAP////8BAQoJ1wEAAAEACgEBNgEAADMAAAAB2AEAACAAAABbVypC6qKaQwHZAQAAmgAAAAIAAAAAAAAAAAAAAAAJ2gEAAAAAAAAJ2wEAAAAAAAHcAQAAowAAAAAAAAAB3QEAAGwAAAAAALBBAACIQQHeAQAAFAAAAImduEHsxJZDwZmiQRM7UUFeutk/Bt8BAAACMCUKCeABAAAJaAEAANACAAD/////AQEKCeEBAAABAAoBATkBAAAkAAAACeIBAAAAAAAAAAAAAAE6AQAAJQAAAAnjAQAAAgAAAAIAAAABOwEAAC8AAAAB5AEAACAAAABbV0BCeeV8QwHlAQAAIAAAAFtXMEJ55XxDCeYBAADMAQAA/////wEBCgnnAQAAAQAKAQE8AQAAMwAAAAHoAQAAIAAAAFtXKkJ55XxDAekBAACaAAAAAgAAAAAAAAAAAAAAAAnqAQAAAAAAAAnrAQAAAAAAAewBAACjAAAAAAAAAAHtAQAAbAAAAAAA+EEAAIhBAe4BAAAUAAAAEzuBQXVidUM3/NlBEztRQV662T8G7wEAAAMyMCUKCfABAAAJaAEAANACAAD/////AQEKCfEBAAABAAoBAT8BAAAkAAAACeIBAAAAAAAAAAAAAAFAAQAAJQAAAAnyAQAAAgAAAAIAAAABQQEAAC8AAAAB8wEAACAAAABbV0BCHoVEQwH0AQAAIAAAAFtXMEIehURDCfUBAADMAQAA/////wEBCgn2AQAAAQAKAQFCAQAAMwAAAAH3AQAAIAAAAFtXKkIehURDAfgBAACaAAAAAgAAAAAAAAAAAAAAAAn5AQAAAAAAAAn6AQAAAAAAAfsBAACjAAAAAAAAAAH8AQAAbAAAAAAA+EEAAIhBAf0BAAAUAAAAEzuBQRM7PUM3/NlBEztRQV662T8G/gEAAAM0MCUKCf8BAAAJaAEAANACAAD/////AQEKCQACAAABAAoBAUUBAAAkAAAACeIBAAAAAAAAAAAAAAFGAQAAJQAAAAkBAgAAAgAAAAIAAAABRwEAAC8AAAABAgIAACAAAABbV0BCwyQMQwEDAgAAIAAAAFtXMELDJAxDCQQCAADMAQAA/////wEBCgkFAgAAAQAKAQFIAQAAMwAAAAEGAgAAIAAAAFtXKkLDJAxDAQcCAACaAAAAAgAAAAAAAAAAAAAAAAkIAgAAAAAAAAkJAgAAAAAAAQoCAACjAAAAAAAAAAELAgAAbAAAAAAA+EEAAIhBAQwCAAAUAAAAEzuBQcROBEM3/NlBEztRQV662T8GDQIAAAM2MCUKCQ4CAAAJaAEAANACAAD/////AQEKCQ8CAAABAAoBAUsBAAAkAAAACeIBAAAAAAAAAAAAAAFMAQAAJQAAAAkQAgAAAgAAAAIAAAABTQEAAC8AAAABEQIAACAAAABbV0BCz4inQgESAgAAIAAAAFtXMELPiKdCCRMCAADMAQAA/////wEBCgkUAgAAAQAKAQFOAQAAMwAAAAEVAgAAIAAAAFtXKkLPiKdCARYCAACaAAAAAgAAAAAAAAAAAAAAAAkXAgAAAAAAAAkYAgAAAAAAARkCAACjAAAAAAAAAAEaAgAAbAAAAAAA+EEAAIhBARsCAAAUAAAAEzuBQcROmEI3/NlBEztRQV662T8GHAIAAAM4MCUKCR0CAAAJaAEAANACAAD/////AQEKCR4CAAABAAoBAVEBAAAkAAAACeIBAAAAAAAAAAAAAAFSAQAAJQAAAAkfAgAAAgAAAAIAAAABUwEAAC8AAAABIAIAACAAAABbV0BCYyDbQQEhAgAAIAAAAFtXMEJjINtBCSICAADMAQAA/////wEBCgkjAgAAAQAKAQFUAQAAMwAAAAEkAgAAIAAAAFtXKkJjINtBASUCAACaAAAAAgAAAAAAAAAAAAAAAAkmAgAAAAAAAAknAgAAAAAAASgCAACjAAAAAAAAAAEpAgAAbAAAAAAAHEIAAIhBASoCAAAUAAAA//8fQf//n0GlmwVCEztRQV662T8GKwIAAAQxMDAlCgksAgAACWgBAADQAgAA/////wEBCgktAgAAAQAKAQFXAQAAJAAAAAniAQAAAAAAAAAAAAABWAEAACUAAAAJLgIAAAIAAAACAAAABFkBAACYAVN5c3RlbS5Db2xsZWN0aW9ucy5HZW5lcmljLkxpc3RgMVtbQXBsb3Jpcy5DaGFydC5DaGFydERhdGFFbGVtZW50LCBBcGxvcmlzLkNoYXJ0LCBWZXJzaW9uPTQuMi4wLjE5MDgsIEN1bHR1cmU9bmV1dHJhbCwgUHVibGljS2V5VG9rZW49MTZmYzEzYTIyNmMwZTk1MV1dAwAAAAZfaXRlbXMFX3NpemUIX3ZlcnNpb24EAAAgQXBsb3Jpcy5DaGFydC5DaGFydERhdGFFbGVtZW50W10CAAAACAgJLwIAAAMAAAADAAAAAVoBAAAkAAAACTACAAADAAAAAwAAAAFbAQAAJQAAAAnRAAAAAAAAAAAAAAAFY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MAAAAKAAAAAABAQQlwAAAACXEAAAAJMQIAAAABCTICAAABYwEAAHIAAAAKCgAAAAD///8ADgAAAAABAWcBAACnAAAACTMCAAABAAAAAQAAAAFpAQAAbwAAAAk0AgAACgduAQAAAAEAAAAEAAAABB9BcGxvcmlzLkJhc2UuT2JqZWN0cy5EYXRhT2JqZWN0AwAAAAkBAQAADQMHbwEAAAABAAAABAAAAAQcQXBsb3Jpcy5CYXNlLlVJLlZpc3VhbE9iamVjdAMAAAAJAwEAAA0DAXABAABZAQAACTUCAAADAAAAAwAAAAFxAQAAJAAAAAk2AgAAAwAAAAMAAAABcgEAACUAAAAJ0QAAAAAAAAAAAAAABXk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0AAAACgAAAAAAQEEJcAAAAAlxAAAACTcCAAAAAQk4AgAAAXoBAAByAAAACgoAAAAA////AA4AAAAAAQF/AQAApwAAAAk5AgAAAAAAAAIAAAABgAEAAG8AAAAJOgIAAAoHhQEAAAABAAAABAAAAAQfQXBsb3Jpcy5CYXNlLk9iamVjdHMuRGF0YU9iamVjdAMAAAAJCQEAAA0DB4YBAAAAAQAAAAQAAAAEHEFwbG9yaXMuQmFzZS5VSS5WaXN1YWxPYmplY3QDAAAACQsBAAANAwGHAQAAWQEAAAk7AgAAAwAAAAMAAAABiAEAACQAAAAJPAIAAAMAAAADAAAAAYkBAAAlAAAACdEAAAAAAAAAAAAAAAW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k9AgAAAAEJPgIAAAGRAQAAcgAAAAoKAAAAAP///wAOAAAAAAEBlQEAAKcAAAAJPwIAAAEAAAABAAAAAZYBAABvAAAACUACAAAKB5sBAAAAAQAAAAQAAAAEH0FwbG9yaXMuQmFzZS5PYmplY3RzLkRhdGFPYmplY3QDAAAACREBAAANAwecAQAAAAEAAAAEAAAABBxBcGxvcmlzLkJhc2UuVUkuVmlzdWFsT2JqZWN0AwAAAAkTAQAADQMBnQEAAFkBAAAJQQIAAAMAAAADAAAAAZ4BAAAkAAAACUICAAADAAAAAwAAAAGfAQAAJQAAAAlDAgAAAAAAAAAAAAAFp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YAAAAKAAAAAABAQQlwAAAACXEAAAAJRAIAAAABCUUCAAABpwEAAHIAAAAKCgAAAAD///8ADgAAAAABAasBAACnAAAACUYCAAABAAAAAQAAAAGsAQAAbwAAAAlHAgAACgexAQAAAAEAAAAEAAAABB9BcGxvcmlzLkJhc2UuT2JqZWN0cy5EYXRhT2JqZWN0AwAAAAkZAQAADQMHsgEAAAABAAAABAAAAAQcQXBsb3Jpcy5CYXNlLlVJLlZpc3VhbE9iamVjdAMAAAAJGwEAAA0DAbMBAAAzAAAAAUgCAAAgAAAADdUUQ2Mgw0EBSQIAAJoAAAABAAAAAAAAAAAAAAAACUoCAAAAAAAACUsCAAAAAAABTAIAAKMAAAAAAAAAAU0CAABsAAAAAABQQgAAiEEBTgIAABQAAADETvxC//8fQaWbLUITO1FBXrrZPwZPAgAAB24gPSA1NTYKCVACAAAJTwIAADQDAAD/////AQEKCVECAAABAAoBAbYBAAAiAAAACgoAAAAAAEBBCXAAAAAJcQAAAAlSAgAAAAAJUwIAAAG3AQAAcgAAAAoKAAAAAP///wAOAAAAAAEBuwEAAKcAAAAJVAIAAAEAAAABAAAAAbwBAABvAAAACVUCAAAKB70BAAAAAQAAAAQAAAAEHEFwbG9yaXMuQmFzZS5VSS5WaXN1YWxPYmplY3QDAAAACSQBAAAJswEAAAoKAb4BAAAzAAAAAVYCAAAgAAAAvSmvQ2Mgw0EBVwIAAJoAAAABAAAAAAAAAAAAAAAACVgCAAAAAAAACVkCAAAAAAABWgIAAKMAAAAAAAAAAVsCAABsAAAAAADQQQAAiEEBXAIAABQAAACd2KhD//8fQUs3u0ETO1FBXrrZPwZdAgAAAzE0MwoJXgIAAAldAgAANAMAAP////8BAQoJXwIAAAEACgEBwQEAACIAAAAKCgAAAAAAQEEJcAAAAAlxAAAACWACAAAAAAlhAgAAAcIBAAByAAAACgoAAAAA////AA4AAAAAAQHGAQAApwAAAAliAgAAAQAAAAEAAAABxwEAAG8AAAAJYwIAAAoHyAEAAAABAAAABAAAAAQcQXBsb3Jpcy5CYXNlLlVJLlZpc3VhbE9iamVjdAMAAAAJKwEAAAm+AQAACgoByQEAADMAAAABZAIAACAAAAB69AlErmHFQQFlAgAAmgAAAAEAAAAAAAAAAAAAAAAJZgIAAAAAAAAJZwIAAAAAAAFoAgAAowAAAAAAAAABaQIAAGwAAAAAAIhBAACIQQFqAgAAFAAAALGTB0TETixB1dSDQRM7UUFeutk/BmsCAAACNDUKCWwCAAAJawIAADQDAAD/////AQEKCW0CAAABAAoBAcwBAAAiAAAACgoAAAAAAEBBCXAAAAAJcQAAAAluAgAAAAAJbwIAAAHNAQAAcgAAAAoKAAAAAP///wAOAAAAAAEB0QEAAKcAAAAJcAIAAAEAAAABAAAAAdIBAABvAAAACXECAAAKB9MBAAAAAQAAAAQAAAAEHEFwbG9yaXMuQmFzZS5VSS5WaXN1YWxPYmplY3QDAAAACTIBAAAJyQEAAAoKAdYBAABqAAAACgoAAABAPwlyAgAACXMCAAABAAAA/v///wAAAAABAAAAAAAAAAAAAAABAAAAAAAAAAAAAAHXAQAAbwAAAAl0AgAACgHaAQAAIgAAAAoKAAAAAABAQQlwAAAACXEAAAAJdQIAAAAACXYCAAAB2wEAAHIAAAAKCgAAAAD///8ADgAAAAABAeABAACnAAAACXcCAAABAAAAAQAAAAHhAQAAbwAAAAl4AgAACgfiAQAAAAEAAAAAAAAABB9BcGxvcmlzLkJhc2UuT2JqZWN0cy5EYXRhT2JqZWN0AwAAAAfjAQAAAAEAAAAEAAAABBxBcGxvcmlzLkJhc2UuVUkuVmlzdWFsT2JqZWN0AwAAAAk1AQAACTYBAAAKCgHmAQAAagAAAAoKAAAAQD8JeQIAAAl6AgAAAQAAAP7///8AAAAAAQAAAAAAAAAAAAAAAQAAAAAAAAAAAAAB5wEAAG8AAAAJewIAAAoB6gEAACIAAAAKCgAAAAAAQEEJcAAAAAlxAAAACXwCAAAAAAl9AgAAAesBAAByAAAACgoAAAAA////AA4AAAAAAQHwAQAApwAAAAl+AgAAAQAAAAMAAAAB8QEAAG8AAAAJfwIAAAoH8gEAAAABAAAABAAAAAQcQXBsb3Jpcy5CYXNlLlVJLlZpc3VhbE9iamVjdAMAAAAJOwEAAAk8AQAACgoB9QEAAGoAAAAKCgAAAEA/CYACAAAJgQIAAAEAAAD+////AAAAAAEAAAAAAAAAAAAAAAEAAAAAAAAAAAAAAfYBAABvAAAACYICAAAKAfkBAAAiAAAACgoAAAAAAEBBCXAAAAAJcQAAAAmDAgAAAAAJhAIAAAH6AQAAcgAAAAoKAAAAAP///wAOAAAAAAEB/wEAAKcAAAAJhQIAAAEAAAADAAAAAQACAABvAAAACYYCAAAKBwECAAAAAQAAAAQAAAAEHEFwbG9yaXMuQmFzZS5VSS5WaXN1YWxPYmplY3QDAAAACUEBAAAJQgEAAAoKAQQCAABqAAAACgoAAABAPwmHAgAACYgCAAABAAAA/v///wAAAAABAAAAAAAAAAAAAAABAAAAAAAAAAAAAAEFAgAAbwAAAAmJAgAACgEIAgAAIgAAAAoKAAAAAABAQQlwAAAACXEAAAAJigIAAAAACYsCAAABCQIAAHIAAAAKCgAAAAD///8ADgAAAAABAQ4CAACnAAAACYwCAAABAAAAAwAAAAEPAgAAbwAAAAmNAgAACgcQAgAAAAEAAAAEAAAABBxBcGxvcmlzLkJhc2UuVUkuVmlzdWFsT2JqZWN0AwAAAAlHAQAACUgBAAAKCgETAgAAagAAAAoKAAAAQD8JjgIAAAmPAgAAAQAAAP7///8AAAAAAQAAAAAAAAAAAAAAAQAAAAAAAAAAAAABFAIAAG8AAAAJkAIAAAoBFwIAACIAAAAKCgAAAAAAQEEJcAAAAAlxAAAACZECAAAAAAmSAgAAARgCAAByAAAACgoAAAAA////AA4AAAAAAQEdAgAApwAAAAmTAgAAAQAAAAMAAAABHgIAAG8AAAAJlAIAAAoHHwIAAAABAAAABAAAAAQcQXBsb3Jpcy5CYXNlLlVJLlZpc3VhbE9iamVjdAMAAAAJTQEAAAlOAQAACgoBIgIAAGoAAAAKCgAAAEA/CZUCAAAJlgIAAAEAAAD+////AAAAAAEAAAAAAAAAAAAAAAEAAAAAAAAAAAAAASMCAABvAAAACZcCAAAKASYCAAAiAAAACgoAAAAAAEBBCXAAAAAJcQAAAAmYAgAAAAAJmQIAAAEnAgAAcgAAAAoKAAAAAP///wAOAAAAAAEBLAIAAKcAAAAJmgIAAAEAAAADAAAAAS0CAABvAAAACZsCAAAKBy4CAAAAAQAAAAQAAAAEHEFwbG9yaXMuQmFzZS5VSS5WaXN1YWxPYmplY3QDAAAACVMBAAAJVAEAAAoKBy8CAAAAAQAAAAQAAAAEHkFwbG9yaXMuQ2hhcnQuQ2hhcnREYXRhRWxlbWVudAIAAAAJnAIAAAmdAgAACZ4CAAAKBzACAAAAAQAAAAQAAAAEH0FwbG9yaXMuQmFzZS5PYmplY3RzLkRhdGFPYmplY3QDAAAACZwCAAAJnQIAAAmeAgAACgExAgAAcgAAAAoKAAAAAD9pfgAFAAAAAAABMgIAAHIAAAAKCgAAAAAAAAAADQAAAAABBzMCAAAAAQAAAAQAAAAEHUFwbG9yaXMuQmFzZS5PYmplY3RzLlZhcmlhYmxlAwAAAAWfAgAAHUFwbG9yaXMuQmFzZS5PYmplY3RzLlZhcmlhYmxlAgAAAAZOdW1iZXIIUG9zaXRpb24AAAgIAwAAAAEAAAAAAAAAAaACAACfAgAAAAAAAAAAAAABoQIAAJ8CAAAAAAAAAAAAAAGiAgAAnwIAAAAAAAAAAAAADzQCAAABAAAACGAAAAAHNQIAAAABAAAABAAAAAQeQXBsb3Jpcy5DaGFydC5DaGFydERhdGFFbGVtZW50AgAAAAmjAgAACaQCAAAJpQIAAAoHNgIAAAABAAAABAAAAAQfQXBsb3Jpcy5CYXNlLk9iamVjdHMuRGF0YU9iamVjdAMAAAAJowIAAAmkAgAACaUCAAAKATcCAAByAAAACgoAAAAAcoSMAAYAAAAAAAE4AgAAcgAAAAoKAAAAAAAAAAANAAAAAAEHOQIAAAABAAAABAAAAAQdQXBsb3Jpcy5CYXNlLk9iamVjdHMuVmFyaWFibGUDAAAAAaYCAACfAgAAAAAAAAAAAAABpwIAAJ8CAAAAAAAAAAAAAAGoAgAAnwIAAAAAAAAAAAAAAakCAACfAgAAAAAAAAAAAAAPOgIAAAEAAAAIYwAAAAc7AgAAAAEAAAAEAAAABB5BcGxvcmlzLkNoYXJ0LkNoYXJ0RGF0YUVsZW1lbnQCAAAACaoCAAAJqwIAAAmsAgAACgc8AgAAAAEAAAAEAAAABB9BcGxvcmlzLkJhc2UuT2JqZWN0cy5EYXRhT2JqZWN0AwAAAAmqAgAACasCAAAJrAIAAAoBPQIAAHIAAAAKCgAAAADtISUABwAAAAAAAT4CAAByAAAACgoAAAAAAAAAAA0AAAAAAQc/AgAAAAEAAAAEAAAABB1BcGxvcmlzLkJhc2UuT2JqZWN0cy5WYXJpYWJsZQMAAAABrQIAAJ8CAAABAAAAAAAAAAGuAgAAnwIAAAAAAAAAAAAAAa8CAACfAgAAAAAAAAAAAAABsAIAAJ8CAAAAAAAAAAAAAA9AAgAAAQAAAAhhAAAAB0ECAAAAAQAAAAQAAAAEHkFwbG9yaXMuQ2hhcnQuQ2hhcnREYXRhRWxlbWVudAIAAAAJsQIAAAmyAgAACbMCAAAKB0ICAAAAAQAAAAQAAAAEH0FwbG9yaXMuQmFzZS5PYmplY3RzLkRhdGFPYmplY3QDAAAACbECAAAJsgIAAAmzAgAACgdDAgAAAAEAAAAAAAAABBxBcGxvcmlzLkJhc2UuVUkuVmlzdWFsT2JqZWN0AwAAAAFEAgAAcgAAAAoKAAAAAEY7NAAIAAAAAAABRQIAAHIAAAAKCgAAAAAAAAAADQAAAAABB0YCAAAAAQAAAAQAAAAEHUFwbG9yaXMuQmFzZS5PYmplY3RzLlZhcmlhYmxlAwAAAAG0AgAAnwIAAAEAAAAAAAAAAbUCAACfAgAAAAAAAAAAAAABtgIAAJ8CAAAAAAAAAAAAAAG3AgAAnwIAAAAAAAAAAAAAD0cCAAABAAAACGIAAAAFS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wAAAAoAAAAAAEBBCXAAAAAJcQAAAAm4AgAAAAAJuQIAAAFLAgAAcgAAAAoKAAAAAP///wAOAAAAAAEBUAIAAKcAAAAJugIAAAAAAAACAAAAAVECAABvAAAACbsCAAAKAVICAAByAAAACgoAAAAAAAAAAA0AAAAAAAFTAgAAcgAAAAoKAAAAAAAAAAANAAAAAAEHVAIAAAABAAAABAAAAAQdQXBsb3Jpcy5CYXNlLk9iamVjdHMuVmFyaWFibGUDAAAAAbwCAACfAgAAAQAAAAAAAAABvQIAAJ8CAAAAAAAAAAAAAAG+AgAAnwIAAAAAAAAAAAAAAb8CAACfAgAAAAAAAAAAAAAPVQIAAAEAAAAIDQAAAAVY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4AAAACgAAAAAAQEEJcAAAAAlxAAAACcACAAAAAAnBAgAAAVkCAAByAAAACgoAAAAA////AA4AAAAAAQFeAgAApwAAAAnCAgAAAAAAAAQAAAABXwIAAG8AAAAJwwIAAAoBYAIAAHIAAAAKCgAAAAAAAAAADQAAAAAAAWECAAByAAAACgoAAAAAAAAAAA0AAAAAAQdiAgAAAAEAAAAEAAAABB1BcGxvcmlzLkJhc2UuT2JqZWN0cy5WYXJpYWJsZQMAAAABxAIAAJ8CAAABAAAAAAAAAAHFAgAAnwIAAAAAAAAAAAAAAcYCAACfAgAAAAAAAAAAAAABxwIAAJ8CAAAAAAAAAAAAAA9jAgAAAQAAAAgMAAAABWY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kAAAAKAAAAAABAQQlwAAAACXEAAAAJyAIAAAAACckCAAABZwIAAHIAAAAKCgAAAAD///8ADgAAAAABAWwCAACnAAAACcoCAAAAAAAABAAAAAFtAgAAbwAAAAnLAgAACgFuAgAAcgAAAAoKAAAAAAAAAAANAAAAAAABbwIAAHIAAAAKCgAAAAAAAAAADQAAAAABB3ACAAAAAQAAAAQAAAAEHUFwbG9yaXMuQmFzZS5PYmplY3RzLlZhcmlhYmxlAwAAAAHMAgAAnwIAAAEAAAAAAAAAAc0CAACfAgAAAAAAAAAAAAABzgIAAJ8CAAAAAAAAAAAAAAHPAgAAnwIAAAAAAAAAAAAAD3ECAAABAAAACAsAAAABcgIAAHIAAAAKCgAAAAAAAAAADQAAAAAABXMCAAAaQXBsb3Jpcy5CYXNlLk9iamVjdHMuQ29sb3IHAAAAEkRhdGFPYmplY3QrbVBhcmVudBVEYXRhT2JqZWN0K21Db250YWluZXIFbVR5cGUEbVJHQhBtVGhlbWVDb2xvckluZGV4DG1BdXRvVXBkYXRlZAltTW9kaWZpZWQEAgAAAAAAH0FwbG9yaXMuQmFzZS5PYmplY3RzLkxpbmVGb3JtYXQDAAAACAgIAQEDAAAACdYBAAAKAQAAAAAAAAD/////AAEPdAIAAAEAAAAIXQAAAAF1AgAAcgAAAAoKAAAAAAAAAAANAAAAAAABdgIAAHIAAAAKCgAAAAAAAAAADQAAAAABB3cCAAAAAQAAAAQAAAAEHUFwbG9yaXMuQmFzZS5PYmplY3RzLlZhcmlhYmxlAwAAAAHQAgAAnwIAAAEAAAAAAAAAAdECAACfAgAAAAAAAAAAAAAB0gIAAJ8CAAAAAAAAAAAAAAHTAgAAnwIAAAAAAAAAAAAAD3gCAAABAAAACCgAAAABeQIAAHIAAAAKCgAAAAAAAAAADQAAAAAABXoCAAAaQXBsb3Jpcy5CYXNlLk9iamVjdHMuQ29sb3IHAAAAEkRhdGFPYmplY3QrbVBhcmVudBVEYXRhT2JqZWN0K21Db250YWluZXIFbVR5cGUEbVJHQhBtVGhlbWVDb2xvckluZGV4DG1BdXRvVXBkYXRlZAltTW9kaWZpZWQEAgAAAAAAH0FwbG9yaXMuQmFzZS5PYmplY3RzLkxpbmVGb3JtYXQDAAAACAgIAQEDAAAACeYBAAAKAQAAAAAAAAD/////AAEPewIAAAEAAAAIXAAAAAF8AgAAcgAAAAoKAAAAAAAAAAANAAAAAAABfQIAAHIAAAAKCgAAAAAAAAAADQAAAAABB34CAAAAAQAAAAQAAAAEHUFwbG9yaXMuQmFzZS5PYmplY3RzLlZhcmlhYmxlAwAAAAHUAgAAnwIAAAEAAAAAAAAAAdUCAACfAgAAAAAAAAAAAAAB1gIAAJ8CAAAAAAAAAAAAAAHXAgAAnwIAAAAAAAAAAAAAD38CAAABAAAACCkAAAABgAIAAHIAAAAKCgAAAAAAAAAADQAAAAAABYECAAAaQXBsb3Jpcy5CYXNlLk9iamVjdHMuQ29sb3IHAAAAEkRhdGFPYmplY3QrbVBhcmVudBVEYXRhT2JqZWN0K21Db250YWluZXIFbVR5cGUEbVJHQhBtVGhlbWVDb2xvckluZGV4DG1BdXRvVXBkYXRlZAltTW9kaWZpZWQEAgAAAAAAH0FwbG9yaXMuQmFzZS5PYmplY3RzLkxpbmVGb3JtYXQDAAAACAgIAQEDAAAACfUBAAAKAQAAAAAAAAD/////AAEPggIAAAEAAAAIWgAAAAGDAgAAcgAAAAoKAAAAAAAAAAANAAAAAAABhAIAAHIAAAAKCgAAAAAAAAAADQAAAAABB4UCAAAAAQAAAAQAAAAEHUFwbG9yaXMuQmFzZS5PYmplY3RzLlZhcmlhYmxlAwAAAAHYAgAAnwIAAAEAAAAAAAAAAdkCAACfAgAAAAAAAAAAAAAB2gIAAJ8CAAAAAAAAAAAAAAHbAgAAnwIAAAAAAAAAAAAAD4YCAAABAAAACCoAAAABhwIAAHIAAAAKCgAAAAAAAAAADQAAAAAABYgCAAAaQXBsb3Jpcy5CYXNlLk9iamVjdHMuQ29sb3IHAAAAEkRhdGFPYmplY3QrbVBhcmVudBVEYXRhT2JqZWN0K21Db250YWluZXIFbVR5cGUEbVJHQhBtVGhlbWVDb2xvckluZGV4DG1BdXRvVXBkYXRlZAltTW9kaWZpZWQEAgAAAAAAH0FwbG9yaXMuQmFzZS5PYmplY3RzLkxpbmVGb3JtYXQDAAAACAgIAQEDAAAACQQCAAAKAQAAAAAAAAD/////AAEPiQIAAAEAAAAIWwAAAAGKAgAAcgAAAAoKAAAAAAAAAAANAAAAAAABiwIAAHIAAAAKCgAAAAAAAAAADQAAAAABB4wCAAAAAQAAAAQAAAAEHUFwbG9yaXMuQmFzZS5PYmplY3RzLlZhcmlhYmxlAwAAAAHcAgAAnwIAAAEAAAAAAAAAAd0CAACfAgAAAAAAAAAAAAAB3gIAAJ8CAAAAAAAAAAAAAAHfAgAAnwIAAAAAAAAAAAAAD40CAAABAAAACC0AAAABjgIAAHIAAAAKCgAAAAAAAAAADQAAAAAABY8CAAAaQXBsb3Jpcy5CYXNlLk9iamVjdHMuQ29sb3IHAAAAEkRhdGFPYmplY3QrbVBhcmVudBVEYXRhT2JqZWN0K21Db250YWluZXIFbVR5cGUEbVJHQhBtVGhlbWVDb2xvckluZGV4DG1BdXRvVXBkYXRlZAltTW9kaWZpZWQEAgAAAAAAH0FwbG9yaXMuQmFzZS5PYmplY3RzLkxpbmVGb3JtYXQDAAAACAgIAQEDAAAACRMCAAAKAQAAAAAAAAD/////AAEPkAIAAAEAAAAIXwAAAAGRAgAAcgAAAAoKAAAAAAAAAAANAAAAAAABkgIAAHIAAAAKCgAAAAAAAAAADQAAAAABB5MCAAAAAQAAAAQAAAAEHUFwbG9yaXMuQmFzZS5PYmplY3RzLlZhcmlhYmxlAwAAAAHgAgAAnwIAAAEAAAAAAAAAAeECAACfAgAAAAAAAAAAAAAB4gIAAJ8CAAAAAAAAAAAAAAHjAgAAnwIAAAAAAAAAAAAAD5QCAAABAAAACCsAAAABlQIAAHIAAAAKCgAAAAAAAAAADQAAAAAABZYCAAAaQXBsb3Jpcy5CYXNlLk9iamVjdHMuQ29sb3IHAAAAEkRhdGFPYmplY3QrbVBhcmVudBVEYXRhT2JqZWN0K21Db250YWluZXIFbVR5cGUEbVJHQhBtVGhlbWVDb2xvckluZGV4DG1BdXRvVXBkYXRlZAltTW9kaWZpZWQEAgAAAAAAH0FwbG9yaXMuQmFzZS5PYmplY3RzLkxpbmVGb3JtYXQDAAAACAgIAQEDAAAACSICAAAKAQAAAAAAAAD/////AAEPlwIAAAEAAAAIXgAAAAGYAgAAcgAAAAoKAAAAAAAAAAANAAAAAAABmQIAAHIAAAAKCgAAAAAAAAAADQAAAAABB5oCAAAAAQAAAAQAAAAEHUFwbG9yaXMuQmFzZS5PYmplY3RzLlZhcmlhYmxlAwAAAAHkAgAAnwIAAAEAAAAAAAAAAeUCAACfAgAAAAAAAAAAAAAB5gIAAJ8CAAAAAAAAAAAAAAHnAgAAnwIAAAAAAAAAAAAAD5sCAAABAAAACCwAAAAFnAI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noAgAACekCAAAKCeoCAAAKCfMAAAAIBlg5tMh2vt8/CgAAAAAJ6wIAAAnsAgAAAAAAAAAJ7QIAAAnzAAAACQEAAAAJ7gIAAAGdAgAAnAIAAAnvAgAACfACAAAKCfECAAAKCfMAAAAIBka28/3UeOU/CgEAAAAJ8gIAAAnzAgAAAAAAAAAJ9AIAAAnzAAAACQEAAAAJ9QIAAAGeAgAAnAIAAAn2AgAACfcCAAAKCfgCAAAKCfMAAAAIBtv5fmq8dOc/CgIAAAAJ+QIAAAn6AgAAAAAAAAAJ+wIAAAnzAAAACQEAAAAJ/AIAAAGjAgAAnAIAAAn9AgAACf4CAAAKCf8CAAAKCfQAAAAIBl66SQwCK9c/CgAAAAAJAAMAAAkBAwAAAAAAAAAJAgMAAAn0AAAACQEAAAAJAwMAAAGkAgAAnAIAAAkEAwAACQUDAAAKCQYDAAAKCfQAAAAIBlTjpZvEINA/CgEAAAAJBwMAAAkIAwAAAAAAAAAJCQMAAAn0AAAACQEAAAAJCgMAAAGlAgAAnAIAAAkLAwAACQwDAAAKCQ0DAAAKCfQAAAAIBtEi2/l+asw/CgIAAAAJDgMAAAkPAwAAAAAAAAAJEAMAAAn0AAAACQEAAAAJEQMAAAGqAgAAnAIAAAkSAwAACRMDAAAKCRQDAAAKCfUAAAAIBoPAyqFFtrM/CgAAAAAJFQMAAAkWAwAAAAAAAAAJFwMAAAn1AAAACQEAAAAJGAMAAAGrAgAAnAIAAAkZAwAACRoDAAAKCRsDAAAKCfUAAAAIBuxRuB6F66E/CgEAAAAJHAMAAAkdAwAAAAAAAAAJHgMAAAn1AAAACQEAAAAJHwMAAAGsAgAAnAIAAAoKCgkgAwAACgn1AAAACAYAAAAAAAAAAAoCAAAACSEDAAAJIgMAAAAAAAAACSMDAAAJ9QAAAAkBAAAACSQDAAABsQIAAJwCAAAJJQMAAAkmAwAACgknAwAACgn2AAAACAakcD0K16OwPwoAAAAACSgDAAAJKQMAAAAAAAAACSoDAAAJ9gAAAAkBAAAACSsDAAABsgIAAJwCAAAJLAMAAAktAwAACgkuAwAACgn2AAAACAYbL90kBoGlPwoBAAAACS8DAAAJMAMAAAAAAAAACTEDAAAJ9gAAAAkBAAAACTIDAAABswIAAJwCAAAJMwMAAAk0AwAACgk1AwAACgn2AAAACAa6SQwCK4emPwoCAAAACTYDAAAJNwMAAAAAAAAACTgDAAAJ9gAAAAkBAAAACTkDAAABuAIAAHIAAAAKCgAAAAAAAAAADQAAAAAAAbkCAAByAAAACgoAAAAAAAAAAA0AAAAAAQe6AgAAAAEAAAAEAAAABB1BcGxvcmlzLkJhc2UuT2JqZWN0cy5WYXJpYWJsZQMAAAABOgMAAJ8CAAAAAAAAAAAAAAE7AwAAnwIAAAAAAAAAAAAAATwDAACfAgAAAAAAAAAAAAABPQMAAJ8CAAAAAAAAAAAAAA+7AgAAAQAAAAhNAAAAAcACAAByAAAACgoAAAAAAAAAAA0AAAAAAAHBAgAAcgAAAAoKAAAAAAAAAAANAAAAAAEHwgIAAAABAAAABAAAAAQdQXBsb3Jpcy5CYXNlLk9iamVjdHMuVmFyaWFibGUDAAAAAT4DAACfAgAAAAAAAAAAAAABPwMAAJ8CAAAAAAAAAAAAAAFAAwAAnwIAAAAAAAAAAAAAAUEDAACfAgAAAAAAAAAAAAAPwwIAAAEAAAAITgAAAAHIAgAAcgAAAAoKAAAAAAAAAAANAAAAAAAByQIAAHIAAAAKCgAAAAAAAAAADQAAAAABB8oCAAAAAQAAAAQAAAAEHUFwbG9yaXMuQmFzZS5PYmplY3RzLlZhcmlhYmxlAwAAAAFCAwAAnwIAAAAAAAAAAAAAAUMDAACfAgAAAAAAAAAAAAABRAMAAJ8CAAAAAAAAAAAAAAFFAwAAnwIAAAAAAAAAAAAAD8sCAAABAAAACE8AAAAB6AIAAAMBAAAKWAIAAAFGAwAAXAEAAAIAAAABRwMAAF0BAAABAAAAAUgDAAAUAAAAFruxQpZ1LEMI3u9CPtAFQwFJAwAAXwEAAAAAAAAAAKBAAAFKAwAAIAAAAA3VFEO1XW9DAUsDAACaAAAAAAAAAAAAAAAAAAAAAAlMAwAAAAAAAAlNAwAAAAAAAU4DAACjAAAAAAAAAAFPAwAAbAAAAAAA+EEAAIhBAVADAAAUAAAAndgFQ9iJZ0M3/NlBEztRQV662T8GUQMAAAM1MCUKCVIDAAAJaAEAADQDAAD/////AQEKCVMDAAABAAoBAekCAAAbAAAAAVQDAAAgAAAAFrurQuqimkMBVQMAACAAAACPzFNDlnUpQwlWAwAACVcDAAAAAAAACgFYAwAAbAAAAAAAAAAAAAAAAVkDAABsAAAAAAAAAAAAAAAAAAAAAVoDAAAUAAAAAAAAAAAAAAAAAAAAAAAAAKQBAAD/////AQEKCVsDAAABAAoBB+oCAAAAAQAAAAIAAAAEGkFwbG9yaXMuQmFzZS5VSS5WaXN1YWxMaW5lAwAAAAoKB+sCAAAAAQAAAAMAAAAEFVN5c3RlbS5EcmF3aW5nLlBvaW50RgQAAAABXAMAACAAAAAN1RRDtV1vQwFdAwAAIAAAABa7pUK1XW9DAV4DAAAgAAAAj8xWQ7Vdb0MH7AIAAAABAAAAAwAAAAQXQXBsb3Jpcy5CYXNlLkFuY2hvck1vZGUDAAAAAV8DAACaAAAAAAAAAAFgAwAAmgAAAAIAAAABYQMAAJoAAAAEAAAAAe0CAAAkAAAACdMAAAAAAAAAAAAAAAHuAgAAJQAAAAliAwAAAgAAAAIAAAAB7wIAAAMBAAAKWAIAAAFjAwAAXAEAAAIAAAABZAMAAF0BAAABAAAAAWUDAAAUAAAA/C2RQ4xC9kII3u9CjiQ3QwFmAwAAXwEAAAAAAAAAAKBAAAFnAwAAIAAAAL0pr0ONs1ZDAWgDAACaAAAAAAAAAAAAAAAAAAAAAAlpAwAAAAAAAAlqAwAAAAAAAWsDAACjAAAAAAAAAAFsAwAAbAAAAAAA+EEAAIhBAW0DAAAUAAAAOrGnQ07sTkM3/NlBEztRQV662T8GbgMAAAM2NyUKCW8DAAAJaAEAADQDAAD/////AQEKCXADAAABAAoBAfACAAAbAAAAAXEDAAAgAAAA/K2PQ+qimkMBcgMAACAAAAB+pc5DjELwQglzAwAACXQDAAAAAAAACgF1AwAAbAAAAAAAAAAAAAAAAXYDAABsAAAAAAAAAAAAAAAAAAAAAXcDAAAUAAAAAAAAAAAAAAAAAAAAAAAAAKQBAAD/////AQEKCXgDAAABAAoBB/ECAAAAAQAAAAIAAAAEGkFwbG9yaXMuQmFzZS5VSS5WaXN1YWxMaW5lAwAAAAoKB/ICAAAAAQAAAAMAAAAEFVN5c3RlbS5EcmF3aW5nLlBvaW50RgQAAAABeQMAACAAAAC9Ka9DjbNWQwF6AwAAIAAAAPwtjkONs1ZDAXsDAAAgAAAAfiXQQ42zVkMH8wIAAAABAAAAAwAAAAQXQXBsb3Jpcy5CYXNlLkFuY2hvck1vZGUDAAAAAXwDAACaAAAAAAAAAAF9AwAAmgAAAAIAAAABfgMAAJoAAAAEAAAAAfQCAAAkAAAACdMAAAAAAAAAAAAAAAH1AgAAJQAAAAl/AwAAAgAAAAIAAAAB9gIAAAMBAAAKWAIAAAGAAwAAXAEAAAIAAAABgQMAAF0BAAABAAAAAYIDAAAUAAAAM+31Q31O00IE3u9Clp5IQwGDAwAAXwEAAAAAAAAAAKBAAAGEAwAAIAAAAHr0CUSJ9k1DAYUDAACaAAAAAAAAAAAAAAAAAAAAAAmGAwAAAAAAAAmHAwAAAAAAAYgDAACjAAAAAAAAAAGJAwAAbAAAAAAA+EEAAIhBAYoDAAAUAAAAEzsGRCd2RkM3/NlBEztRQV662T8GiwMAAAM3MyUKCYwDAAAJaAEAADQDAAD/////AQEKCY0DAAABAAoBAfcCAAAbAAAAAY4DAAAgAAAAM230Q+qimkMBjwMAACAAAABashlEfU7NQgmQAwAACZEDAAAAAAAACgGSAwAAbAAAAAAAAAAAAAAAAZMDAABsAAAAAAAAAAAAAAAAAAAAAZQDAAAUAAAAAAAAAAAAAAAAAAAAAAAAAKQBAAD/////AQEKCZUDAAABAAoBB/gCAAAAAQAAAAIAAAAEGkFwbG9yaXMuQmFzZS5VSS5WaXN1YWxMaW5lAwAAAAoKB/kCAAAAAQAAAAMAAAAEFVN5c3RlbS5EcmF3aW5nLlBvaW50RgQAAAABlgMAACAAAAB69AlEifZNQwGXAwAAIAAAADPt8kOJ9k1DAZgDAAAgAAAAWnIaRIn2TUMH+gIAAAABAAAAAwAAAAQXQXBsb3Jpcy5CYXNlLkFuY2hvck1vZGUDAAAAAZkDAACaAAAAAAAAAAGaAwAAmgAAAAIAAAABmwMAAJoAAAAEAAAAAfsCAAAkAAAACdMAAAAAAAAAAAAAAAH8AgAAJQAAAAmcAwAAAgAAAAIAAAAB/QIAAAMBAAAKWAIAAAGdAwAAXAEAAAIAAAABngMAAF0BAAABAAAAAZ8DAAAUAAAAFruxQgvWjEII3u9CIRXAQgGgAwAAXwEAAAAAAAAAAKBAAAGhAwAAIAAAAA3VFEOc4OxCAaIDAACaAAAAAAAAAAAAAAAAAAAAAAmjAwAAAAAAAAmkAwAAAAAAAaUDAACjAAAAAAAAAAGmAwAAbAAAAAAA+EEAAIhBAacDAAAUAAAAndgFQ9iJ3UI3/NlBEztRQV662T8GqAMAAAMzNiUKCakDAAAJaAEAADQDAAD/////AQEKCaoDAAABAAoBAf4CAAAbAAAAAasDAAAgAAAAFrurQpZ1KUMBrAMAACAAAACPzFNDC9aGQgmtAwAACa4DAAAAAAAACgGvAwAAbAAAAAAAAAAAAAAAAbADAABsAAAAAAAAAAAAAAAAAAAAAbEDAAAUAAAAAAAAAAAAAAAAAAAAAAAAAKQBAAD/////AQEKCbIDAAABAAoBB/8CAAAAAQAAAAIAAAAEGkFwbG9yaXMuQmFzZS5VSS5WaXN1YWxMaW5lAwAAAAoKBwADAAAAAQAAAAMAAAAEFVN5c3RlbS5EcmF3aW5nLlBvaW50RgQAAAABswMAACAAAAAN1RRDnODsQgG0AwAAIAAAABa7pUKc4OxCAbUDAAAgAAAAj8xWQ5zg7EIHAQMAAAABAAAAAwAAAAQXQXBsb3Jpcy5CYXNlLkFuY2hvck1vZGUDAAAAAbYDAACaAAAAAAAAAAG3AwAAmgAAAAIAAAABuAMAAJoAAAAEAAAAAQIDAAAkAAAACdMAAAAAAAAAAAAAAAEDAwAAJQAAAAm5AwAAAgAAAAIAAAABBAMAAAMBAAAKWAIAAAG6AwAAXAEAAAIAAAABuwMAAF0BAAABAAAAAbwDAAAUAAAA/C2RQwZiUEII3u9CiRGCQgG9AwAAXwEAAAAAAAAAAKBAAAG+AwAAIAAAAL0pr0PIOalCAb8DAACaAAAAAAAAAAAAAAAAAAAAAAnAAwAAAAAAAAnBAwAAAAAAAcIDAACjAAAAAAAAAAHDAwAAbAAAAAAA+EEAAIhBAcQDAAAUAAAAOrGnQ53YmUI3/NlBEztRQV662T8GxQMAAAMyNSUKCcYDAAAJaAEAADQDAAD/////AQEKCccDAAABAAoBAQUDAAAbAAAAAcgDAAAgAAAA/K2PQ4xC8EIByQMAACAAAAB+pc5DBmJEQgnKAwAACcsDAAAAAAAACgHMAwAAbAAAAAAAAAAAAAAAAc0DAABsAAAAAAAAAAAAAAAAAAAAAc4DAAAUAAAAAAAAAAAAAAAAAAAAAAAAAKQBAAD/////AQEKCc8DAAABAAoBBwYDAAAAAQAAAAIAAAAEGkFwbG9yaXMuQmFzZS5VSS5WaXN1YWxMaW5lAwAAAAoKBwcDAAAAAQAAAAMAAAAEFVN5c3RlbS5EcmF3aW5nLlBvaW50RgQAAAAB0AMAACAAAAC9Ka9DyDmpQgHRAwAAIAAAAPwtjkPIOalCAdIDAAAgAAAAfiXQQ8g5qUIHCAMAAAABAAAAAwAAAAQXQXBsb3Jpcy5CYXNlLkFuY2hvck1vZGUDAAAAAdMDAACaAAAAAAAAAAHUAwAAmgAAAAIAAAAB1QMAAJoAAAAEAAAAAQkDAAAkAAAACdMAAAAAAAAAAAAAAAEKAwAAJQAAAAnWAwAAAgAAAAIAAAABCwMAAAMBAAAKWAIAAAHXAwAAXAEAAAIAAAAB2AMAAF0BAAABAAAAAdkDAAAUAAAAM+31Q1BNLEIE3u9Cqk9iQgHaAwAAXwEAAAAAAAAAAKBAAAHbAwAAIAAAAHr0CUSSuo5CAdwDAACaAAAAAAAAAAAAAAAAAAAAAAndAwAAAAAAAAneAwAAAAAAAd8DAACjAAAAAAAAAAHgAwAAbAAAAAAA+EEAAIhBAeEDAAAUAAAAEzsGRHVif0I3/NlBEztRQV662T8G4gMAAAMyMiUKCeMDAAAJaAEAADQDAAD/////AQEKCeQDAAABAAoBAQwDAAAbAAAAAeUDAAAgAAAAM230Q31OzUIB5gMAACAAAABashlEUE0gQgnnAwAACegDAAAAAAAACgHpAwAAbAAAAAAAAAAAAAAAAeoDAABsAAAAAAAAAAAAAAAAAAAAAesDAAAUAAAAAAAAAAAAAAAAAAAAAAAAAKQBAAD/////AQEKCewDAAABAAoBBw0DAAAAAQAAAAIAAAAEGkFwbG9yaXMuQmFzZS5VSS5WaXN1YWxMaW5lAwAAAAoKBw4DAAAAAQAAAAMAAAAEFVN5c3RlbS5EcmF3aW5nLlBvaW50RgQAAAAB7QMAACAAAAB69AlEkrqOQgHuAwAAIAAAADPt8kOSuo5CAe8DAAAgAAAAWnIaRJK6jkIHDwMAAAABAAAAAwAAAAQXQXBsb3Jpcy5CYXNlLkFuY2hvck1vZGUDAAAAAfADAACaAAAAAAAAAAHxAwAAmgAAAAIAAAAB8gMAAJoAAAAEAAAAARADAAAkAAAACdMAAAAAAAAAAAAAAAERAwAAJQAAAAnzAwAAAgAAAAIAAAABEgMAAAMBAAAKWAIAAAH0AwAAXAEAAAIAAAAB9QMAAF0BAAABAAAAAfYDAAAUAAAAFruxQkLaQkII3u9CUEd7QQH3AwAAXwEAAAAAAAAAAKBAAAH4AwAAIAAAAA3VFEMsQ2JCAfkDAACaAAAAAAAAAAAAAAAAAAAAAAn6AwAAAAAAAAn7AwAAAAAAAfwDAACjAAAAAAAAAAH9AwAAbAAAAAAAsEEAAIhBAf4DAAAUAAAAO7EJQ07sRELBmaJBEztRQV662T8G/wMAAAI4JQoJAAQAAAloAQAANAMAAP////8BAQoJAQQAAAEACgEBEwMAABsAAAABAgQAACAAAAAWu6tCC9aGQgEDBAAAIAAAAI/MU0NC2jZCCQQEAAAJBQQAAAAAAAAKAQYEAABsAAAAAAAAAAAAAAABBwQAAGwAAAAAAAAAAAAAAAAAAAABCAQAABQAAAAAAAAAAAAAAAAAAAAAAAAApAEAAP////8BAQoJCQQAAAEACgEHFAMAAAABAAAAAgAAAAQaQXBsb3Jpcy5CYXNlLlVJLlZpc3VhbExpbmUDAAAACgoHFQMAAAABAAAAAwAAAAQVU3lzdGVtLkRyYXdpbmcuUG9pbnRGBAAAAAEKBAAAIAAAAA3VFEMsQ2JCAQsEAAAgAAAAFrulQixDYkIBDAQAACAAAACPzFZDLENiQgcWAwAAAAEAAAADAAAABBdBcGxvcmlzLkJhc2UuQW5jaG9yTW9kZQMAAAABDQQAAJoAAAAAAAAAAQ4EAACaAAAAAgAAAAEPBAAAmgAAAAQAAAABFwMAACQAAAAJ0wAAAAAAAAAAAAAAARgDAAAlAAAACRAEAAACAAAAAgAAAAEZAwAAAwEAAApYAgAAAREEAABcAQAAAgAAAAESBAAAXQEAAAEAAAABEwQAABQAAAD8LZFDX+soQgje70JwandAARQEAABfAQAAAAAAAAAAoEAAARUEAAAgAAAAvSmvQ7KmMEIBFgQAAJoAAAAAAAAAAAAAAAAAAAAACRcEAAAAAAAACRgEAAABAAABGQQAAKMAAAAAAAAAARoEAABsAAAAAACwQQAAiEEBGwQAABQAAACJnalDO7ETQsGZokETO1FBXrrZPwYcBAAAAjQlCgkdBAAACWgBAAA0AwAA/////wEBCgkeBAAAAQAKAQEaAwAAGwAAAAEfBAAAIAAAAPytj0MGYkRCASAEAAAgAAAAfqXOQ1/rHEIJIQQAAAkiBAAAAAAAAAoBIwQAAGwAAAAAAAAAAAAAAAEkBAAAbAAAAAAAAAAAAAAAAAAAAAElBAAAFAAAAAAAAAAAAAAAAAAAAAAAAACkAQAA/////wEBCgkmBAAAAQAKAQcbAwAAAAEAAAACAAAABBpBcGxvcmlzLkJhc2UuVUkuVmlzdWFsTGluZQMAAAAKCgccAwAAAAEAAAADAAAABBVTeXN0ZW0uRHJhd2luZy5Qb2ludEYEAAAAAScEAAAgAAAAvSmvQ7KmMEIBKAQAACAAAAD8LY5DsqYwQgEpBAAAIAAAAH4l0EOypjBCBx0DAAAAAQAAAAMAAAAEF0FwbG9yaXMuQmFzZS5BbmNob3JNb2RlAwAAAAEqBAAAmgAAAAAAAAABKwQAAJoAAAACAAAAASwEAACaAAAABAAAAAEeAwAAJAAAAAnTAAAAAAAAAAAAAAABHwMAACUAAAAJLQQAAAIAAAACAAAAByADAAAAAQAAAAIAAAAEGkFwbG9yaXMuQmFzZS5VSS5WaXN1YWxMaW5lAwAAAAoKByEDAAAAAQAAAAMAAAAEFVN5c3RlbS5EcmF3aW5nLlBvaW50RgQAAAABLgQAACAAAADh8oNCEtJzQgEvBAAAIAAAAG0QZ0IS0nNCATAEAAAgAAAAjF2UQhLSc0IHIgMAAAABAAAAAwAAAAQXQXBsb3Jpcy5CYXNlLkFuY2hvck1vZGUDAAAAATEEAACaAAAAAAAAAAEyBAAAmgAAAAIAAAABMwQAAJoAAAAEAAAAASMDAAAkAAAACdMAAAAAAAAAAAAAAAEkAwAAJQAAAAk0BAAAAAAAAAQAAAABJQMAAAMBAAAKWAIAAAE1BAAAXAEAAAIAAAABNgQAAF0BAAABAAAAATcEAAAUAAAAFruxQmMg80EI3u9CQihFQQE4BAAAXwEAAAAAAAAAAKBAAAE5BAAAIAAAAA3VFEM6NRJCAToEAACaAAAAAAAAAAAAAAAAAAAAAAk7BAAAAAAAAAk8BAAAAAAAAT0EAACjAAAAAAAAAAE+BAAAbAAAAAAAsEEAAIhBAT8EAAAUAAAAO7EJQ53Y6UHBmaJBEztRQV662T8GQAQAAAI3JQoJQQQAAAloAQAANAMAAP////8BAQoJQgQAAAEACgEBJgMAABsAAAABQwQAACAAAAAWu6tCQto2QgFEBAAAIAAAAI/MU0NjINtBCUUEAAAJRgQAAAAAAAAKAUcEAABsAAAAAAAAAAAAAAABSAQAAGwAAAAAAAAAAAAAAAAAAAABSQQAABQAAAAAAAAAAAAAAAAAAAAAAAAApAEAAP////8BAQoJSgQAAAEACgEHJwMAAAABAAAAAgAAAAQaQXBsb3Jpcy5CYXNlLlVJLlZpc3VhbExpbmUDAAAACgoHKAMAAAABAAAAAwAAAAQVU3lzdGVtLkRyYXdpbmcuUG9pbnRGBAAAAAFLBAAAIAAAAA3VFEM6NRJCAUwEAAAgAAAAFrulQjo1EkIBTQQAACAAAACPzFZDOjUSQgcpAwAAAAEAAAADAAAABBdBcGxvcmlzLkJhc2UuQW5jaG9yTW9kZQMAAAABTgQAAJoAAAAAAAAAAU8EAACaAAAAAgAAAAFQBAAAmgAAAAQAAAABKgMAACQAAAAJ4gEAAAAAAAAAAAAAASsDAAAlAAAACVEEAAACAAAAAgAAAAEsAwAAAwEAAApYAgAAAVIEAABcAQAAAgAAAAFTBAAAXQEAAAEAAAABVAQAABQAAAD8LZFDYyDzQQje70Js2bpAAVUEAABfAQAAAAAAAAAAoEAAAVYEAAAgAAAAvSmvQ8g9BUIBVwQAAJoAAAAAAAAAAAAAAAAAAAAACVgEAAAAAAAACVkEAAABAAABWgQAAKMAAAAAAAAAAVsEAABsAAAAAACwQQAAiEEBXAQAABQAAACJnalDEzvRQcGZokETO1FBXrrZPwZdBAAAAjQlCgleBAAACWgBAAA0AwAA/////wEBCglfBAAAAQAKAQEtAwAAGwAAAAFgBAAAIAAAAPytj0Nf6xxCAWEEAAAgAAAAfqXOQ2Mg20EJYgQAAAljBAAAAAAAAAoBZAQAAGwAAAAAAAAAAAAAAAFlBAAAbAAAAAAAAAAAAAAAAAAAAAFmBAAAFAAAAAAAAAAAAAAAAAAAAAAAAACkAQAA/////wEBCglnBAAAAQAKAQcuAwAAAAEAAAACAAAABBpBcGxvcmlzLkJhc2UuVUkuVmlzdWFsTGluZQMAAAAKCgcvAwAAAAEAAAADAAAABBVTeXN0ZW0uRHJhd2luZy5Qb2ludEYEAAAAAWgEAAAgAAAAvSmvQ8g9BUIBaQQAACAAAAD8LY5DyD0FQgFqBAAAIAAAAH4l0EPIPQVCBzADAAAAAQAAAAMAAAAEF0FwbG9yaXMuQmFzZS5BbmNob3JNb2RlAwAAAAFrBAAAmgAAAAAAAAABbAQAAJoAAAACAAAAAW0EAACaAAAABAAAAAExAwAAJAAAAAniAQAAAAAAAAAAAAABMgMAACUAAAAJbgQAAAIAAAACAAAAATMDAAADAQAAClgCAAABbwQAAFwBAAACAAAAAXAEAABdAQAAAQAAAAFxBAAAFAAAADPt9UOuYfVBBN7vQsjjzEABcgQAAF8BAAAAAAAAAACgQAABcwQAACAAAAB69AlEFH8HQgF0BAAAmgAAAAAAAAAAAAAAAAAAAAAJdQQAAAAAAAAJdgQAAAEAAAF3BAAAowAAAAAAAAABeAQAAGwAAAAAALBBAACIQQF5BAAAFAAAADsxB0QTO9FBwZmiQRM7UUFeutk/BnoEAAACNCUKCXsEAAAJaAEAADQDAAD/////AQEKCXwEAAABAAoBATQDAAAbAAAAAX0EAAAgAAAAM230Q1BNIEIBfgQAACAAAABashlErmHdQQl/BAAACYAEAAAAAAAACgGBBAAAbAAAAAAAAAAAAAAAAYIEAABsAAAAAAAAAAAAAAAAAAAAAYMEAAAUAAAAAAAAAAAAAAAAAAAAAAAAAKQBAAD/////AQEKCYQEAAABAAoBBzUDAAAAAQAAAAIAAAAEGkFwbG9yaXMuQmFzZS5VSS5WaXN1YWxMaW5lAwAAAAoKBzYDAAAAAQAAAAMAAAAEFVN5c3RlbS5EcmF3aW5nLlBvaW50RgQAAAABhQQAACAAAAB69AlEFH8HQgGGBAAAIAAAADPt8kMUfwdCAYcEAAAgAAAAWnIaRBR/B0IHNwMAAAABAAAAAwAAAAQXQXBsb3Jpcy5CYXNlLkFuY2hvck1vZGUDAAAAAYgEAACaAAAAAAAAAAGJBAAAmgAAAAIAAAABigQAAJoAAAAEAAAAATgDAAAkAAAACeIBAAAAAAAAAAAAAAE5AwAAJQAAAAmLBAAAAgAAAAIAAAABTAMAACIAAAAKCgAAAAAAQEEJcAAAAAlxAAAACYwEAAAAAAmNBAAAAU0DAAByAAAACgoAAAAANmyHAAUAAAAAAQFSAwAApwAAAAmOBAAAAQAAAAMAAAABUwMAAG8AAAAJjwQAAAoBVgMAAGoAAAAKCgAAAEA/CZAEAAAJkQQAAAEAAAD+////AAAAAAEAAAAAAAAAAAAAAAEAAAAAAAAAAAAAAVcDAABrAAAACgoJkgQAAAmTBAAAAQAAAP7///8AAAAA/////wEAAVsDAABvAAAACZQEAAAKB2IDAAAAAQAAAAQAAAAEHEFwbG9yaXMuQmFzZS5VSS5WaXN1YWxPYmplY3QDAAAACekCAAAJ6AIAAAoKAWkDAAAiAAAACgoAAAAAAEBBCXAAAAAJcQAAAAmVBAAAAAAJlgQAAAFqAwAAcgAAAAoKAAAAADZshwAFAAAAAAEBbwMAAKcAAAAJlwQAAAEAAAADAAAAAXADAABvAAAACZgEAAAKAXMDAABqAAAACgoAAABAPwmZBAAACZoEAAABAAAA/v///wAAAAABAAAAAAAAAAAAAAABAAAAAAAAAAAAAAF0AwAAawAAAAoKCZsEAAAJnAQAAAEAAAD+////AAAAAP////8BAAF4AwAAbwAAAAmdBAAACgd/AwAAAAEAAAAEAAAABBxBcGxvcmlzLkJhc2UuVUkuVmlzdWFsT2JqZWN0AwAAAAnwAgAACe8CAAAKCgGGAwAAIgAAAAoKAAAAAABAQQlwAAAACXEAAAAJngQAAAAACZ8EAAABhwMAAHIAAAAKCgAAAAA2bIcABQAAAAABAYwDAACnAAAACaAEAAABAAAAAwAAAAGNAwAAbwAAAAmhBAAACgGQAwAAagAAAAoKAAAAQD8JogQAAAmjBAAAAQAAAP7///8AAAAAAQAAAAAAAAAAAAAAAQAAAAAAAAAAAAABkQMAAGsAAAAKCgmkBAAACaUEAAABAAAA/v///wAAAAD/////AQABlQMAAG8AAAAJpgQAAAoHnAMAAAABAAAABAAAAAQcQXBsb3Jpcy5CYXNlLlVJLlZpc3VhbE9iamVjdAMAAAAJ9wIAAAn2AgAACgoBowMAACIAAAAKCgAAAAAAQEEJcAAAAAlxAAAACacEAAAAAAmoBAAAAaQDAAByAAAACgoAAAAAcoSMAAYAAAAAAQGpAwAApwAAAAmpBAAAAQAAAAMAAAABqgMAAG8AAAAJqgQAAAoBrQMAAGoAAAAKCgAAAEA/CasEAAAJrAQAAAEAAAD+////AAAAAAEAAAAAAAAAAAAAAAEAAAAAAAAAAAAAAa4DAABrAAAACgoJrQQAAAmuBAAAAQAAAP7///8AAAAA/////wEAAbIDAABvAAAACa8EAAAKB7kDAAAAAQAAAAQAAAAEHEFwbG9yaXMuQmFzZS5VSS5WaXN1YWxPYmplY3QDAAAACf4CAAAJ/QIAAAoKAcADAAAiAAAACgoAAAAAAEBBCXAAAAAJcQAAAAmwBAAAAAAJsQQAAAHBAwAAcgAAAAoKAAAAAHKEjAAGAAAAAAEBxgMAAKcAAAAJsgQAAAEAAAADAAAAAccDAABvAAAACbMEAAAKAcoDAABqAAAACgoAAABAPwm0BAAACbUEAAABAAAA/v///wAAAAABAAAAAAAAAAAAAAABAAAAAAAAAAAAAAHLAwAAawAAAAoKCbYEAAAJtwQAAAEAAAD+////AAAAAP////8BAAHPAwAAbwAAAAm4BAAACgfWAwAAAAEAAAAEAAAABBxBcGxvcmlzLkJhc2UuVUkuVmlzdWFsT2JqZWN0AwAAAAkFAwAACQQDAAAKCgHdAwAAIgAAAAoKAAAAAABAQQlwAAAACXEAAAAJuQQAAAAACboEAAAB3gMAAHIAAAAKCgAAAAByhIwABgAAAAABAeMDAACnAAAACbsEAAABAAAAAwAAAAHkAwAAbwAAAAm8BAAACgHnAwAAagAAAAoKAAAAQD8JvQQAAAm+BAAAAQAAAP7///8AAAAAAQAAAAAAAAAAAAAAAQAAAAAAAAAAAAAB6AMAAGsAAAAKCgm/BAAACcAEAAABAAAA/v///wAAAAD/////AQAB7AMAAG8AAAAJwQQAAAoH8wMAAAABAAAABAAAAAQcQXBsb3Jpcy5CYXNlLlVJLlZpc3VhbE9iamVjdAMAAAAJDAMAAAkLAwAACgoB+gMAACIAAAAKCgAAAAAAQEEJcAAAAAlxAAAACcIEAAAAAAnDBAAAAfsDAAByAAAACgoAAAAA7SElAAcAAAAAAQEABAAApwAAAAnEBAAAAQAAAAEAAAABAQQAAG8AAAAJxQQAAAoBBAQAAGoAAAAKCgAAAEA/CcYEAAAJxwQAAAEAAAD+////AAAAAAEAAAAAAAAAAAAAAAEAAAAAAAAAAAAAAQUEAABrAAAACgoJyAQAAAnJBAAAAQAAAP7///8AAAAA/////wEAAQkEAABvAAAACcoEAAAKBxAEAAAAAQAAAAQAAAAEHEFwbG9yaXMuQmFzZS5VSS5WaXN1YWxPYmplY3QDAAAACRMDAAAJEgMAAAoKARcEAAAiAAAACgoAAAAAAEBBCXAAAAAJcQAAAAnLBAAAAAAJzAQAAAEYBAAAcgAAAAoKAAAAAO0hJQAHAAAAAAABHQQAAKcAAAAJzQQAAAEAAAADAAAAAR4EAABvAAAACc4EAAAKASEEAABqAAAACgoAAABAPwnPBAAACdAEAAABAAAA/v///wAAAAABAAAAAAAAAAAAAAABAAAAAAAAAAAAAAEiBAAAawAAAAoKCdEEAAAJ0gQAAAEAAAD+////AAAAAP////8BAAEmBAAAbwAAAAnTBAAACgctBAAAAAEAAAAEAAAABBxBcGxvcmlzLkJhc2UuVUkuVmlzdWFsT2JqZWN0AwAAAAkaAwAACRkDAAAKCgc0BAAAAAEAAAAEAAAABBxBcGxvcmlzLkJhc2UuVUkuVmlzdWFsT2JqZWN0AwAAAA0EATsEAAAiAAAACgoAAAAAAEBBCXAAAAAJcQAAAAnUBAAAAAAJ1QQAAAE8BAAAcgAAAAoKAAAAAEY7NAAIAAAAAAEBQQQAAKcAAAAJ1gQAAAEAAAADAAAAAUIEAABvAAAACdcEAAAKAUUEAABqAAAACgoAAABAPwnYBAAACdkEAAABAAAA/v///wAAAAABAAAAAAAAAAAAAAABAAAAAAAAAAAAAAFGBAAAawAAAAoKCdoEAAAJ2wQAAAEAAAD+////AAAAAP////8BAAFKBAAAbwAAAAncBAAACgdRBAAAAAEAAAAEAAAABBxBcGxvcmlzLkJhc2UuVUkuVmlzdWFsT2JqZWN0AwAAAAkmAwAACSUDAAAKCgFYBAAAIgAAAAoKAAAAAABAQQlwAAAACXEAAAAJ3QQAAAAACd4EAAABWQQAAHIAAAAKCgAAAABGOzQACAAAAAAAAV4EAACnAAAACd8EAAABAAAAAwAAAAFfBAAAbwAAAAngBAAACgFiBAAAagAAAAoKAAAAQD8J4QQAAAniBAAAAQAAAP7///8AAAAAAQAAAAAAAAAAAAAAAQAAAAAAAAAAAAABYwQAAGsAAAAKCgnjBAAACeQEAAABAAAA/v///wAAAAD/////AQABZwQAAG8AAAAJ5QQAAAoHbgQAAAABAAAABAAAAAQcQXBsb3Jpcy5CYXNlLlVJLlZpc3VhbE9iamVjdAMAAAAJLQMAAAksAwAACgoBdQQAACIAAAAKCgAAAAAAQEEJcAAAAAlxAAAACeYEAAAAAAnnBAAAAXYEAAByAAAACgoAAAAARjs0AAgAAAAAAAF7BAAApwAAAAnoBAAAAQAAAAMAAAABfAQAAG8AAAAJ6QQAAAoBfwQAAGoAAAAKCgAAAEA/CeoEAAAJ6wQAAAEAAAD+////AAAAAAEAAAAAAAAAAAAAAAEAAAAAAAAAAAAAAYAEAABrAAAACgoJ7AQAAAntBAAAAQAAAP7///8AAAAA/////wEAAYQEAABvAAAACe4EAAAKB4sEAAAAAQAAAAQAAAAEHEFwbG9yaXMuQmFzZS5VSS5WaXN1YWxPYmplY3QDAAAACTQDAAAJMwMAAAoKAYwEAAByAAAACgoAAAAA////AA4AAAAAAAGNBAAAcgAAAAoKAAAAAP///wAOAAAAAAEHjgQAAAABAAAABAAAAAQdQXBsb3Jpcy5CYXNlLk9iamVjdHMuVmFyaWFibGUDAAAAAe8EAACfAgAAAQAAAAAAAAAB8AQAAJ8CAAAAAAAAAAAAAAHxBAAAnwIAAAAAAAAAAAAAAfIEAACfAgAAAAAAAAAAAAAPjwQAAAEAAAAIEwAAAAWQBAAAGkFwbG9yaXMuQmFzZS5PYmplY3RzLkNvbG9yBwAAABJEYXRhT2JqZWN0K21QYXJlbnQVRGF0YU9iamVjdCttQ29udGFpbmVyBW1UeXBlBG1SR0IQbVRoZW1lQ29sb3JJbmRleAxtQXV0b1VwZGF0ZWQJbU1vZGlmaWVkBAIAAAAAAB9BcGxvcmlzLkJhc2UuT2JqZWN0cy5MaW5lRm9ybWF0AwAAAAgICAEBAwAAAAlWAwAACgAAAAD///8ADgAAAAAABZEEAAAaQXBsb3Jpcy5CYXNlLk9iamVjdHMuQ29sb3IHAAAAEkRhdGFPYmplY3QrbVBhcmVudBVEYXRhT2JqZWN0K21Db250YWluZXIFbVR5cGUEbVJHQhBtVGhlbWVDb2xvckluZGV4DG1BdXRvVXBkYXRlZAltTW9kaWZpZWQEAgAAAAAAH0FwbG9yaXMuQmFzZS5PYmplY3RzLkxpbmVGb3JtYXQDAAAACAgIAQEDAAAACVYDAAAKAQAAAAAAAAD/////AAEBkgQAAHIAAAAKCgAAAAA2bIcABQAAAAAAAZMEAAByAAAACgoBAAAA////AP////8AAA+UBAAAAQAAAAgIAAAAAZUEAAByAAAACgoAAAAA////AA4AAAAAAAGWBAAAcgAAAAoKAAAAAP///wAOAAAAAAEHlwQAAAABAAAABAAAAAQdQXBsb3Jpcy5CYXNlLk9iamVjdHMuVmFyaWFibGUDAAAAAfMEAACfAgAAAQAAAAAAAAAB9AQAAJ8CAAAAAAAAAAAAAAH1BAAAnwIAAAAAAAAAAAAAAfYEAACfAgAAAAAAAAAAAAAPmAQAAAEAAAAIFAAAAAWZBAAAGkFwbG9yaXMuQmFzZS5PYmplY3RzLkNvbG9yBwAAABJEYXRhT2JqZWN0K21QYXJlbnQVRGF0YU9iamVjdCttQ29udGFpbmVyBW1UeXBlBG1SR0IQbVRoZW1lQ29sb3JJbmRleAxtQXV0b1VwZGF0ZWQJbU1vZGlmaWVkBAIAAAAAAB9BcGxvcmlzLkJhc2UuT2JqZWN0cy5MaW5lRm9ybWF0AwAAAAgICAEBAwAAAAlzAwAACgAAAAD///8ADgAAAAAABZoEAAAaQXBsb3Jpcy5CYXNlLk9iamVjdHMuQ29sb3IHAAAAEkRhdGFPYmplY3QrbVBhcmVudBVEYXRhT2JqZWN0K21Db250YWluZXIFbVR5cGUEbVJHQhBtVGhlbWVDb2xvckluZGV4DG1BdXRvVXBkYXRlZAltTW9kaWZpZWQEAgAAAAAAH0FwbG9yaXMuQmFzZS5PYmplY3RzLkxpbmVGb3JtYXQDAAAACAgIAQEDAAAACXMDAAAKAQAAAAAAAAD/////AAEBmwQAAHIAAAAKCgAAAAA2bIcABQAAAAAAAZwEAAByAAAACgoBAAAA////AP////8AAA+dBAAAAQAAAAgHAAAAAZ4EAAByAAAACgoAAAAA////AA4AAAAAAAGfBAAAcgAAAAoKAAAAAP///wAOAAAAAAEHoAQAAAABAAAABAAAAAQdQXBsb3Jpcy5CYXNlLk9iamVjdHMuVmFyaWFibGUDAAAAAfcEAACfAgAAAQAAAAAAAAAB+AQAAJ8CAAAAAAAAAAAAAAH5BAAAnwIAAAAAAAAAAAAAAfoEAACfAgAAAAAAAAAAAAAPoQQAAAEAAAAIFQAAAAWiBAAAGkFwbG9yaXMuQmFzZS5PYmplY3RzLkNvbG9yBwAAABJEYXRhT2JqZWN0K21QYXJlbnQVRGF0YU9iamVjdCttQ29udGFpbmVyBW1UeXBlBG1SR0IQbVRoZW1lQ29sb3JJbmRleAxtQXV0b1VwZGF0ZWQJbU1vZGlmaWVkBAIAAAAAAB9BcGxvcmlzLkJhc2UuT2JqZWN0cy5MaW5lRm9ybWF0AwAAAAgICAEBAwAAAAmQAwAACgAAAAD///8ADgAAAAAABaMEAAAaQXBsb3Jpcy5CYXNlLk9iamVjdHMuQ29sb3IHAAAAEkRhdGFPYmplY3QrbVBhcmVudBVEYXRhT2JqZWN0K21Db250YWluZXIFbVR5cGUEbVJHQhBtVGhlbWVDb2xvckluZGV4DG1BdXRvVXBkYXRlZAltTW9kaWZpZWQEAgAAAAAAH0FwbG9yaXMuQmFzZS5PYmplY3RzLkxpbmVGb3JtYXQDAAAACAgIAQEDAAAACZADAAAKAQAAAAAAAAD/////AAEBpAQAAHIAAAAKCgAAAAA2bIcABQAAAAAAAaUEAAByAAAACgoBAAAA////AP////8AAA+mBAAAAQAAAAgJAAAAAacEAAByAAAACgoAAAAA////AA4AAAAAAAGoBAAAcgAAAAoKAAAAAP///wAOAAAAAAEHqQQAAAABAAAABAAAAAQdQXBsb3Jpcy5CYXNlLk9iamVjdHMuVmFyaWFibGUDAAAAAfsEAACfAgAAAQAAAAAAAAAB/AQAAJ8CAAAAAAAAAAAAAAH9BAAAnwIAAAAAAAAAAAAAAf4EAACfAgAAAAAAAAAAAAAPqgQAAAEAAAAIGgAAAAWrBAAAGkFwbG9yaXMuQmFzZS5PYmplY3RzLkNvbG9yBwAAABJEYXRhT2JqZWN0K21QYXJlbnQVRGF0YU9iamVjdCttQ29udGFpbmVyBW1UeXBlBG1SR0IQbVRoZW1lQ29sb3JJbmRleAxtQXV0b1VwZGF0ZWQJbU1vZGlmaWVkBAIAAAAAAB9BcGxvcmlzLkJhc2UuT2JqZWN0cy5MaW5lRm9ybWF0AwAAAAgICAEBAwAAAAmtAwAACgAAAAD///8ADgAAAAAABawEAAAaQXBsb3Jpcy5CYXNlLk9iamVjdHMuQ29sb3IHAAAAEkRhdGFPYmplY3QrbVBhcmVudBVEYXRhT2JqZWN0K21Db250YWluZXIFbVR5cGUEbVJHQhBtVGhlbWVDb2xvckluZGV4DG1BdXRvVXBkYXRlZAltTW9kaWZpZWQEAgAAAAAAH0FwbG9yaXMuQmFzZS5PYmplY3RzLkxpbmVGb3JtYXQDAAAACAgIAQEDAAAACa0DAAAKAQAAAAAAAAD/////AAEBrQQAAHIAAAAKCgAAAAByhIwABgAAAAAAAa4EAAByAAAACgoBAAAA////AP////8AAA+vBAAAAQAAAAgCAAAAAbAEAAByAAAACgoAAAAA////AA4AAAAAAAGxBAAAcgAAAAoKAAAAAP///wAOAAAAAAEHsgQAAAABAAAABAAAAAQdQXBsb3Jpcy5CYXNlLk9iamVjdHMuVmFyaWFibGUDAAAAAf8EAACfAgAAAQAAAAAAAAABAAUAAJ8CAAAAAAAAAAAAAAEBBQAAnwIAAAAAAAAAAAAAAQIFAACfAgAAAAAAAAAAAAAPswQAAAEAAAAIHAAAAAW0BAAAGkFwbG9yaXMuQmFzZS5PYmplY3RzLkNvbG9yBwAAABJEYXRhT2JqZWN0K21QYXJlbnQVRGF0YU9iamVjdCttQ29udGFpbmVyBW1UeXBlBG1SR0IQbVRoZW1lQ29sb3JJbmRleAxtQXV0b1VwZGF0ZWQJbU1vZGlmaWVkBAIAAAAAAB9BcGxvcmlzLkJhc2UuT2JqZWN0cy5MaW5lRm9ybWF0AwAAAAgICAEBAwAAAAnKAwAACgAAAAD///8ADgAAAAAABbUEAAAaQXBsb3Jpcy5CYXNlLk9iamVjdHMuQ29sb3IHAAAAEkRhdGFPYmplY3QrbVBhcmVudBVEYXRhT2JqZWN0K21Db250YWluZXIFbVR5cGUEbVJHQhBtVGhlbWVDb2xvckluZGV4DG1BdXRvVXBkYXRlZAltTW9kaWZpZWQEAgAAAAAAH0FwbG9yaXMuQmFzZS5PYmplY3RzLkxpbmVGb3JtYXQDAAAACAgIAQEDAAAACcoDAAAKAQAAAAAAAAD/////AAEBtgQAAHIAAAAKCgAAAAByhIwABgAAAAAAAbcEAAByAAAACgoBAAAA////AP////8AAA+4BAAAAQAAAAgGAAAAAbkEAAByAAAACgoAAAAA////AA4AAAAAAAG6BAAAcgAAAAoKAAAAAP///wAOAAAAAAEHuwQAAAABAAAABAAAAAQdQXBsb3Jpcy5CYXNlLk9iamVjdHMuVmFyaWFibGUDAAAAAQMFAACfAgAAAQAAAAAAAAABBAUAAJ8CAAAAAAAAAAAAAAEFBQAAnwIAAAAAAAAAAAAAAQYFAACfAgAAAAAAAAAAAAAPvAQAAAEAAAAIFgAAAAW9BAAAGkFwbG9yaXMuQmFzZS5PYmplY3RzLkNvbG9yBwAAABJEYXRhT2JqZWN0K21QYXJlbnQVRGF0YU9iamVjdCttQ29udGFpbmVyBW1UeXBlBG1SR0IQbVRoZW1lQ29sb3JJbmRleAxtQXV0b1VwZGF0ZWQJbU1vZGlmaWVkBAIAAAAAAB9BcGxvcmlzLkJhc2UuT2JqZWN0cy5MaW5lRm9ybWF0AwAAAAgICAEBAwAAAAnnAwAACgAAAAD///8ADgAAAAAABb4EAAAaQXBsb3Jpcy5CYXNlLk9iamVjdHMuQ29sb3IHAAAAEkRhdGFPYmplY3QrbVBhcmVudBVEYXRhT2JqZWN0K21Db250YWluZXIFbVR5cGUEbVJHQhBtVGhlbWVDb2xvckluZGV4DG1BdXRvVXBkYXRlZAltTW9kaWZpZWQEAgAAAAAAH0FwbG9yaXMuQmFzZS5PYmplY3RzLkxpbmVGb3JtYXQDAAAACAgIAQEDAAAACecDAAAKAQAAAAAAAAD/////AAEBvwQAAHIAAAAKCgAAAAByhIwABgAAAAAAAcAEAAByAAAACgoBAAAA////AP////8AAA/BBAAAAQAAAAgEAAAAAcIEAAByAAAACgoAAAAA////AA4AAAAAAAHDBAAAcgAAAAoKAAAAAP///wAOAAAAAAEHxAQAAAABAAAABAAAAAQdQXBsb3Jpcy5CYXNlLk9iamVjdHMuVmFyaWFibGUDAAAAAQcFAACfAgAAAQAAAAAAAAABCAUAAJ8CAAAAAAAAAAAAAAEJBQAAnwIAAAAAAAAAAAAAAQoFAACfAgAAAAAAAAAAAAAPxQQAAAEAAAAIGAAAAAXGBAAAGkFwbG9yaXMuQmFzZS5PYmplY3RzLkNvbG9yBwAAABJEYXRhT2JqZWN0K21QYXJlbnQVRGF0YU9iamVjdCttQ29udGFpbmVyBW1UeXBlBG1SR0IQbVRoZW1lQ29sb3JJbmRleAxtQXV0b1VwZGF0ZWQJbU1vZGlmaWVkBAIAAAAAAB9BcGxvcmlzLkJhc2UuT2JqZWN0cy5MaW5lRm9ybWF0AwAAAAgICAEBAwAAAAkEBAAACgAAAAD///8ADgAAAAAABccEAAAaQXBsb3Jpcy5CYXNlLk9iamVjdHMuQ29sb3IHAAAAEkRhdGFPYmplY3QrbVBhcmVudBVEYXRhT2JqZWN0K21Db250YWluZXIFbVR5cGUEbVJHQhBtVGhlbWVDb2xvckluZGV4DG1BdXRvVXBkYXRlZAltTW9kaWZpZWQEAgAAAAAAH0FwbG9yaXMuQmFzZS5PYmplY3RzLkxpbmVGb3JtYXQDAAAACAgIAQEDAAAACQQEAAAKAQAAAAAAAAD/////AAEByAQAAHIAAAAKCgAAAADtISUABwAAAAAAAckEAAByAAAACgoBAAAA////AP////8AAA/KBAAAAQAAAAgDAAAAAcsEAAByAAAACgoAAAAA////AA4AAAAAAAHMBAAAcgAAAAoKAAAAAP///wAOAAAAAAEHzQQAAAABAAAABAAAAAQdQXBsb3Jpcy5CYXNlLk9iamVjdHMuVmFyaWFibGUDAAAAAQsFAACfAgAAAQAAAAAAAAABDAUAAJ8CAAAAAAAAAAAAAAENBQAAnwIAAAAAAAAAAAAAAQ4FAACfAgAAAAAAAAAAAAAPzgQAAAEAAAAIFwAAAAXPBAAAGkFwbG9yaXMuQmFzZS5PYmplY3RzLkNvbG9yBwAAABJEYXRhT2JqZWN0K21QYXJlbnQVRGF0YU9iamVjdCttQ29udGFpbmVyBW1UeXBlBG1SR0IQbVRoZW1lQ29sb3JJbmRleAxtQXV0b1VwZGF0ZWQJbU1vZGlmaWVkBAIAAAAAAB9BcGxvcmlzLkJhc2UuT2JqZWN0cy5MaW5lRm9ybWF0AwAAAAgICAEBAwAAAAkhBAAACgAAAAD///8ADgAAAAAABdAEAAAaQXBsb3Jpcy5CYXNlLk9iamVjdHMuQ29sb3IHAAAAEkRhdGFPYmplY3QrbVBhcmVudBVEYXRhT2JqZWN0K21Db250YWluZXIFbVR5cGUEbVJHQhBtVGhlbWVDb2xvckluZGV4DG1BdXRvVXBkYXRlZAltTW9kaWZpZWQEAgAAAAAAH0FwbG9yaXMuQmFzZS5PYmplY3RzLkxpbmVGb3JtYXQDAAAACAgIAQEDAAAACSEEAAAKAQAAAAAAAAD/////AAEB0QQAAHIAAAAKCgAAAADtISUABwAAAAAAAdIEAAByAAAACgoBAAAA////AP////8AAA/TBAAAAQAAAAgBAAAAAdQEAAByAAAACgoAAAAA////AA4AAAAAAAHVBAAAcgAAAAoKAAAAAP///wAOAAAAAAEH1gQAAAABAAAABAAAAAQdQXBsb3Jpcy5CYXNlLk9iamVjdHMuVmFyaWFibGUDAAAAAQ8FAACfAgAAAQAAAAAAAAABEAUAAJ8CAAAAAAAAAAAAAAERBQAAnwIAAAAAAAAAAAAAARIFAACfAgAAAAAAAAAAAAAP1wQAAAEAAAAIMAAAAAXYBAAAGkFwbG9yaXMuQmFzZS5PYmplY3RzLkNvbG9yBwAAABJEYXRhT2JqZWN0K21QYXJlbnQVRGF0YU9iamVjdCttQ29udGFpbmVyBW1UeXBlBG1SR0IQbVRoZW1lQ29sb3JJbmRleAxtQXV0b1VwZGF0ZWQJbU1vZGlmaWVkBAIAAAAAAB9BcGxvcmlzLkJhc2UuT2JqZWN0cy5MaW5lRm9ybWF0AwAAAAgICAEBAwAAAAlFBAAACgAAAAD///8ADgAAAAAABdkEAAAaQXBsb3Jpcy5CYXNlLk9iamVjdHMuQ29sb3IHAAAAEkRhdGFPYmplY3QrbVBhcmVudBVEYXRhT2JqZWN0K21Db250YWluZXIFbVR5cGUEbVJHQhBtVGhlbWVDb2xvckluZGV4DG1BdXRvVXBkYXRlZAltTW9kaWZpZWQEAgAAAAAAH0FwbG9yaXMuQmFzZS5PYmplY3RzLkxpbmVGb3JtYXQDAAAACAgIAQEDAAAACUUEAAAKAQAAAAAAAAD/////AAEB2gQAAHIAAAAKCgAAAABGOzQACAAAAAAAAdsEAAByAAAACgoBAAAA////AP////8AAA/cBAAAAQAAAAgfAAAAAd0EAAByAAAACgoAAAAA////AA4AAAAAAAHeBAAAcgAAAAoKAAAAAP///wAOAAAAAAEH3wQAAAABAAAABAAAAAQdQXBsb3Jpcy5CYXNlLk9iamVjdHMuVmFyaWFibGUDAAAAARMFAACfAgAAAQAAAAAAAAABFAUAAJ8CAAAAAAAAAAAAAAEVBQAAnwIAAAAAAAAAAAAAARYFAACfAgAAAAAAAAAAAAAP4AQAAAEAAAAIMQAAAAXhBAAAGkFwbG9yaXMuQmFzZS5PYmplY3RzLkNvbG9yBwAAABJEYXRhT2JqZWN0K21QYXJlbnQVRGF0YU9iamVjdCttQ29udGFpbmVyBW1UeXBlBG1SR0IQbVRoZW1lQ29sb3JJbmRleAxtQXV0b1VwZGF0ZWQJbU1vZGlmaWVkBAIAAAAAAB9BcGxvcmlzLkJhc2UuT2JqZWN0cy5MaW5lRm9ybWF0AwAAAAgICAEBAwAAAAliBAAACgAAAAD///8ADgAAAAAABeIEAAAaQXBsb3Jpcy5CYXNlLk9iamVjdHMuQ29sb3IHAAAAEkRhdGFPYmplY3QrbVBhcmVudBVEYXRhT2JqZWN0K21Db250YWluZXIFbVR5cGUEbVJHQhBtVGhlbWVDb2xvckluZGV4DG1BdXRvVXBkYXRlZAltTW9kaWZpZWQEAgAAAAAAH0FwbG9yaXMuQmFzZS5PYmplY3RzLkxpbmVGb3JtYXQDAAAACAgIAQEDAAAACWIEAAAKAQAAAAAAAAD/////AAEB4wQAAHIAAAAKCgAAAABGOzQACAAAAAAAAeQEAAByAAAACgoBAAAA////AP////8AAA/lBAAAAQAAAAgeAAAAAeYEAAByAAAACgoAAAAA////AA4AAAAAAAHnBAAAcgAAAAoKAAAAAP///wAOAAAAAAEH6AQAAAABAAAABAAAAAQdQXBsb3Jpcy5CYXNlLk9iamVjdHMuVmFyaWFibGUDAAAAARcFAACfAgAAAQAAAAAAAAABGAUAAJ8CAAAAAAAAAAAAAAEZBQAAnwIAAAAAAAAAAAAAARoFAACfAgAAAAAAAAAAAAAP6QQAAAEAAAAILwAAAAXqBAAAGkFwbG9yaXMuQmFzZS5PYmplY3RzLkNvbG9yBwAAABJEYXRhT2JqZWN0K21QYXJlbnQVRGF0YU9iamVjdCttQ29udGFpbmVyBW1UeXBlBG1SR0IQbVRoZW1lQ29sb3JJbmRleAxtQXV0b1VwZGF0ZWQJbU1vZGlmaWVkBAIAAAAAAB9BcGxvcmlzLkJhc2UuT2JqZWN0cy5MaW5lRm9ybWF0AwAAAAgICAEBAwAAAAl/BAAACgAAAAD///8ADgAAAAAABesEAAAaQXBsb3Jpcy5CYXNlLk9iamVjdHMuQ29sb3IHAAAAEkRhdGFPYmplY3QrbVBhcmVudBVEYXRhT2JqZWN0K21Db250YWluZXIFbVR5cGUEbVJHQhBtVGhlbWVDb2xvckluZGV4DG1BdXRvVXBkYXRlZAltTW9kaWZpZWQEAgAAAAAAH0FwbG9yaXMuQmFzZS5PYmplY3RzLkxpbmVGb3JtYXQDAAAACAgIAQEDAAAACX8EAAAKAQAAAAAAAAD/////AAEB7AQAAHIAAAAKCgAAAABGOzQACAAAAAAAAe0EAAByAAAACgoBAAAA////AP////8AAA/uBAAAAQAAAAgdAAAACw==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9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3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7V3DdI4XXs0CYa49.3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3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7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3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8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88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89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3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5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3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5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1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7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8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1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12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99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8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4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6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AIALkH+/y1B0h4XROTwjEMABB0AAAALU3lzdGVtLkd1aWQLAAAAAl9hAl9iAl9jAl9kAl9lAl9mAl9nAl9oAl9pAl9qAl9rAAAAAAAAAAAAAAAIBwcCAgICAgICAgAAAAAAAAAAAAAAAAAAAAAACgoJHgAAAAAKCgoBAAAAAAAAAP////8AAQEfAAAAFAAAAMROfELETixBkBr2QxM7lUMog2JCEL0iQ9KOHETrxJ9DBSAAAAAVU3lzdGVtLkRyYXdpbmcuUG9pbnRGAgAAAAF4AXkAAAsLBAAAAHZjmUPEOYBDBiEAAAAQVWVmVE5pck9BV1lxNjZDU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ACAC5B5GCSQwEuAAAAIAAAANLWGUTkYJJDCS8AAAAJMAAAAAkxAAAACTIAAAAAAAAAAAAAAAAAAAAJMwAAAAAAAAAAAAk0AAAACQEAAAAJAQAAAAk1AAAAAQcAAAAGAAAACQEAAAABNgAAACYAAAAAAAAAzcxMPwAAAAgBAAkBAAAACTcAAAAJOAAAAAEAAAAAAAAAAAAAAAAAAADwPwCamZmZmZnJPwAAACBBAAAJOQAAAAoJOgAAAAk7AAAACTwAAAABPQAAACAAAAACAC5B5GCSQwE+AAAAIAAAAAIALkH+/y1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AAAAAgBAAAAAgAAAAMAAAAEAAAABRs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IAAAAAIALkH+/y1BAWkAAAAgAAAA0tYZRORgkkMJagAAAAlrAAAAAAAAAAoFbAAAABRTeXN0ZW0uRHJhd2luZy5TaXplRgIAAAAFd2lkdGgGaGVpZ2h0AAALCwQAAAAAAAAAAAAAAAFtAAAAbAAAAAAAAAAAAAAAAAAAAAFuAAAAFAAAAAAAAAAAAAAAAAAAAAAAAAAUAAAA/////wEBCglvAAAAAQAKAA8eAAAASCkAAAJQSwMEFAAGAAgAAAAhAJJXjTVyAQAAc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0/DMAy+I/EfqlxRm40DQmjdDgyOMInxA0LirtGah+Ls9e9xsw0hNFrQdmnUJN/DduzRZGuabA0BtbMlGxYDloGVTmm7KNn7/Dm/ZxlGYZVonIWS7QDZZHx9NZrvPGBGaIslq2P0D5yjrMEILJwHSyeVC0ZE+g0L7oVcigXw28HgjktnI9iYx5aDjUdTqMSqidnTlrb3TgjOssf9vVaqZML7RksRyShvT/lJ3LoTt7bqh7ncVZWWoJxcGbJUEH4axIbC/0UgQIMdzk4oHEIvCJncY6093hxCeKXcB60gm4kQX4ShQPm24RsXlh/OLYvuPPTHgz6AUFgDRNMUaS2M0PYP+uky8rQML2ykjS8R9/iI9KCAp+/5FhJNjyDGXQN46bQn0j7lWgRQbzHQ27u4ge/cPT6kM20n4KVLfuTtkqc2nAXnkSZEgP8X4dhpLTr3RAQhaujstS9FGi9nVx3a+aVAndDmaV6OPwEAAP//AwBQSwMEFAAGAAgAAAAhAFB8TsHz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KAzEQh++C7xDm3p1tBRFpthcRehOpDzAms3/YTSYkUbdvbxAUF2r14DEzk2++/Mh2N7tJvXJMg3gN66oGxd6IHXyn4elwv7oBlTJ5S5N41nDkBLvm8mL7yBPlcin1Q0iqUHzS0OccbhGT6dlRqiSwL51WoqNcjrHDQGakjnFT19cYvzOgWTDV3mqIe7sGdTiGsvl3trTtYPhOzItjn0+swOVEIVPsOGuYJ3yTOD6LjFURBjztsvm7y8/vRMeZLGVCI5FXIZaUYh5Krl86VsxDKaePiXNCV/8ZDs+ZvWV7XolC+DTCxR9o3gEAAP//AwBQSwMEFAAGAAgAAAAhAIyWxW7zAAAAugI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2rDMAzG74O9g9F9cdKNMUadXsag1y17AGMrcWhiG0v7k7efyaBNoXSXXAyfhL/vJ6Ht7mccxBcm6oNXUBUlCPQm2N53Cj6a17snEMTaWz0EjwomJNjVtzfbNxw050/k+kgiu3hS4Jjjs5RkHI6aihDR504b0qg5y9TJqM1Bdyg3Zfko09ID6jNPsbcK0t7eg2immJP/9w5t2xt8CeZzRM8XIiTxNOQBRKNTh6zgTxeZEeTl+IdV451OaN855e0uKZblazDVmjDfIR3IIfJpHccSyblTXYPZrAnD+WDwBDJLOb9HBnl2cfUvAAAA//8DAFBLAwQUAAYACAAAACEAUgmMNqICAABJBQAADwAAAHhsL3dvcmtib29rLnhtbKRUXW+bMBR9n7T/gHgnBvOREAWqNB9apGmqpq59nBxjglV/UGMaumn/fRcYbbe+dBsP2Nc2x+eecy+ri04K54GZhmuVucHMdx2mqC64OmXul+u9t3CdxhJVEKEVy9xH1rgX+ft3q7M2d0et7xwAUE3mVtbWS4QaWjFJmpmumYKdUhtJLITmhJraMFI0FWNWCoR9P0GScOWOCEvzFgxdlpyyraatZMqOIIYJYoF+U/G6mdAkfQucJOaurT2qZQ0QRy64fRxAXUfS5eGktCFHAWl3QTwhw/QVtOTU6EaXdgZQaCT5Kt/AR0EwppyvSi7YzSi7Q+r6E5H9LcJ1BGnsruCWFZmbQKjP7HkBSJi2vmy5gF28iH3sOih/8uLK9BEwXwvLjCKWbbSyINQvif9XlAF7U2mwwPnM7ltuGDjfa5Ov4E3okhybK2IrpzUic9EDMajUooA80f0Z4SrF1Tda4DAITVA82EjV6qu/8OE5KXSNrKznaeyTMsAzmKMXkpPXfv6F6IQOOiGQZqSfr/r5nzLlq76ibzg7N8+i9qHT3XJV6DN0SBwn0COPUxz10XnYvOWFreBEGkdPax8YP1UWFqMEwyK4g15cMfQCXDWMjhpqYF0LbXizJZZA5/XNcgCvAzB+yWFiDgXMe5zpY0oEBeP7YTgZxQmGI1Qr2hoD5m9gJ3PH21lnPzY2X8EIHvHM/T5P93GUzhMv2K5jL0qChXcZRHMv2mx30WUah+tw8ePZiOjfat9PUTqVfhdEy+nvAcQLVpJW2IMkJ7atgVKI58l8zBFo/sY1xuEu3oYejveht453vhckIfaSaI/jaINxFOMnrrJ7G1VJKGIdZcMvaTGRlN1ybWh12Dp7QU5Q5WOnwUlg1L8HGdGUR/4TAAD//wMAUEsDBBQABgAIAAAAIQBuH9e64AAAAAACAAAUAAAAeGwvc2hhcmVkU3RyaW5ncy54bWx00U1PwzAMBuA7Ev/Byp2lHWNsKM2EkHZGfBw4Rq1ZIyVOiV0E/57sgqBSjnleWXZsc/iKAT4xs0/UqXbVKEDq0+Dp1KnXl+PVTgGLo8GFRNipb2R1sJcXhlmg1BJ3ahSZ7rTmfsToeJUmpJK8pxydlGc+aZ4yuoFHRIlBr5tmq6PzpKBPM0npu1Ewk/+Y8eEXrGFvjdhnzB4ZWqPFGn22f76u+PXSjzP1Un7pAtyXaZbxUwq4tDd0mcETPCb259pKr03Fbyq+rfhtxXcV31e8bWrBny3qckH7Aw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kWN7micDAAACCQAADQAAAHhsL3N0eWxlcy54bWzEVltv2jAUfp+0/xDlnSZQaAElqQYlU6WumtRO2quTOMGqL5FtOui0/75jOyGhXe8P4wHs4+PvfOdqorMto94dlooIHvvDo9D3MM9FQXgV+z9u0sHU95RGvEBUcBz7O6z8s+Tzp0jpHcXXa4y1BxBcxf5a63oeBCpfY4bUkagxh5NSSIY0bGUVqFpiVChzidFgFIYnAUOE+w5hzvLXgDAkbzf1IBesRppkhBK9s1i+x/L5RcWFRBkFqtvhGOUttt08gmckl0KJUh8BXCDKkuT4MctZMAsAKYn4hqVMKy8XG64hWnuR504uChCeTHzPOb0UBdAIj8IQohokUdDcT6JS8A7mGDgaqvNbLn7x1Bw5bKOVROreu0MUJEMLkgsqpKchxoDtRBwx7HSWiJJMEqtYIkbozslHVmIz02gyAnFyrJwZ950Znq3FWc8g4QXeYvBv+tDmDVoLhp4wGfTB3+LJV0Kpd424eh7Y4isIKKjv8zKGvBhBEkGFaCx5asCa9c2uhsBxKObGe6v4gnol0W44gsSaLDrdF24oQUlheFRLmzBZZbGfwme5anCy5mQf2ZOxw++R/rC11ekstahvsmZdhKhmQhYwGvr17kRJRHGpTTQkqdZ2oUVt9pnQWjCzKgiqBEfUxqy9FjSQSZRjSq/NDPlZHhjYlr1mgr4xBWT6yiwhVc3SwTQbk5Q+nAPv4Z5CIt6Buy07A//xOqprujMl3Pb7K7hAwx+EaO/Ke8BgQL0HrJmELn1A6Kn0HXK72rAMy9S+GtZhxxiqoNstbF12+y+UVJzhdibDEHRbby0kuYerZn7mcI6bkbctHxTEAddnSu0Frm0lQu31KvygvveF6pmxHftXxlMKT0BbbNmGUE34v2obQItt1y7uVdHmtbOdtLcDBwUu0Ybqm/1h7Hfrb7ggGwYpabS+kzuhLUTsd+tL09rDEzs+8FZfKniM4NfbSBL7v1eL09n5Kh0NpuFiOhgf48lgNlmcDybj5eL8PJ2Fo3D5p/f6fuDttf8RIGHD8VxReKFl423D/rqTxX5v4/i7mQq8YUi0XgTdn5fkLwAAAP//AwBQSwMEFAAGAAgAAAAhAJ6ZF5xrBAAAUg0AABgAAAB4bC93b3Jrc2hlZXRzL3NoZWV0MS54bWyUV8uO6jgQ3Y80/xBl34lf8QMBVxeYq+nFSKN5rk0wEHWCmSRNd//9lGMIxECLRgKc+KR8TlW5XBl/e6/K6GDqprC7SYwTFEdml9tVsdtM4r//+vEk46hp9W6lS7szk/jDNPG36c8/jd9s/dJsjWkjsLBrJvG2bfejNG3yral0k9i92cHM2taVbuGy3qTNvjZ61T1UlSlBiKeVLnaxtzCqH7Fh1+siNwubv1Zm13ojtSl1C/ybbbFvTtbeVw/ZW9X6DbSe+FxQXPiZ3h5mV/yqIq9tY9dtktsq9dSuVapUDXRW+SNCK12/vO6fwPAexC2Lsmg/OrlxVOWj583O1npZQkTeMdP5BUt9bf5xnmBpOl4V4FuXEFFt1pP4Ox4tMImjdDruYvdPYd6ai3HU6uWfpjR5a1aQQnHkUmNp7YsDPsMtBDabDuBs6rwtDmZuynISzzGF9PqvW6Ybwxppv8jl+LTgjy6ffq+jpW7M3Jb/Fqt2C6tC3q7MWr+W7fmmTCQliGKS9ZN/2LdfTbHZtvAI3O18N1p9LEyTQzoB1cQLzW0JK8JvVBVuX4DT9bsX5xe8tN20Hy4QrHNR6h/tRCx0q6fj2r5FkItgo9lrt1PwCKDwD9rz16a1lRfVQW4yAibOwndnYhIfGbo7M38HDAH3Btx8mNJxegDH5cdn5tcINkQsrhFZj0iBfK8AFr5U8ClVh+1c0hNDw2VnHpF1pMHtIhOIMUUzwmHMZSDDo/kRjZXiCnCKEaIoUiSQ5NG4Q4tESiY4xpIIzLAQvzyd4QN9LhcvIvSpPocd6sOBPo846cMEy0xSqrhEbswDfR7t9amE4YxSIaUCwkoqckm5S4WFx3uFKKGIE0U4yxSjEpY4e28g0KXdowJ9isJvH8DAyTOP8AJFgiRFOFOKKiSQJNkV5bnHe4k0QVQQlAmBuEKKM3ot0eNPEjETkioiCBaZVLDC7RyFTf2wRIcdxjCIyswj+hxlmFEsacYUJjAOHDL36D5HMyaVYBARlBGqsApytM8Ml5MMCUw4JCm447Yw/gVhDjsUJoLk9AhPgSewhfj5i69jMff4XhqgCWw9LDBHBJPA+uLsAgAKJMBjKOMY3YmZ+II0hx1KCyrFzCP6mBGk0MUn2KVzj+4JUwJ1gmVANQPG6lwI/a4Tx4pyipVUCnOO2N2S4rqnR3ecww6lBSkz84ijtKCA+LleCM4YphIrIjnJOA9rvuyEqARqLkhmWcaZhKo0KDSD0qG+IMRhg9oYFn8Pua3Ez/VKUMhd+UPg9jZxjcDDHu/AAdOwjB8xt6keJ49cw3PV9T2H6Vn6wKE46Ac+P/j9GX1ZjXFYjjuDk/gOUW/gDtFjjb3j0a8c+65PDGMfdCSzI+YO0cFBH3qU3PSo7xh9s7XXG/ObrjfFrolKs+5aOtjjte/5UALj1u5doyegXC9tC+3X6WoLbycGuio4T+NobW3bX0BbWpqNzj+OLwVRPSqgsa2fV+BX17P2b0PT/wEAAP//AwBQSwMEFAAGAAgAAAAhAIxQvLaaAgAAPQcAABsAAAB4bC9kcmF3aW5ncy92bWxEcmF3aW5nMS52bWzsVctu2zAQvBfoPxDKwRcbejRJW0YyEKTIrS3Q9HEMaIm2mJBcQVzLcr4+S0p27CItAuTQSwVLIneXy5nhCM57oxnd1vGuiNat5a6spRFuZlTZgoMlzkowvDM6evtmrIS/VcJyqUrJh9fTmv4Fa2RfyoNtDCGqERsex0aUP42+CdB+tCqaE5YcuKtFI7XYwhpZx2WPRSQrhSHt86oyojnKsEqgKKI0ikOL+KjHPO+GlrhtJFNVEd32CV23mCVZxEqAtnLqQRZRlp4nyTQ8I0Y9GtrZ1xAs1gisi8gk00SPJUPh0TPp5YiStsQW7iW7A2UdbjW1NwplO0BkhMl3ZKtWVEpaDJzhvojQ71yCtbJED7iIWhrtiB0w2dM6pOTSJDuL2LDw5IjnAGLSgFOowHKxcKDXKC88OyPalbIzLZfIzz80eDEGEBqeJjTfqAprnmanNK6lWtXIMx9/mClbyZ6noU2nnFoorXDLa1VV0l4YB7NNK5pZ2J6jXzlhS6V1CRraIjpZ0iVTz5qEkmigIs5ijbBX0lfTMVF59lQfTtrLSMpVsGFgB+0Wrly3kg551Gyv9G+qWrDy6SyQXLaAno0iedSV8sKTUjOhkXtAE28uxvJKdbtCv47yamW5124yz2PKhro87vjYdpj3/Er7o/5EXmVfF3fU/Xs44C+Ao21Y3vPP0MlfCusrqbUbWPrwDTn0mfClLWtoB2AsnbL0bMoSetH9jn50++DHPO75YSk1vCRG16Ts/FpoJ0PBLjLQ7Pk32MxTn/GDXfCKXGPsPPHxcexTYbrnN3yGo1v/6NTzVzo1zdJjq2YHTvUu3jnVx3dOzf479d87Nds7lUanZNT3waiv8Gnw4zM+Df59qU9j+s+cPwIAAP//AwBQSwMEFAAGAAgAAAAhAD2Q0vo3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/Q8h7m6YDnaHtQGVPDgU3Jr6F5HYLNn9Iot2+vVk362RCXi7n3B/n3FSzne7QF/igrKkxzQuMwAgrldnUeLWcZ1OMQuRG8s4aqPEeAp4111eVcExYDy/eOvBRQUCJZAITrsbbGB0jJIgtaB7y5DBJbK3XPKbRb4jj4oNvgJRFcUM0RC555OQAzNxIxCekFCPSffpuAEhBoAMNJgZCc0p+vRG8Dv8uDMqZU6u4d6nTKe45W4qjOLp3QY3Gvu/zfjLESPkpeVs8vQ5VM2UOtxKAm0oKJjzwaH1TkfMhHa7jIS7SjVsF8n7fLJTwNtg2oue2VQLQKoCvyKUxQYcOTJ+WUYrFjiV+pPXk4XE5x01Z0NusuMsKuixLRqfpvR+C/AWkbBcf2XwDAAD//wMAUEsDBBQABgAIAAAAIQDfUjuiEgEAAC0CAAAQAAAAeGwvY29tbWVudHMxLnhtbMRQy07DMBC8I/EP1t6p0x5QQbGrcihC4oBE+QATbxpLfkRet0r5erZJw4ETNyTL8oxnZ0Zbb4bgxQkzuRQVLBcVCIxNsi4eFHzsd3drEFRMtManiArOSLDRtzd1k0LAWEiwQSQFXSn9o5TUdBgMLVKPkX/alIMpDPNBUp/RWOoQS/ByVVX3MhgXQdfmWLqUaX4IqWv5w12DXh0VPaeKjK2CpyWISfZiFVRsVHBgUebzxtfnxYi+xMl4BQ9wQU3yKQsXLQ7IM2t2YDbvUiyTbG+6FMzItiY4f57o1cjI0bbo55yOvbBITXZ94c1RLTlXcqacKshr61+Nt+zzL43fMTukP1aey08rnxHpbwAAAP//AwBQSwMEFAAGAAgAAAAhAF6k9QCL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b9swDIbvA/YfDN0bOd0HhkBWUbQbelixAEm7MyfTsVBFMkTWSPbrR9to6qw77caPV+SjVzJXh30oeszkU6zUclGqAqNLtY+7Sj1sv118UQUxxBpCilipI5K6su/fmXVOHWb2SIWMiFSplrlbaU2uxT3QQtpROk3Ke2BJ806npvEOb5N73mNkfVmWnzUeGGON9UV3Gqimiaue/3dondzAR4/bYyfA1lx3XfAOWG5p773LiVLDxT04HzlRW3w9OAxGz2VGODfonrPnoy2Nnqdm4yDgjaywDQRCo18L5g5hsG8NPpM1Pa96dJxyQf63GHipil9AOIBVqofsIbIADrIpGePQEWf7M+UnahGZjBbBVBzDuXYe+492OQokOBcOAyYQaZwjbj0HpB/NGjL/g3g5Jx4ZJt4J57oLKXu6BYY3kOO9Zd1fC777+EQP3TbJIXwx8LxoNi1krMXzk8GngrkT73IYhty0EHdYv2jeNoaHf5x+t11+WpQfSnnJWc3o139s/wAAAP//AwBQSwECLQAUAAYACAAAACEAkleNNXIBAABwBQAAEwAAAAAAAAAAAAAAAAAAAAAAW0NvbnRlbnRfVHlwZXNdLnhtbFBLAQItABQABgAIAAAAIQBQfE7B8wAAAEwCAAALAAAAAAAAAAAAAAAAAKsDAABfcmVscy8ucmVsc1BLAQItABQABgAIAAAAIQCMlsVu8wAAALoCAAAaAAAAAAAAAAAAAAAAAM8GAAB4bC9fcmVscy93b3JrYm9vay54bWwucmVsc1BLAQItABQABgAIAAAAIQBSCYw2ogIAAEkFAAAPAAAAAAAAAAAAAAAAAAIJAAB4bC93b3JrYm9vay54bWxQSwECLQAUAAYACAAAACEAbh/XuuAAAAAAAgAAFAAAAAAAAAAAAAAAAADRCwAAeGwvc2hhcmVkU3RyaW5ncy54bWxQSwECLQAUAAYACAAAACEA52V1uNYAAAC4AQAAIwAAAAAAAAAAAAAAAADjDAAAeGwvd29ya3NoZWV0cy9fcmVscy9zaGVldDEueG1sLnJlbHNQSwECLQAUAAYACAAAACEA3AYHvnoGAADZGwAAEwAAAAAAAAAAAAAAAAD6DQAAeGwvdGhlbWUvdGhlbWUxLnhtbFBLAQItABQABgAIAAAAIQCRY3uaJwMAAAIJAAANAAAAAAAAAAAAAAAAAKUUAAB4bC9zdHlsZXMueG1sUEsBAi0AFAAGAAgAAAAhAJ6ZF5xrBAAAUg0AABgAAAAAAAAAAAAAAAAA9xcAAHhsL3dvcmtzaGVldHMvc2hlZXQxLnhtbFBLAQItABQABgAIAAAAIQCMULy2mgIAAD0HAAAbAAAAAAAAAAAAAAAAAJgcAAB4bC9kcmF3aW5ncy92bWxEcmF3aW5nMS52bWxQSwECLQAUAAYACAAAACEAPZDS+jcBAAAVAgAAEQAAAAAAAAAAAAAAAABrHwAAZG9jUHJvcHMvY29yZS54bWxQSwECLQAUAAYACAAAACEA31I7ohIBAAAtAgAAEAAAAAAAAAAAAAAAAADZIQAAeGwvY29tbWVudHMxLnhtbFBLAQItABQABgAIAAAAIQBepPUAiwEAAA0DAAAQAAAAAAAAAAAAAAAAABkjAABkb2NQcm9wcy9hcHAueG1sUEsFBgAAAAANAA0AWAMAANol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AoQQZwAAAABUFyaWFsBnEAAAAW77yt77yzIO+8sOOCtOOCt+ODg+OCrwlyAAAAAQAJcwAAAAcjAAAAAAEAAAARAAAABBRTeXN0ZW0uRHJhd2luZy5Db2xvcgQAAAAFdAAAABRTeXN0ZW0uRHJhd2luZy5Db2xvcgQAAAAFdmFsdWUFc3RhdGUKa25vd25Db2xvcgRuYW1lAAAAAQkHBwQAAAAAAAAAAAAAAAAAAAAKAXUAAAB0AAAAAAAA//////8CAAAACgF2AAAAdAAAAP//////////AgAAAAoBdwAAAHQAAABOQSL//////wIAAAAKAXgAAAB0AAAA3tzb//////8CAAAACgF5AAAAdAAAAH5pP///////AgAAAAoBegAAAHQAAACMhHL//////wIAAAAKAXsAAAB0AAAAJSHt//////8CAAAACgF8AAAAdAAAADQ7Rv//////AgAAAAoBfQAAAHQAAAB0mMP//////wIAAAAKAX4AAAB0AAAAHpT3//////8CAAAACgF/AAAAdAAAAB6U9///////AgAAAAoBgAAAAHQAAAAlIe3//////wIAAAAKAYEAAAB0AAAAAAAA//////8CAAAACgGCAAAAdAAAAP//////////AgAAAAoBgwAAAHQAAABOQSL//////wIAAAAKAYQAAAB0AAAA3tzb//////8CAAAACgQk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mFAAAADAAAAAwAAAAEJ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wOCwgQ3VsdHVyZT1uZXV0cmFsLCBQdWJsaWNLZXlUb2tlbj0xNmZjMTNhMjI2YzBlOTUxXV0DAAAAkQFTeXN0ZW0uQ29sbGVjdGlvbnMuR2VuZXJpYy5MaXN0YDFbW0FwbG9yaXMuQ2hhcnQuVmFsdWVMaW5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cAAAAJiAAAAAkGAAAACQEAAAAJiQAAAAUoAAAAmwFBcGxvcmlzLkJhc2UuT2JqZWN0cy5EYXRhT2JqZWN0Q29sbGVjdGlvbmAxW1tBcGxvcmlzLkNoYXJ0LkF4aXNCcmVhay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DgsIEN1bHR1cmU9bmV1dHJhbCwgUHVibGljS2V5VG9rZW49MTZmYzEzYTIyNmMwZTk1MV1dAwAAAJEBU3lzdGVtLkNvbGxlY3Rpb25zLkdlbmVyaWMuTGlzdGAxW1tBcGxvcmlzLkNoYXJ0LkF4aXNCcmVh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wOCwgQ3VsdHVyZT1uZXV0cmFsLCBQdWJsaWNLZXlUb2tlbj0xNmZjMTNhMjI2YzBlOTUxXV0DAAAAkAFTeXN0ZW0uQ29sbGVjdGlvbnMuR2VuZXJpYy5MaXN0YDFbW0FwbG9yaXMuQ2hhcnQuVGlja01hcm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ACAC5B5GCSQwGSAAAAIAAAANLWGUTkYJJDCZMAAAC4AQAA/////wEBCgmUAAAAAQAKAAcwAAAAAAEAAAAFAAAABBVTeXN0ZW0uRHJhd2luZy5Qb2ludEYEAAAAAZUAAAAgAAAA0pYaRORgkkMBlgAAACAAAAACAC5B0KWaQwGXAAAAIAAAANKOnEPQpZpDAZgAAAAgAAAA0tYZRNClmkMBmQAAACAAAADSlhpE5OCUQwcxAAAAAAEAAAAFAAAABBdBcGxvcmlzLkJhc2UuQW5jaG9yTW9kZQMAAAAFmgAAABdBcGxvcmlzLkJhc2UuQW5jaG9yTW9kZQEAAAAHdmFsdWVfXwAIAwAAAAQAAAABmwAAAJoAAAAFAAAAAZwAAACaAAAAAwAAAAGdAAAAmgAAAAYAAAABngAAAJoAAAAFAAAADzIAAAAFAAAAAQAAAAABBT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nwAAACAAAADSlhpE5GCSQwGgAAAAmgAAAAQAAAAAAAAAAAAAAAAJoQAAAAAAAAAJogAAAAAAAAWjAAAAKkFwbG9yaXMuQmFzZS5VSS5MYWJlbCtMaW5lQWxpZ25tZW50T3B0aW9ucwEAAAAHdmFsdWVfXwAIAwAAAAAAAAABpAAAAGwAAAAAAAAAAAAAAAGlAAAAFAAAAAAAAAAAAAAAAAAAAAAAAAAAAAAABqYAAAANQ2F0ZWdvcnkgYXhpcwoJpwAAAAmmAAAA5AIAAP////8AAQoJqAAAAAEACgE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GsQAAAAEl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CbEAAAA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E8AAAALAAAAAoJsgAAAAmzAAAACQcAAAAJAQAAAAm0AAAAAT8AAAAvAAAAAbUAAAAgAAAAAgAuQeRgkkMBtgAAACAAAAACAC5B/v8tQQm3AAAAuAEAAP////8AAQoJuAAAAAEACgAHQAAAAAABAAAABQAAAAQVU3lzdGVtLkRyYXdpbmcuUG9pbnRGBAAAAAG5AAAAIAAAAAIALkH8//tAAboAAAAgAAAABAD8QORgkkMBuwAAACAAAAAEAPxA5NAXQwG8AAAAIAAAAAQA/ED+/y1BAb0AAAAgAAAABAD8QPz/+0AHQQAAAAABAAAABQAAAAQXQXBsb3Jpcy5CYXNlLkFuY2hvck1vZGUDAAAAAb4AAACaAAAAAQAAAAG/AAAAmgAAAAgAAAABwAAAAJoAAAACAAAAAcEAAACaAAAABgAAAAHCAAAAmgAAAAcAAAAPQgAAAAUAAAABAAAAAAEBQwAAADMAAAABwwAAACAAAAACAC5B/P/7QAHEAAAAmgAAAAEAAAAAAAAAAAAAAAAJxQAAAAAAAAAJxgAAAAAAAAHHAAAAowAAAAAAAAAByAAAAGwAAAAAAAAAAAAAAAHJAAAAFAAAAAAAAAAAAAAAAAAAAAAAAAAAAAAABsoAAAAKVmFsdWUgYXhpcwoJywAAAAnKAAAA5AIAAP////8AAQoJzAAAAAEACgEBRAAAACQAAAAJzQAAAAYAAAAGAAAAAUUAAAAlAAAACc4AAAACAAAAAgAAAAdGAAAAAAEAAAAAAAAABC5BcGxvcmlzLkNoYXJ0LkNvbHVtbk9yaWVudGVkQ2hhcnQrVW51c2VkU2VyaWVzAgAAAARHAAAAlwFTeXN0ZW0uQ29sbGVjdGlvbnMuR2VuZXJpYy5MaXN0YDFbW0FwbG9yaXMuQ2hhcnQuQ2hhcnREYXRhU2VyaWVzLCBBcGxvcmlzLkNoYXJ0LCBWZXJzaW9uPTQuMi4wLjE5MDgsIEN1bHR1cmU9bmV1dHJhbCwgUHVibGljS2V5VG9rZW49MTZmYzEzYTIyNmMwZTk1MV1dAwAAAAZfaXRlbXMFX3NpemUIX3ZlcnNpb24EAAAfQXBsb3Jpcy5DaGFydC5DaGFydERhdGFTZXJpZXNbXQIAAAAICAnPAAAACwAAABsAAAABSAAAACQAAAAJ0AAAAAsAAAALAAAAAUkAAAAlAAAACdEAAAAAAAAAAAAAAARKAAAAnAFTeXN0ZW0uQ29sbGVjdGlvbnMuR2VuZXJpYy5MaXN0YDFbW0FwbG9yaXMuQ2hhcnQuQW5ub3RhdGlvbkRhdGFTZXJpZXMsIEFwbG9yaXMuQ2hhcnQsIFZlcnNpb249NC4yLjAuMTkwOCwgQ3VsdHVyZT1uZXV0cmFsLCBQdWJsaWNLZXlUb2tlbj0xNmZjMTNhMjI2YzBlOTUxXV0DAAAABl9pdGVtcwVfc2l6ZQhfdmVyc2lvbgQAACRBcGxvcmlzLkNoYXJ0LkFubm90YXRpb25EYXRhU2VyaWVzW10CAAAACAgJ0gAAAAAAAAAAAAAAAUsAAAAkAAAACdMAAAAAAAAAAAAAAAFMAAAAJQAAAAnRAAAAAAAAAAAAAAAETQAAAJcBU3lzdGVtLkNvbGxlY3Rpb25zLkdlbmVyaWMuTGlzdGAxW1tBcGxvcmlzLkNoYXJ0LkFubm90YXRpb25Hcm91cCwgQXBsb3Jpcy5DaGFydCwgVmVyc2lvbj00LjIuMC4xOTA4LCBDdWx0dXJlPW5ldXRyYWwsIFB1YmxpY0tleVRva2VuPTE2ZmMxM2EyMjZjMGU5NTFdXQMAAAAGX2l0ZW1zBV9zaXplCF92ZXJzaW9uBAAAH0FwbG9yaXMuQ2hhcnQuQW5ub3RhdGlvbkdyb3VwW10CAAAACAgJ1AAAAAAAAAAAAAAAAU4AAAAkAAAACdMAAAAAAAAAAAAAAAFPAAAAJQAAAAnRAAAAAAAAAAAAAAAEUAAAAJYBU3lzdGVtLkNvbGxlY3Rpb25zLkdlbmVyaWMuTGlzdGAxW1tBcGxvcmlzLkNoYXJ0LkNoYXJ0RGF0YUdyb3VwLCBBcGxvcmlzLkNoYXJ0LCBWZXJzaW9uPTQuMi4wLjE5MDgsIEN1bHR1cmU9bmV1dHJhbCwgUHVibGljS2V5VG9rZW49MTZmYzEzYTIyNmMwZTk1MV1dAwAAAAZfaXRlbXMFX3NpemUIX3ZlcnNpb24EAAAeQXBsb3Jpcy5DaGFydC5DaGFydERhdGFHcm91cFtdAgAAAAgICdUAAAADAAAAAwAAAAFRAAAAJAAAAAnWAAAAAwAAAAMAAAABUgAAACUAAAAJ0QAAAAAAAAAAAAAABFMAAACQAVN5c3RlbS5Db2xsZWN0aW9ucy5HZW5lcmljLkxpc3RgMVtbQXBsb3Jpcy5DaGFydC5EZWx0YUJhciwgQXBsb3Jpcy5DaGFydCwgVmVyc2lvbj00LjIuMC4xOTA4LCBDdWx0dXJlPW5ldXRyYWwsIFB1YmxpY0tleVRva2VuPTE2ZmMxM2EyMjZjMGU5NTFdXQMAAAAGX2l0ZW1zBV9zaXplCF92ZXJzaW9uBAAAGEFwbG9yaXMuQ2hhcnQuRGVsdGFCYXJbXQIAAAAICAnXAAAAAAAAAAAAAAABVAAAACQAAAAJ0wAAAAAAAAAAAAAAAVUAAAAlAAAACdEAAAAAAAAAAAAAAARWAAAAkwFTeXN0ZW0uQ29sbGVjdGlvbnMuR2VuZXJpYy5MaXN0YDFbW0FwbG9yaXMuQ2hhcnQuRGVsdGFCcmlkZ2UsIEFwbG9yaXMuQ2hhcnQsIFZlcnNpb249NC4yLjAuMTkwOCwgQ3VsdHVyZT1uZXV0cmFsLCBQdWJsaWNLZXlUb2tlbj0xNmZjMTNhMjI2YzBlOTUxXV0DAAAABl9pdGVtcwVfc2l6ZQhfdmVyc2lvbgQAABtBcGxvcmlzLkNoYXJ0LkRlbHRhQnJpZGdlW10CAAAACAgJ2AAAAAAAAAAAAAAAAVcAAAAkAAAACdMAAAAAAAAAAAAAAAFYAAAAJQAAAAnRAAAAAAAAAAAAAAAEWQAAAJMBU3lzdGVtLkNvbGxlY3Rpb25zLkdlbmVyaWMuTGlzdGAxW1tBcGxvcmlzLkNoYXJ0Lkdyb3d0aEFycm93LCBBcGxvcmlzLkNoYXJ0LCBWZXJzaW9uPTQuMi4wLjE5MDgsIEN1bHR1cmU9bmV1dHJhbCwgUHVibGljS2V5VG9rZW49MTZmYzEzYTIyNmMwZTk1MV1dAwAAAAZfaXRlbXMFX3NpemUIX3ZlcnNpb24EAAAbQXBsb3Jpcy5DaGFydC5Hcm93dGhBcnJvd1tdAgAAAAgICdkAAAAAAAAAAAAAAAFaAAAAJAAAAAnTAAAAAAAAAAAAAAABWwAAACUAAAAJ0QAAAAAAAAAAAAAABFwAAACaAVN5c3RlbS5Db2xsZWN0aW9ucy5HZW5lcmljLkxpc3RgMVtbQXBsb3Jpcy5DaGFydC5XYXRlcmZhbGxDb25uZWN0b3IsIEFwbG9yaXMuQ2hhcnQsIFZlcnNpb249NC4yLjAuMTkwOCwgQ3VsdHVyZT1uZXV0cmFsLCBQdWJsaWNLZXlUb2tlbj0xNmZjMTNhMjI2YzBlOTUxXV0DAAAABl9pdGVtcwVfc2l6ZQhfdmVyc2lvbgQAACJBcGxvcmlzLkNoYXJ0LldhdGVyZmFsbENvbm5lY3RvcltdAgAAAAgICdoAAAAAAAAAAAAAAAFdAAAAJAAAAAnTAAAAAAAAAAAAAAABXgAAACUAAAAJ0QAAAAAAAAAAAAAABF8AAACYAVN5c3RlbS5Db2xsZWN0aW9ucy5HZW5lcmljLkxpc3RgMVtbQXBsb3Jpcy5DaGFydC5FbGVtZW50Q29ubmVjdG9yLCBBcGxvcmlzLkNoYXJ0LCBWZXJzaW9uPTQuMi4wLjE5MDgsIEN1bHR1cmU9bmV1dHJhbCwgUHVibGljS2V5VG9rZW49MTZmYzEzYTIyNmMwZTk1MV1dAwAAAAZfaXRlbXMFX3NpemUIX3ZlcnNpb24EAAAgQXBsb3Jpcy5DaGFydC5FbGVtZW50Q29ubmVjdG9yW10CAAAACAgJ2wAAAAAAAAAAAAAAAWAAAAAkAAAACdMAAAAAAAAAAAAAAAFhAAAAJQAAAAnR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cAAAACd0AAAABAAAA/v///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4AAAAJ3wAAAAEAAAAAAAAAAAAAAAAAAAAAAQVvAAAAH0FwbG9yaXMuQmFzZS5PYmplY3RzLlBlcnNJZERhdGECAAAAA21JZAttQ3VzdG9tRGF0YQcCCAMAAAAJ4AAAAAoFcgAAABpBcGxvcmlzLkJhc2UuT2JqZWN0cy5Db2xvcgcAAAASRGF0YU9iamVjdCttUGFyZW50FURhdGFPYmplY3QrbUNvbnRhaW5lcgVtVHlwZQRtUkdCEG1UaGVtZUNvbG9ySW5kZXgMbUF1dG9VcGRhdGVkCW1Nb2RpZmllZAICAAAAAAAICAgBAQMAAAAKCgAAAAAAAAAADQAAAAABAXMAAAByAAAACgoBAAAAAAAAAP////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i4wLjE5MDgsIEN1bHR1cmU9bmV1dHJhbCwgUHVibGljS2V5VG9rZW49MTZmYzEzYTIyNmMwZTk1MV1dAwAAAAZfaXRlbXMFX3NpemUIX3ZlcnNpb24EAAAZQXBsb3Jpcy5DaGFydC5WYWx1ZUxpbmVbXQIAAAAICAnhAAAAAAAAAAAAAAABiAAAACQAAAAJ0wAAAAAAAAAAAAAAAYkAAAAlAAAACdEAAAAAAAAAAAAAAASKAAAAkQFTeXN0ZW0uQ29sbGVjdGlvbnMuR2VuZXJpYy5MaXN0YDFbW0FwbG9yaXMuQ2hhcnQuQXhpc0JyZWFrLCBBcGxvcmlzLkNoYXJ0LCBWZXJzaW9uPTQuMi4wLjE5MDgsIEN1bHR1cmU9bmV1dHJhbCwgUHVibGljS2V5VG9rZW49MTZmYzEzYTIyNmMwZTk1MV1dAwAAAAZfaXRlbXMFX3NpemUIX3ZlcnNpb24EAAAZQXBsb3Jpcy5DaGFydC5BeGlzQnJlYWtbXQIAAAAICAniAAAAAAAAAAAAAAABiwAAACQAAAAJ0wAAAAAAAAAAAAAAAYwAAAAlAAAACdEAAAAAAAAAAAAAAASOAAAAkAFTeXN0ZW0uQ29sbGVjdGlvbnMuR2VuZXJpYy5MaXN0YDFbW0FwbG9yaXMuQ2hhcnQuVGlja01hcmssIEFwbG9yaXMuQ2hhcnQsIFZlcnNpb249NC4yLjAuMTkwOCwgQ3VsdHVyZT1uZXV0cmFsLCBQdWJsaWNLZXlUb2tlbj0xNmZjMTNhMjI2YzBlOTUxXV0DAAAABl9pdGVtcwVfc2l6ZQhfdmVyc2lvbgQAABhBcGxvcmlzLkNoYXJ0LlRpY2tNYXJrW10CAAAACAgJ4wAAAAAAAAAAAAAAAY8AAAAkAAAACdMAAAAAAAAAAAAAAAGQAAAAJQAAAAnRAAAAAAAAAAAAAAABkwAAAGoAAAAKCgAAAEA/CeQAAAAJ5QAAAAEAAAD+////AAAAAAEAAAAAAAAAAAAAAAEAAAAAAAAAAAAAAZQAAABvAAAACeY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AoQQlwAAAACXEAAAAJ5wAAAAEACegAAAABogAAAHIAAAAKCgEAAAAAAAAA/////wABBKc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6QAAAAAAAAAAAAAAAagAAABvAAAACeoAAAAKB6kAAAAAAQAAAAgAAAAEH0FwbG9yaXMuQmFzZS5PYmplY3RzLkRhdGFPYmplY3QDAAAACSkAAAAJKgAAAAkrAAAACSwAAAAJJwAAAAkoAAAACgoHqgAAAAABAAAABAAAAAQcQXBsb3Jpcy5CYXNlLlVJLlZpc3VhbE9iamVjdAMAAAAJLwAAAAkzAAAACgoBqwAAAIcAAAAJ4QAAAAAAAAAAAAAAAawAAAAkAAAACdMAAAAAAAAAAAAAAAGtAAAAJQAAAAnRAAAAAAAAAAAAAAABrgAAAIoAAAAJ4gAAAAAAAAAAAAAAAa8AAAAkAAAACdMAAAAAAAAAAAAAAAGwAAAAJQAAAAnRAAAAAAAAAAAAAAABsgAAAI4AAAAJ6wAAAAAAAAAuAAAAAbMAAAAkAAAACewAAAAAAAAALgAAAAG0AAAAJQAAAAnRAAAAAAAAAAAAAAABtwAAAGoAAAAKCgAAAEA/Ce0AAAAJ7gAAAAEAAAD+////AAAAAAEAAAAAAAAAAAAAAAEAAAAAAAAAAAAAAbgAAABvAAAACe8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AoQQlwAAAACXEAAAAJ8AAAAAEACfEAAAABxgAAAHIAAAAKCgEAAAAAAAAA/////wABAcsAAACnAAAACekAAAAAAAAAAAAAAAHMAAAAbwAAAAnyAAAACgfNAAAAAAEAAAAIAAAABB9BcGxvcmlzLkJhc2UuT2JqZWN0cy5EYXRhT2JqZWN0AwAAAAk5AAAACToAAAAJOwAAAAk8AAAACTcAAAAJOAAAAAoKB84AAAAAAQAAAAQAAAAEHEFwbG9yaXMuQmFzZS5VSS5WaXN1YWxPYmplY3QDAAAACT8AAAAJQwAAAAoKB88AAAAAAQAAABAAAAAEHUFwbG9yaXMuQ2hhcnQuQ2hhcnREYXRhU2VyaWVzAgAAAAnzAAAACfQAAAAJ9QAAAAn2AAAACfcAAAAJ+AAAAAn5AAAACfoAAAAJ+wAAAAn8AAAACf0AAAANBQfQAAAAAAEAAAAQAAAABB9BcGxvcmlzLkJhc2UuT2JqZWN0cy5EYXRhT2JqZWN0AwAAAAnzAAAACfQAAAAJ9QAAAAn2AAAACfcAAAAJ+AAAAAn5AAAACfoAAAAJ+wAAAAn8AAAACf0AAAANBQ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BAAAAAQcQXBsb3Jpcy5DaGFydC5DaGFydERhdGFHcm91cAIAAAAJ/gAAAAn/AAAACQABAAAKB9YAAAAAAQAAAAQAAAAEH0FwbG9yaXMuQmFzZS5PYmplY3RzLkRhdGFPYmplY3QDAAAACf4AAAAJ/wAAAAkAAQAACg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/////wABAd4AAAByAAAACgoBAAAA////AP////8AAQHfAAAAcgAAAAoKAQAAAAAAAAD/////AAEP4AAAAAEAAAAIAAAAAAfhAAAAAAEAAAAAAAAABBdBcGxvcmlzLkNoYXJ0LlZhbHVlTGluZQIAAAAH4gAAAAABAAAAAAAAAAQXQXBsb3Jpcy5DaGFydC5BeGlzQnJlYWsCAAAAB+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////8AAQ/mAAAAAQAAAAg+AAAAAecAAAByAAAACgoAAAAAAAAAAA0AAAAAAQHoAAAAcgAAAAoKAQAAAAAAAAD/////AAEH6QAAAAABAAAAAAAAAAQdQXBsb3Jpcy5CYXNlLk9iamVjdHMuVmFyaWFibGUDAAAAD+oAAAABAAAACAAAAAAH6wAAAAABAAAAEAAAAAQWQXBsb3Jpcy5DaGFydC5UaWNrTWFyawIAAAANEAfsAAAAAAEAAAAQAAAABB9BcGxvcmlzLkJhc2UuT2JqZWN0cy5EYXRhT2JqZWN0AwAAAA0QBe0AAAAaQXBsb3Jpcy5CYXNlLk9iamVjdHMuQ29sb3IHAAAAEkRhdGFPYmplY3QrbVBhcmVudBVEYXRhT2JqZWN0K21Db250YWluZXIFbVR5cGUEbVJHQhBtVGhlbWVDb2xvckluZGV4DG1BdXRvVXBkYXRlZAltTW9kaWZpZWQEAgAAAAAAH0FwbG9yaXMuQmFzZS5PYmplY3RzLkxpbmVGb3JtYXQDAAAACAgIAQEDAAAACbcAAAAKAAAAAAAAAAANAAAAAAAF7gAAABpBcGxvcmlzLkJhc2UuT2JqZWN0cy5Db2xvcgcAAAASRGF0YU9iamVjdCttUGFyZW50FURhdGFPYmplY3QrbUNvbnRhaW5lcgVtVHlwZQRtUkdCEG1UaGVtZUNvbG9ySW5kZXgMbUF1dG9VcGRhdGVkCW1Nb2RpZmllZAQCAAAAAAAfQXBsb3Jpcy5CYXNlLk9iamVjdHMuTGluZUZvcm1hdAMAAAAICAgBAQMAAAAJtwAAAAoBAAAAAAAAAP////8AAQ/vAAAAAQAAAAgAAAAAAfAAAAByAAAACgoAAAAAAAAAAA0AAAAAAQHxAAAAcgAAAAoKAQAAAAAAAAD/////AAEP8gAAAAEAAAAIAAAAAAXz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Dg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BAQEAABMAAAAAAAAAAgAAAP////8JBwAAAAkCAQAABgMBAAAIU2VyaWVzIDEKCgAAAAAAAAAAAAAAAAoKAAkEAQAACQUBAAAJBgEAAAAAAAAAAAAAAAAAAAAAAAAAAAkHAQAACQEAAAAJAQAAAAkIAQAAAfQAAADzAAAACQEAAAABCQEAABMAAAAAAAAAAwAAAP////8JBwAAAAkKAQAABgsBAAAIU2VyaWVzIDIKCgAAAAAAAAAAAAAAAAoKAAkMAQAACQ0BAAAJDgEAAAAAAAAAAQAAAAAAAAAAAAAAAAkPAQAACQEAAAAJAQAAAAkQAQAAAfUAAADzAAAACQEAAAABEQEAABMAAAAAAAAABAAAAP////8JBwAAAAkSAQAABhMBAAAIU2VyaWVzIDMKCgAAAAAAAAAAAAAAAAoKAAkUAQAACRUBAAAJFgEAAAAAAAAAAgAAAAAAAAAAAAAAAAkXAQAACQEAAAAJAQAAAAkYAQAAAfYAAADzAAAACQEAAAABGQEAABMAAAAAAAAABQAAAP////8JBwAAAAkaAQAABhsBAAAIU2VyaWVzIDQKCgAAAAAAAAAAAAAAAAoKAAkcAQAACR0BAAAJHgEAAAAAAAAAAwAAAAAAAAAAAAAAAAkfAQAACQEAAAAJAQAAAAkgAQAAAfcAAADzAAAACQEAAAABIQEAABMAAAAAAAAABgAAAP////8JBwAAAAkiAQAABiMBAAAIU2VyaWVzIDUKCgAAAAAAAAAAAAAAAAoKAAkkAQAACSUBAAAJJgEAAAAAAAAABAAAAAAAAAAAAAAAAAknAQAACQEAAAAJAQAAAAkoAQAAAfgAAADzAAAACQEAAAABKQEAABMAAAAAAAAABwAAAP////8JBwAAAAkqAQAABisBAAAIU2VyaWVzIDYKCgAAAAAAAAAAAAAAAAoKAAksAQAACS0BAAAJLgEAAAAAAAAABQAAAAAAAAAAAAAAAAkvAQAACQEAAAAJAQAAAAkwAQAAAfkAAADzAAAACQEAAAABMQEAABMAAAAAAAAACAAAAP////8JBwAAAAkyAQAABjMBAAAIU2VyaWVzIDcKCgAAAAAAAAAAAAAAAAoKAAk0AQAACTUBAAAJNgEAAAAAAAAABgAAAAAAAAAAAAAAAAk3AQAACQEAAAAJAQAAAAk4AQAAAfoAAADzAAAACQEAAAABOQEAABMAAAAAAAAACQAAAP////8JBwAAAAk6AQAABjsBAAAIU2VyaWVzIDgKCgAAAAAAAAAAAAAAAAoKAAk8AQAACT0BAAAJPgEAAAAAAAAABwAAAAAAAAAAAAAAAAk/AQAACQEAAAAJAQAAAAlAAQAAAfsAAADzAAAACQEAAAABQQEAABMAAAAAAAAACgAAAP////8JBwAAAAlCAQAABkMBAAAIU2VyaWVzIDkKCgAAAAAAAAAAAAAAAAoKAAlEAQAACUUBAAAJRgEAAAAAAAAACAAAAAAAAAAAAAAAAAlHAQAACQEAAAAJAQAAAAlIAQAAAfwAAADzAAAACQEAAAABSQEAABMAAAAAAAAACwAAAP////8JBwAAAAlKAQAABksBAAAJU2VyaWVzIDEwCgoAAAAAAAAAAAAAAAAKCgAJTAEAAAlNAQAACU4BAAAAAAAAAAkAAAAAAAAAAAAAAAAJTwEAAAkBAAAACQEAAAAJUAEAAAH9AAAA8wAAAAkBAAAAAVEBAAATAAAAAAAAAAwAAAD/////CQcAAAAJUgEAAAZTAQAACVNlcmllcyAxMQoKAAAAAAAAAAAAAAAACgoACVQBAAAJVQEAAAlWAQAAAAAAAAAKAAAAAAAAAAAAAAAACVcBAAAJAQAAAAkBAAAACVgBAAAF/g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ZZAQAAD0Z1bmN0aW9uYWwgQXJlYQAFWgEAAB5BcGxvcmlzLkNoYXJ0LkNoYXJ0R3JvdXBBbmNob3IBAAAAB3ZhbHVlX18ACAIAAAAAAAAACgAAAAABAAAAAQAAAAlbAQAACVwBAAAJXQEAAAoJBwAAAAleAQAACQEAAAAJAQAAAAlfAQAAAf8AAAD+AAAACQEAAAAGYAEAAARSb2xlAAFhAQAAWgEAAAAAAAAKAAAAAAEAAAABAAAACWIBAAAJYwEAAAlkAQAACgkHAAAACWUBAAAJAQAAAAkBAAAACWYBAAABAAEAAP4AAAAJAQAAAAZnAQAAEVllYXJzIGluIFBvc2l0aW9uAAFoAQAAWgEAAAAAAAAKAAAAAAEAAAABAAAACWkBAAAJagEAAAlrAQAACgkHAAAACWwBAAAJAQAAAAkBAAAACW0BAAAFAgEAAKIBQXBsb3Jpcy5CYXNlLk9iamVjdHMuRGF0YU9iamVjdENvbGxlY3Rpb25gMVtbQXBsb3Jpcy5DaGFydC5DaGFydERhdGFFbGVtZW50LCBBcGxvcmlzLkNoYXJ0LCBWZXJzaW9uPTQuMi4wLjE5MDg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i4wLjE5MDgsIEN1bHR1cmU9bmV1dHJhbCwgUHVibGljS2V5VG9rZW49MTZmYzEzYTIyNmMwZTk1MV1dAwAAAJgBU3lzdGVtLkNvbGxlY3Rpb25zLkdlbmVyaWMuTGlzdGAxW1tBcGxvcmlzLkNoYXJ0LkNoYXJ0RGF0YU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bgEAAAlvAQAACfMAAAAJAQAAAAlwAQAABQQBAAAcQXBsb3Jpcy5DaGFydC5Db25uZWN0ZWRMYWJlbCU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0xhYmVsK21DdXN0b21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CAAAAClgCAAAFcQEAACtBcGxvcmlzLkNoYXJ0LkNvbm5lY3RlZExhYmVsK2VDb25uZWN0b3JNb2RlAQAAAAd2YWx1ZV9fAAgCAAAAAQAAAAVyAQAANkFwbG9yaXMuQ2hhcnQuQ29ubmVjdGVkTGFiZWwrZUFuZ2xlZENvbm5lY3RvckRpcmVjdGlvbgEAAAAHdmFsdWVfXwAIAgAAAAAAAAABcwEAABQAAABHUuND/v9dQQTe70JFzoFBBXQBAAAtQXBsb3Jpcy5DaGFydC5Db25uZWN0ZWRMYWJlbCtlVGFyZ2V0QXJlYVNoYXBlAQAAAAd2YWx1ZV9fAAgCAAAAAAAAAAAAEEEBAXUBAAAgAAAA5KQRRCLnr0EBdgEAAJoAAAAEAAAAAAAAAAAAAAAACXcBAAAAAAAACXgBAAAAAAABeQEAAKMAAAAAAAAAAXoBAABsAAAAAABkQgAAiEEBewEAABQAAAAAAAAAAAAAAAAAAAAAAAAAXrrZPwkDAQAACgl8AQAABn0BAAAAIAMAAP////8AAQoJfgEAAAEACgAHBQEAAAABAAAAAgAAAAQVU3lzdGVtLkRyYXdpbmcuUG9pbnRGBAAAAAF/AQAAIAAAAOSkEUQi569BAYABAAAgAAAA0p4uQhLqRkIHBgEAAAABAAAAAgAAAAQXQXBsb3Jpcy5CYXNlLkFuY2hvck1vZGUDAAAAAYEBAACaAAAABAAAAAGCAQAAmgAAAAIAAAABBwEAACQAAAAJgwEAAAEAAAABAAAAAQgBAAAlAAAACYQBAAABAAAAAQAAAAEKAQAAAgEAAAoJhQEAAAmGAQAACfQAAAAJAQAAAAmHAQAAAQwBAAAEAQAAClgCAAABiAEAAHEBAAABAAAAAYkBAAByAQAAAAAAAAGKAQAAFAAAAEdS40MiZxBCBN7vQj+toEIBiwEAAHQBAAAAAAAAAAAQQQEBjAEAACAAAADkpBFEMIqYQgGNAQAAmgAAAAQAAAAAAAAAAAAAAAAJjgEAAAAAAAAJjwEAAAAAAAGQAQAAowAAAAAAAAABkQEAAGwAAAAAAGRCAACIQQGSAQAAFAAAAAAAAAAAAAAAAAAAAAAAAABeutk/CQsBAAAKCZMBAAAJfQEAACADAAD/////AAEKCZQBAAABAAoABw0BAAAAAQAAAAIAAAAEFVN5c3RlbS5EcmF3aW5nLlBvaW50RgQAAAABlQEAACAAAADkpBFEMIqYQgGWAQAAIAAAANKeLkKWg9NCBw4BAAAAAQAAAAIAAAAEF0FwbG9yaXMuQmFzZS5BbmNob3JNb2RlAwAAAAGXAQAAmgAAAAQAAAABmAEAAJoAAAACAAAAAQ8BAAAkAAAACZkBAAABAAAAAQAAAAEQAQAAJQAAAAmaAQAAAQAAAAEAAAABEgEAAAIBAAAKCZsBAAAJnAEAAAn1AAAACQEAAAAJnQEAAAEUAQAABAEAAApYAgAAAZ4BAABxAQAAAQAAAAGfAQAAcgEAAAAAAAABoAEAABQAAABHUuND0OD0QgTe70JksQ5CAaEBAAB0AQAAAAAAAAAAEEEBAaIBAAAgAAAA5KQRRJRGDEMBowEAAJoAAAAEAAAAAAAAAAAAAAAACaQBAAAAAAAACaUBAAAAAAABpgEAAKMAAAAAAAAAAacBAABsAAAAAABkQgAAiEEBqAEAABQAAAAAAAAAAAAAAAAAAAAAAAAAXrrZPwkTAQAACgmpAQAACX0BAAAgAwAA/////wABCgmqAQAAAQAKAAcVAQAAAAEAAAACAAAABBVTeXN0ZW0uRHJhd2luZy5Qb2ludEYEAAAAAasBAAAgAAAA5KQRRJRGDEMBrAEAACAAAADSni5CKuoEQwcWAQAAAAEAAAACAAAABBdBcGxvcmlzLkJhc2UuQW5jaG9yTW9kZQMAAAABrQEAAJoAAAAEAAAAAa4BAACaAAAAAgAAAAEXAQAAJAAAAAmvAQAAAQAAAAEAAAABGAEAACUAAAAJsAEAAAEAAAABAAAAARoBAAACAQAACgmxAQAACbIBAAAJ9gAAAAkBAAAACbMBAAABHAEAAAQBAAAKWAIAAAG0AQAAcQEAAAEAAAABtQEAAHIBAAAAAAAAAbYBAAAUAAAAR1LjQ8EcJEME3u9CrNoHQgG3AQAAdAEAAAAAAAAAABBBAQG4AQAAIAAAAOSkEUQWGDVDAbkBAACaAAAABAAAAAAAAAAAAAAAAAm6AQAAAAAAAAm7AQAAAAAAAbwBAACjAAAAAAAAAAG9AQAAbAAAAAAAZEIAAIhBAb4BAAAUAAAAAAAAAAAAAAAAAAAAAAAAAF662T8JGwEAAAoJvwEAAAl9AQAAIAMAAP////8AAQoJwAEAAAEACgAHHQEAAAABAAAAAgAAAAQVU3lzdGVtLkRyYXdpbmcuUG9pbnRGBAAAAAHBAQAAIAAAAOSkEUQWGDVDAcIBAAAgAAAA0p4uQtzsMEMHHgEAAAABAAAAAgAAAAQXQXBsb3Jpcy5CYXNlLkFuY2hvck1vZGUDAAAAAcMBAACaAAAABAAAAAHEAQAAmgAAAAIAAAABHwEAACQAAAAJxQEAAAEAAAABAAAAASABAAAlAAAACcYBAAABAAAAAQAAAAEiAQAAAgEAAAoJxwEAAAnIAQAACfcAAAAJAQAAAAnJAQAAASQBAAAEAQAAClgCAAABygEAAHEBAAABAAAAAcsBAAByAQAAAAAAAAHMAQAAFAAAAEdS40NsE0xDBN7vQnDzGEIBzQEAAHQBAAAAAAAAAAAQQQEBzgEAACAAAADkpBFE2jFfQwHPAQAAmgAAAAQAAAAAAAAAAAAAAAAJ0AEAAAAAAAAJ0QEAAAAAAAHSAQAAowAAAAAAAAAB0wEAAGwAAAAAAGRCAACIQQHUAQAAFAAAAAAAAAAAAAAAAAAAAAAAAABeutk/CSMBAAAKCdUBAAAJfQEAACADAAD/////AAEKCdYBAAABAAoAByUBAAAAAQAAAAIAAAAEFVN5c3RlbS5EcmF3aW5nLlBvaW50RgQAAAAB1wEAACAAAADkpBFE2jFfQwHYAQAAIAAAANKeLkKWuFxDByYBAAAAAQAAAAIAAAAEF0FwbG9yaXMuQmFzZS5BbmNob3JNb2RlAwAAAAHZAQAAmgAAAAQAAAAB2gEAAJoAAAACAAAAAScBAAAkAAAACdsBAAABAAAAAQAAAAEoAQAAJQAAAAncAQAAAQAAAAEAAAABKgEAAAIBAAAKCd0BAAAJ3gEAAAn4AAAACQEAAAAJ3wEAAAEsAQAABAEAAApYAgAAAeABAABxAQAAAQAAAAHhAQAAcgEAAAAAAAAB4gEAABQAAABHUuNDSFB4QwTe70IAa2FBAeMBAAB0AQAAAAAAAAAAEEEBAeQBAAAgAAAA5KQRRKBbf0MB5QEAAJoAAAAEAAAAAAAAAAAAAAAACeYBAAAAAAAACecBAAAAAAAB6AEAAKMAAAAAAAAAAekBAABsAAAAAABkQgAAiEEB6gEAABQAAAAAAAAAAAAAAAAAAAAAAAAAXrrZPwkrAQAACgnrAQAACX0BAAAgAwAA/////wABCgnsAQAAAQAKAActAQAAAAEAAAACAAAABBVTeXN0ZW0uRHJhd2luZy5Qb2ludEYEAAAAAe0BAAAgAAAA5KQRRKBbf0MB7gEAACAAAADSni5Cws+CQwcuAQAAAAEAAAACAAAABBdBcGxvcmlzLkJhc2UuQW5jaG9yTW9kZQMAAAAB7wEAAJoAAAAEAAAAAfABAACaAAAAAgAAAAEvAQAAJAAAAAnxAQAAAQAAAAEAAAABMAEAACUAAAAJ8gEAAAEAAAABAAAAATIBAAACAQAACgnzAQAACfQBAAAJ+QAAAAkBAAAACfUBAAABNAEAAAQBAAAKWAIAAAH2AQAAcQEAAAEAAAAB9wEAAHIBAAAAAAAAAfgBAAAUAAAAR1LjQ3wzhkME3u9CgNaqQQH5AQAAdAEAAAAAAAAAABBBAQH6AQAAIAAAAOSkEUQwiotDAfsBAACaAAAABAAAAAAAAAAAAAAAAAn8AQAAAAAAAAn9AQAAAAAAAf4BAACjAAAAAAAAAAH/AQAAbAAAAAAAZEIAAIhBAQACAAAUAAAAAAAAAAAAAAAAAAAAAAAAAF662T8JMwEAAAoJAQIAAAl9AQAAIAMAAP////8AAQoJAgIAAAEACgAHNQEAAAABAAAAAgAAAAQVU3lzdGVtLkRyYXdpbmcuUG9pbnRGBAAAAAEDAgAAIAAAAOSkEUQwiotDAQQCAAAgAAAA0p4uQuRgkkMHNgEAAAABAAAAAgAAAAQXQXBsb3Jpcy5CYXNlLkFuY2hvck1vZGUDAAAAAQUCAACaAAAABAAAAAEGAgAAmgAAAAIAAAABNwEAACQAAAAJBwIAAAEAAAABAAAAATgBAAAlAAAACQgCAAABAAAAAQAAAAE6AQAAAgEAAAoJCQIAAAkKAgAACfoAAAAJAQAAAAkLAgAAATwBAAAEAQAAClgCAAABDAIAAHEBAAABAAAAAQ0CAAByAQAAAAAAAAEOAgAAFAAAAEdS40PkYJJDBN7vQgAAAAABDwIAAHQBAAAAAAAAAAAQQQEBEAIAACAAAADkpBFE5GCSQwERAgAAmgAAAAQAAAAAAAAAAAAAAAAJEgIAAAAAAAAJEwIAAAAAAAEUAgAAowAAAAAAAAABFQIAAGwAAAAAAGRCAACIQQEWAgAAFAAAAAAAAAAAAAAAAAAAAAAAAABeutk/CTsBAAAKCRcCAAAJfQEAACADAAD/////AAEKCRgCAAABAAoABz0BAAAAAQAAAAIAAAAEFVN5c3RlbS5EcmF3aW5nLlBvaW50RgQAAAABGQIAACAAAADkpBFE5GCSQwEaAgAAIAAAANKeLkLkYJJDBz4BAAAAAQAAAAIAAAAEF0FwbG9yaXMuQmFzZS5BbmNob3JNb2RlAwAAAAEbAgAAmgAAAAQAAAABHAIAAJoAAAACAAAAAT8BAAAkAAAACR0CAAABAAAAAQAAAAFAAQAAJQAAAAkeAgAAAQAAAAEAAAABQgEAAAIBAAAKCR8CAAAJIAIAAAn7AAAACQEAAAAJIQIAAAFEAQAABAEAAApYAgAAASICAABxAQAAAQAAAAEjAgAAcgEAAAAAAAABJAIAABQAAABHUuND5GCSQwTe70IAAAAAASUCAAB0AQAAAAAAAAAAEEEBASYCAAAgAAAA5KQRRORgkkMBJwIAAJoAAAAEAAAAAAAAAAAAAAAACSgCAAAAAAAACSkCAAAAAAABKgIAAKMAAAAAAAAAASsCAABsAAAAAABkQgAAiEEBLAIAABQAAAAAAAAAAAAAAAAAAAAAAAAAXrrZPwlDAQAACgktAgAACX0BAAAgAwAA/////wABCgkuAgAAAQAKAAdFAQAAAAEAAAACAAAABBVTeXN0ZW0uRHJhd2luZy5Qb2ludEYEAAAAAS8CAAAgAAAA5KQRRORgkkMBMAIAACAAAADSni5C5GCSQwdGAQAAAAEAAAACAAAABBdBcGxvcmlzLkJhc2UuQW5jaG9yTW9kZQMAAAABMQIAAJoAAAAEAAAAATICAACaAAAAAgAAAAFHAQAAJAAAAAkzAgAAAQAAAAEAAAABSAEAACUAAAAJNAIAAAEAAAABAAAAAUoBAAACAQAACgk1AgAACTYCAAAJ/AAAAAkBAAAACTcCAAABTAEAAAQBAAAKWAIAAAE4AgAAcQEAAAEAAAABOQIAAHIBAAAAAAAAAToCAAAUAAAAR1LjQ+RgkkME3u9CAAAAAAE7AgAAdAEAAAAAAAAAABBBAQE8AgAAIAAAAOSkEUTkYJJDAT0CAACaAAAABAAAAAAAAAAAAAAAAAk+AgAAAAAAAAk/AgAAAAAAAUACAACjAAAAAAAAAAFBAgAAbAAAAAAAgkIAAIhBAUICAAAUAAAAAAAAAAAAAAAAAAAAAAAAAF662T8JSwEAAAoJQwIAAAl9AQAAIAMAAP////8AAQoJRAIAAAEACgAHTQEAAAABAAAAAgAAAAQVU3lzdGVtLkRyYXdpbmcuUG9pbnRGBAAAAAFFAgAAIAAAAOSkEUTkYJJDAUYCAAAgAAAA0p4uQuRgkkMHTgEAAAABAAAAAgAAAAQXQXBsb3Jpcy5CYXNlLkFuY2hvck1vZGUDAAAAAUcCAACaAAAABAAAAAFIAgAAmgAAAAIAAAABTwEAACQAAAAJSQIAAAEAAAABAAAAAVABAAAlAAAACUoCAAABAAAAAQAAAAFSAQAAAgEAAAoJSwIAAAlMAgAACf0AAAAJAQAAAAlNAgAAAVQBAAAEAQAAClgCAAABTgIAAHEBAAABAAAAAU8CAAByAQAAAAAAAAFQAgAAFAAAAEdS40PkYJJDBN7vQgAAAAABUQIAAHQBAAAAAAAAAAAQQQEBUgIAACAAAADkpBFE5GCSQwFTAgAAmgAAAAQAAAAAAAAAAAAAAAAJVAIAAAAAAAAJVQIAAAAAAAFWAgAAowAAAAAAAAABVwIAAGwAAAAAAIJCAACIQQFYAgAAFAAAAAAAAAAAAAAAAAAAAAAAAABeutk/CVMBAAAKCVkCAAAJfQEAACADAAD/////AAEKCVoCAAABAAoAB1UBAAAAAQAAAAIAAAAEFVN5c3RlbS5EcmF3aW5nLlBvaW50RgQAAAABWwIAACAAAADkpBFE5GCSQwFcAgAAIAAAANKeLkLkYJJDB1YBAAAAAQAAAAIAAAAEF0FwbG9yaXMuQmFzZS5BbmNob3JNb2RlAwAAAAFdAgAAmgAAAAQAAAABXgIAAJoAAAACAAAAAVcBAAAkAAAACV8CAAABAAAAAQAAAAFYAQAAJQAAAAlgAgAAAQAAAAEAAAAPWwEAAAEAAAAIAAAAAAdcAQAAAAEAAAABAAAABBVBcGxvcmlzLkJhc2UuVUkuTGFiZWwDAAAACWECAAABXQEAADMAAAABYgIAACAAAABtPt9C5OCUQwFjAgAAmgAAAAMAAAAAAAAAAAAAAAAJZAIAAAAAAAAJZQIAAAAAAAFmAgAAowAAAAAAAAABZwIAAGwAAAAAAL5CAABwQQFoAgAAFAAAADuxk0Kd2JRDehuYQomdOEESg74/CVkBAAAKCWkCAAAJfQEAACADAAD/////AQEKCWoCAAABAAoAAV4BAAAkAAAACdMAAAAAAAAAAAAAAAFfAQAAJQAAAAlrAgAAAgAAAAIAAAAPYgEAAAEAAAAIAAAAAAdjAQAAAAEAAAABAAAABBVBcGxvcmlzLkJhc2UuVUkuTGFiZWwDAAAACWwCAAABZAEAADMAAAABbQIAACAAAADSjpxD5OCUQwFuAgAAmgAAAAMAAAAAAAAAAAAAAAAJbwIAAAAAAAAJcAIAAAAAAAFxAgAAowAAAAAAAAABcgIAAGwAAAAAAOBBAABwQQFzAgAAFAAAAHZilkOd2JRDJx/EQYmdOEESg74/CWABAAAKCXQCAAAJfQEAACADAAD/////AQEKCXUCAAABAAoAAWUBAAAkAAAACdMAAAAAAAAAAAAAAAFmAQAAJQAAAAl2AgAAAgAAAAIAAAAPaQEAAAEAAAAIAAAAAAdqAQAAAAEAAAABAAAABBVBcGxvcmlzLkJhc2UuVUkuTGFiZWwDAAAACXcCAAABawEAADMAAAABeAIAACAAAAAEpwBE5OCUQwF5AgAAmgAAAAMAAAAAAAAAAAAAAAAJegIAAAAAAAAJewIAAAAAAAF8AgAAowAAAAAAAAABfQIAAGwAAAAAAMxCAABwQQF+AgAAFAAAAE7s7EOd2JRDZ+CiQomdOEESg74/CWcBAAAKCX8CAAAJfQEAACADAAD/////AQEKCYACAAABAAoAAWwBAAAkAAAACdMAAAAAAAAAAAAAAAFtAQAAJQAAAAmBAgAAAgAAAAIAAAAEbgEAAJgBU3lzdGVtLkNvbGxlY3Rpb25zLkdlbmVyaWMuTGlzdGAxW1tBcGxvcmlzLkNoYXJ0LkNoYXJ0RGF0YUVsZW1lbnQsIEFwbG9yaXMuQ2hhcnQsIFZlcnNpb249NC4yLjAuMTkwOCwgQ3VsdHVyZT1uZXV0cmFsLCBQdWJsaWNLZXlUb2tlbj0xNmZjMTNhMjI2YzBlOTUxXV0DAAAABl9pdGVtcwVfc2l6ZQhfdmVyc2lvbgQAACBBcGxvcmlzLkNoYXJ0LkNoYXJ0RGF0YUVsZW1lbnRbXQIAAAAICAmCAgAAAwAAAAMAAAABbwEAACQAAAAJgwIAAAMAAAADAAAAAXABAAAlAAAACdEAAAAAAAAAAAAAAAV3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8wAAAAoAAAAAAChBCXAAAAAJcQAAAAmEAgAAAQAJhQIAAAF4AQAAcgAAAAoKAAAAAP///wAOAAAAAAEBfAEAAKcAAAAJhgIAAAEAAAABAAAAAX4BAABvAAAACYcCAAAKB4MBAAAAAQAAAAQAAAAEH0FwbG9yaXMuQmFzZS5PYmplY3RzLkRhdGFPYmplY3QDAAAACQIBAAANAweEAQAAAAEAAAAEAAAABBxBcGxvcmlzLkJhc2UuVUkuVmlzdWFsT2JqZWN0AwAAAAkEAQAADQMBhQEAAG4BAAAJiAIAAAMAAAADAAAAAYYBAAAkAAAACYkCAAADAAAAAwAAAAGHAQAAJQAAAAnRAAAAAAAAAAAAAAAFj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QAAAAKAAAAAAAoQQlwAAAACXEAAAAJigIAAAEACYsCAAABjwEAAHIAAAAKCgAAAAD///8ADgAAAAABAZMBAACnAAAACYwCAAABAAAAAQAAAAGUAQAAbwAAAAmNAgAACgeZAQAAAAEAAAAEAAAABB9BcGxvcmlzLkJhc2UuT2JqZWN0cy5EYXRhT2JqZWN0AwAAAAkKAQAADQMHmgEAAAABAAAABAAAAAQcQXBsb3Jpcy5CYXNlLlVJLlZpc3VhbE9iamVjdAMAAAAJDAEAAA0DAZsBAABuAQAACY4CAAADAAAAAwAAAAGcAQAAJAAAAAmPAgAAAwAAAAMAAAABnQEAACUAAAAJ0QAAAAAAAAAAAAAABaQ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1AAAACgAAAAAAKEEJcAAAAAlxAAAACZACAAABAAmRAgAAAaUBAAByAAAACgoAAAAA////AA4AAAAAAQGpAQAApwAAAAmSAgAAAQAAAAEAAAABqgEAAG8AAAAJkwIAAAoHrwEAAAABAAAABAAAAAQfQXBsb3Jpcy5CYXNlLk9iamVjdHMuRGF0YU9iamVjdAMAAAAJEgEAAA0DB7ABAAAAAQAAAAQAAAAEHEFwbG9yaXMuQmFzZS5VSS5WaXN1YWxPYmplY3QDAAAACRQBAAANAwGxAQAAbgEAAAmUAgAAAwAAAAMAAAABsgEAACQAAAAJlQIAAAMAAAADAAAAAbMBAAAlAAAACdEAAAAAAAAAAAAAAAW6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gAAAAoAAAAAAChBCXAAAAAJcQAAAAmWAgAAAQAJlwIAAAG7AQAAcgAAAAoKAAAAAP///wAOAAAAAAEBvwEAAKcAAAAJmAIAAAEAAAABAAAAAcABAABvAAAACZkCAAAKB8UBAAAAAQAAAAQAAAAEH0FwbG9yaXMuQmFzZS5PYmplY3RzLkRhdGFPYmplY3QDAAAACRoBAAANAwfGAQAAAAEAAAAEAAAABBxBcGxvcmlzLkJhc2UuVUkuVmlzdWFsT2JqZWN0AwAAAAkcAQAADQMBxwEAAG4BAAAJmgIAAAMAAAADAAAAAcgBAAAkAAAACZsCAAADAAAAAwAAAAHJAQAAJQAAAAnRAAAAAAAAAAAAAAAF0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cAAAAKAAAAAAAoQQlwAAAACXEAAAAJnAIAAAEACZ0CAAAB0QEAAHIAAAAKCgAAAAD///8ADgAAAAABAdUBAACnAAAACZ4CAAABAAAAAQAAAAHWAQAAbwAAAAmfAgAACgfbAQAAAAEAAAAEAAAABB9BcGxvcmlzLkJhc2UuT2JqZWN0cy5EYXRhT2JqZWN0AwAAAAkiAQAADQMH3AEAAAABAAAABAAAAAQcQXBsb3Jpcy5CYXNlLlVJLlZpc3VhbE9iamVjdAMAAAAJJAEAAA0DAd0BAABuAQAACaACAAADAAAAAwAAAAHeAQAAJAAAAAmhAgAAAwAAAAMAAAAB3wEAACUAAAAJ0QAAAAAAAAAAAAAABeY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4AAAACgAAAAAAKEEJcAAAAAlxAAAACaICAAABAAmjAgAAAecBAAByAAAACgoAAAAA////AA4AAAAAAQHrAQAApwAAAAmkAgAAAQAAAAEAAAAB7AEAAG8AAAAJpQIAAAoH8QEAAAABAAAABAAAAAQfQXBsb3Jpcy5CYXNlLk9iamVjdHMuRGF0YU9iamVjdAMAAAAJKgEAAA0DB/IBAAAAAQAAAAQAAAAEHEFwbG9yaXMuQmFzZS5VSS5WaXN1YWxPYmplY3QDAAAACSwBAAANAwHzAQAAbgEAAAmmAgAAAwAAAAMAAAAB9AEAACQAAAAJpwIAAAMAAAADAAAAAfUBAAAlAAAACdEAAAAAAAAAAAAAAAX8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+QAAAAoAAAAAAChBCXAAAAAJcQAAAAmoAgAAAQAJqQIAAAH9AQAAcgAAAAoKAAAAAP///wAOAAAAAAEBAQIAAKcAAAAJqgIAAAEAAAABAAAAAQICAABvAAAACasCAAAKBwcCAAAAAQAAAAQAAAAEH0FwbG9yaXMuQmFzZS5PYmplY3RzLkRhdGFPYmplY3QDAAAACTIBAAANAwcIAgAAAAEAAAAEAAAABBxBcGxvcmlzLkJhc2UuVUkuVmlzdWFsT2JqZWN0AwAAAAk0AQAADQMBCQIAAG4BAAAJrAIAAAMAAAADAAAAAQoCAAAkAAAACa0CAAADAAAAAwAAAAELAgAAJQAAAAnRAAAAAAAAAAAAAAAFE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oAAAAKAAAAAAAoQQlwAAAACXEAAAAJrgIAAAEACa8CAAABEwIAAHIAAAAKCgAAAAD///8ADgAAAAABARcCAACnAAAACbACAAABAAAAAQAAAAEYAgAAbwAAAAmxAgAACgcdAgAAAAEAAAAEAAAABB9BcGxvcmlzLkJhc2UuT2JqZWN0cy5EYXRhT2JqZWN0AwAAAAk6AQAADQMHHgIAAAABAAAABAAAAAQcQXBsb3Jpcy5CYXNlLlVJLlZpc3VhbE9iamVjdAMAAAAJPAEAAA0DAR8CAABuAQAACbICAAADAAAAAwAAAAEgAgAAJAAAAAmzAgAAAwAAAAMAAAABIQIAACUAAAAJ0QAAAAAAAAAAAAAABSg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7AAAACgAAAAAAKEEJcAAAAAlxAAAACbQCAAABAAm1AgAAASkCAAByAAAACgoAAAAA////AA4AAAAAAQEtAgAApwAAAAm2AgAAAQAAAAEAAAABLgIAAG8AAAAJtwIAAAoHMwIAAAABAAAABAAAAAQfQXBsb3Jpcy5CYXNlLk9iamVjdHMuRGF0YU9iamVjdAMAAAAJQgEAAA0DBzQCAAAAAQAAAAQAAAAEHEFwbG9yaXMuQmFzZS5VSS5WaXN1YWxPYmplY3QDAAAACUQBAAANAwE1AgAAbgEAAAm4AgAAAwAAAAMAAAABNgIAACQAAAAJuQIAAAMAAAADAAAAATcCAAAlAAAACdEAAAAAAAAAAAAAAAU+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/AAAAAoAAAAAAChBCXAAAAAJcQAAAAm6AgAAAQAJuwIAAAE/AgAAcgAAAAoKAAAAAP///wAOAAAAAAEBQwIAAKcAAAAJvAIAAAEAAAABAAAAAUQCAABvAAAACb0CAAAKB0kCAAAAAQAAAAQAAAAEH0FwbG9yaXMuQmFzZS5PYmplY3RzLkRhdGFPYmplY3QDAAAACUoBAAANAwdKAgAAAAEAAAAEAAAABBxBcGxvcmlzLkJhc2UuVUkuVmlzdWFsT2JqZWN0AwAAAAlMAQAADQMBSwIAAG4BAAAJvgIAAAMAAAADAAAAAUwCAAAkAAAACb8CAAADAAAAAwAAAAFNAgAAJQAAAAnRAAAAAAAAAAAAAAAFV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0AAAAKAAAAAAAoQQlwAAAACXEAAAAJwAIAAAEACcECAAABVQIAAHIAAAAKCgAAAAD///8ADgAAAAABAVkCAACnAAAACcICAAABAAAAAQAAAAFaAgAAbwAAAAnDAgAACgdfAgAAAAEAAAAEAAAABB9BcGxvcmlzLkJhc2UuT2JqZWN0cy5EYXRhT2JqZWN0AwAAAAlSAQAADQMHYAIAAAABAAAABAAAAAQcQXBsb3Jpcy5CYXNlLlVJLlZpc3VhbE9iamVjdAMAAAAJVAEAAA0DAWECAAAzAAAAAcQCAAAgAAAAbT7fQvz/+0ABxQIAAJoAAAABAAAAAAAAAAAAAAAACcYCAAAAAAAACccCAAAAAAAByAIAAKMAAAAAAAAAAckCAABsAAAAAAAcQgAAiEEBygIAABQAAAAAAAAAAAAAAAAAAAAAAAAAXrrZPwbLAgAABDEwMCUKCcwCAAAJfQEAADQDAAD/////AAEKCc0CAAABAAoAAWQCAAAiAAAACgoAAAAAAChBCXAAAAAJcQAAAAnOAgAAAAAJzwIAAAFlAgAAcgAAAAoKAAAAAP///wAOAAAAAAEBaQIAAKcAAAAJ0AIAAAEAAAABAAAAAWoCAABvAAAACdECAAAKB2sCAAAAAQAAAAQAAAAEHEFwbG9yaXMuQmFzZS5VSS5WaXN1YWxPYmplY3QDAAAACV0BAAAJYQIAAAoKAWwCAAAzAAAAAdICAAAgAAAA0o6cQxg4/EAB0wIAAJoAAAABAAAAAAAAAAAAAAAACdQCAAAAAAAACdUCAAAAAAAB1gIAAKMAAAAAAAAAAdcCAABsAAAAAAAcQgAAiEEB2AIAABQAAAAAAAAAAAAAAAAAAAAAAAAAXrrZPwbZAgAABDEwMCUKCdoCAAAJfQEAADQDAAD/////AAEKCdsCAAABAAoAAW8CAAAiAAAACgoAAAAAAChBCXAAAAAJcQAAAAncAgAAAAAJ3QIAAAFwAgAAcgAAAAoKAAAAAP///wAOAAAAAAEBdAIAAKcAAAAJ3gIAAAEAAAABAAAAAXUCAABvAAAACd8CAAAKB3YCAAAAAQAAAAQAAAAEHEFwbG9yaXMuQmFzZS5VSS5WaXN1YWxPYmplY3QDAAAACWQBAAAJbAIAAAoKAXcCAAAzAAAAAeACAAAgAAAABKcARPz/+0AB4QIAAJoAAAABAAAAAAAAAAAAAAAACeICAAAAAAAACeMCAAAAAAAB5AIAAKMAAAAAAAAAAeUCAABsAAAAAAAcQgAAiEEB5gIAABQAAAAAAAAAAAAAAAAAAAAAAAAAXrrZPwbnAgAABDEwMCUKCegCAAAJfQEAADQDAAD/////AAEKCekCAAABAAoAAXoCAAAiAAAACgoAAAAAAChBCXAAAAAJcQAAAAnqAgAAAAAJ6wIAAAF7AgAAcgAAAAoKAAAAAP///wAOAAAAAAEBfwIAAKcAAAAJ7AIAAAEAAAABAAAAAYACAABvAAAACe0CAAAKB4ECAAAAAQAAAAQAAAAEHEFwbG9yaXMuQmFzZS5VSS5WaXN1YWxPYmplY3QDAAAACWsBAAAJdwIAAAoKB4ICAAAAAQAAAAQAAAAEHkFwbG9yaXMuQ2hhcnQuQ2hhcnREYXRhRWxlbWVudAIAAAAJ7gIAAAnvAgAACfACAAAKB4MCAAAAAQAAAAQAAAAEH0FwbG9yaXMuQmFzZS5PYmplY3RzLkRhdGFPYmplY3QDAAAACe4CAAAJ7wIAAAnwAgAACgGEAgAAcgAAAAoKAAAAAAAAAAANAAAAAAEBhQIAAHIAAAAKCgEAAAAAAAAA/////wABB4YCAAAAAQAAAAQAAAAEHUFwbG9yaXMuQmFzZS5PYmplY3RzLlZhcmlhYmxlAwAAAAXxAgAAHUFwbG9yaXMuQmFzZS5PYmplY3RzLlZhcmlhYmxlAgAAAAZOdW1iZXIIUG9zaXRpb24AAAgIAwAAAAEAAAAAAAAAAfICAADxAgAAAAAAAAAAAAAB8wIAAPECAAAAAAAAAAAAAAH0AgAA8QIAAAAAAAAAAAAAD4cCAAABAAAACAAAAAAHiAIAAAABAAAABAAAAAQeQXBsb3Jpcy5DaGFydC5DaGFydERhdGFFbGVtZW50AgAAAAn1AgAACfYCAAAJ9wIAAAoHiQIAAAABAAAABAAAAAQfQXBsb3Jpcy5CYXNlLk9iamVjdHMuRGF0YU9iamVjdAMAAAAJ9QIAAAn2AgAACfcCAAAKAYoCAAByAAAACgoAAAAAAAAAAA0AAAAAAQGLAgAAcgAAAAoKAQAAAAAAAAD/////AAEHjAIAAAABAAAABAAAAAQdQXBsb3Jpcy5CYXNlLk9iamVjdHMuVmFyaWFibGUDAAAAAfgCAADxAgAAAQAAAAAAAAAB+QIAAPECAAAAAAAAAAAAAAH6AgAA8QIAAAAAAAAAAAAAAfsCAADxAgAAAAAAAAAAAAAPjQIAAAEAAAAIAAAAAAeOAgAAAAEAAAAEAAAABB5BcGxvcmlzLkNoYXJ0LkNoYXJ0RGF0YUVsZW1lbnQCAAAACfwCAAAJ/QIAAAn+AgAACgePAgAAAAEAAAAEAAAABB9BcGxvcmlzLkJhc2UuT2JqZWN0cy5EYXRhT2JqZWN0AwAAAAn8AgAACf0CAAAJ/gIAAAoBkAIAAHIAAAAKCgAAAAAAAAAADQAAAAABAZECAAByAAAACgoBAAAAAAAAAP////8AAQeSAgAAAAEAAAAEAAAABB1BcGxvcmlzLkJhc2UuT2JqZWN0cy5WYXJpYWJsZQMAAAAB/wIAAPECAAABAAAAAAAAAAEAAwAA8QIAAAAAAAAAAAAAAQEDAADxAgAAAAAAAAAAAAABAgMAAPECAAAAAAAAAAAAAA+TAgAAAQAAAAgAAAAAB5QCAAAAAQAAAAQAAAAEHkFwbG9yaXMuQ2hhcnQuQ2hhcnREYXRhRWxlbWVudAIAAAAJAwMAAAkEAwAACQUDAAAKB5UCAAAAAQAAAAQAAAAEH0FwbG9yaXMuQmFzZS5PYmplY3RzLkRhdGFPYmplY3QDAAAACQMDAAAJBAMAAAkFAwAACgGWAgAAcgAAAAoKAAAAAAAAAAANAAAAAAEBlwIAAHIAAAAKCgEAAAAAAAAA/////wABB5gCAAAAAQAAAAQAAAAEHUFwbG9yaXMuQmFzZS5PYmplY3RzLlZhcmlhYmxlAwAAAAEGAwAA8QIAAAEAAAAAAAAAAQcDAADxAgAAAAAAAAAAAAABCAMAAPECAAAAAAAAAAAAAAEJAwAA8QIAAAAAAAAAAAAAD5kCAAABAAAACAAAAAAHmgIAAAABAAAABAAAAAQeQXBsb3Jpcy5DaGFydC5DaGFydERhdGFFbGVtZW50AgAAAAkKAwAACQsDAAAJDAMAAAoHmwIAAAABAAAABAAAAAQfQXBsb3Jpcy5CYXNlLk9iamVjdHMuRGF0YU9iamVjdAMAAAAJCgMAAAkLAwAACQwDAAAKAZwCAAByAAAACgoAAAAAAAAAAA0AAAAAAQGdAgAAcgAAAAoKAQAAAAAAAAD/////AAEHngIAAAABAAAABAAAAAQdQXBsb3Jpcy5CYXNlLk9iamVjdHMuVmFyaWFibGUDAAAAAQ0DAADxAgAAAQAAAAAAAAABDgMAAPECAAAAAAAAAAAAAAEPAwAA8QIAAAAAAAAAAAAAARADAADxAgAAAAAAAAAAAAAPnwIAAAEAAAAIAAAAAAegAgAAAAEAAAAEAAAABB5BcGxvcmlzLkNoYXJ0LkNoYXJ0RGF0YUVsZW1lbnQCAAAACREDAAAJEgMAAAkTAwAACgehAgAAAAEAAAAEAAAABB9BcGxvcmlzLkJhc2UuT2JqZWN0cy5EYXRhT2JqZWN0AwAAAAkRAwAACRIDAAAJEwMAAAoBogIAAHIAAAAKCgAAAAAAAAAADQAAAAABAaMCAAByAAAACgoBAAAAAAAAAP////8AAQekAgAAAAEAAAAEAAAABB1BcGxvcmlzLkJhc2UuT2JqZWN0cy5WYXJpYWJsZQMAAAABFAMAAPECAAABAAAAAAAAAAEVAwAA8QIAAAAAAAAAAAAAARYDAADxAgAAAAAAAAAAAAABFwMAAPECAAAAAAAAAAAAAA+lAgAAAQAAAAgAAAAAB6YCAAAAAQAAAAQAAAAEHkFwbG9yaXMuQ2hhcnQuQ2hhcnREYXRhRWxlbWVudAIAAAAJGAMAAAkZAwAACRoDAAAKB6cCAAAAAQAAAAQAAAAEH0FwbG9yaXMuQmFzZS5PYmplY3RzLkRhdGFPYmplY3QDAAAACRgDAAAJGQMAAAkaAwAACgGoAgAAcgAAAAoKAAAAAAAAAAANAAAAAAEBqQIAAHIAAAAKCgEAAAAAAAAA/////wABB6oCAAAAAQAAAAQAAAAEHUFwbG9yaXMuQmFzZS5PYmplY3RzLlZhcmlhYmxlAwAAAAEbAwAA8QIAAAEAAAAAAAAAARwDAADxAgAAAAAAAAAAAAABHQMAAPECAAAAAAAAAAAAAAEeAwAA8QIAAAAAAAAAAAAAD6sCAAABAAAACAAAAAAHrAIAAAABAAAABAAAAAQeQXBsb3Jpcy5DaGFydC5DaGFydERhdGFFbGVtZW50AgAAAAkfAwAACSADAAAJIQMAAAoHrQIAAAABAAAABAAAAAQfQXBsb3Jpcy5CYXNlLk9iamVjdHMuRGF0YU9iamVjdAMAAAAJHwMAAAkgAwAACSEDAAAKAa4CAAByAAAACgoAAAAAAAAAAA0AAAAAAQGvAgAAcgAAAAoKAQAAAAAAAAD/////AAEHsAIAAAABAAAABAAAAAQdQXBsb3Jpcy5CYXNlLk9iamVjdHMuVmFyaWFibGUDAAAAASIDAADxAgAAAQAAAAAAAAABIwMAAPECAAAAAAAAAAAAAAEkAwAA8QIAAAAAAAAAAAAAASUDAADxAgAAAAAAAAAAAAAPsQIAAAEAAAAIAAAAAAeyAgAAAAEAAAAEAAAABB5BcGxvcmlzLkNoYXJ0LkNoYXJ0RGF0YUVsZW1lbnQCAAAACSYDAAAJJwMAAAkoAwAACgezAgAAAAEAAAAEAAAABB9BcGxvcmlzLkJhc2UuT2JqZWN0cy5EYXRhT2JqZWN0AwAAAAkmAwAACScDAAAJKAMAAAoBtAIAAHIAAAAKCgAAAAAAAAAADQAAAAABAbUCAAByAAAACgoBAAAAAAAAAP////8AAQe2AgAAAAEAAAAEAAAABB1BcGxvcmlzLkJhc2UuT2JqZWN0cy5WYXJpYWJsZQMAAAABKQMAAPECAAABAAAAAAAAAAEqAwAA8QIAAAAAAAAAAAAAASsDAADxAgAAAAAAAAAAAAABLAMAAPECAAAAAAAAAAAAAA+3AgAAAQAAAAgAAAAAB7gCAAAAAQAAAAQAAAAEHkFwbG9yaXMuQ2hhcnQuQ2hhcnREYXRhRWxlbWVudAIAAAAJLQMAAAkuAwAACS8DAAAKB7kCAAAAAQAAAAQAAAAEH0FwbG9yaXMuQmFzZS5PYmplY3RzLkRhdGFPYmplY3QDAAAACS0DAAAJLgMAAAkvAwAACgG6AgAAcgAAAAoKAAAAAAAAAAANAAAAAAEBuwIAAHIAAAAKCgEAAAAAAAAA/////wABB7wCAAAAAQAAAAQAAAAEHUFwbG9yaXMuQmFzZS5PYmplY3RzLlZhcmlhYmxlAwAAAAEwAwAA8QIAAAEAAAAAAAAAATEDAADxAgAAAAAAAAAAAAABMgMAAPECAAAAAAAAAAAAAAEzAwAA8QIAAAAAAAAAAAAAD70CAAABAAAACAAAAAAHvgIAAAABAAAABAAAAAQeQXBsb3Jpcy5DaGFydC5DaGFydERhdGFFbGVtZW50AgAAAAk0AwAACTUDAAAJNgMAAAoHvwIAAAABAAAABAAAAAQfQXBsb3Jpcy5CYXNlLk9iamVjdHMuRGF0YU9iamVjdAMAAAAJNAMAAAk1AwAACTYDAAAKAcACAAByAAAACgoAAAAAAAAAAA0AAAAAAQHBAgAAcgAAAAoKAQAAAAAAAAD/////AAEHwgIAAAABAAAABAAAAAQdQXBsb3Jpcy5CYXNlLk9iamVjdHMuVmFyaWFibGUDAAAAATcDAADxAgAAAQAAAAAAAAABOAMAAPECAAAAAAAAAAAAAAE5AwAA8QIAAAAAAAAAAAAAAToDAADxAgAAAAAAAAAAAAAPwwIAAAEAAAAIAAAAAAXG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+AAAACgAAAAAAKEEJcAAAAAlxAAAACTsDAAABAAk8AwAAAccCAAByAAAACgoAAAAA////AA4AAAAAAQHMAgAApwAAAAk9AwAAAQAAAAEAAAABzQIAAG8AAAAJPgMAAAoBzgIAAHIAAAAKCgAAAAAAAAAADQAAAAAAAc8CAAByAAAACgoAAAAAAAAAAA0AAAAAAQfQAgAAAAEAAAAEAAAABB1BcGxvcmlzLkJhc2UuT2JqZWN0cy5WYXJpYWJsZQMAAAABPwMAAPECAAABAAAAAAAAAAFAAwAA8QIAAAAAAAAAAAAAAUEDAADxAgAAAAAAAAAAAAABQgMAAPECAAAAAAAAAAAAAA/RAgAAAQAAAAglAAAABdQ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8AAAAKAAAAAAAoQQlwAAAACXEAAAAJQwMAAAEACUQDAAAB1QIAAHIAAAAKCgAAAAD///8ADgAAAAABAdoCAACnAAAACUUDAAABAAAAAwAAAAHbAgAAbwAAAAlGAwAACgHcAgAAcgAAAAoKAAAAAAAAAAANAAAAAAAB3QIAAHIAAAAKCgAAAAAAAAAADQAAAAABB94CAAAAAQAAAAQAAAAEHUFwbG9yaXMuQmFzZS5PYmplY3RzLlZhcmlhYmxlAwAAAAFHAwAA8QIAAAEAAAAAAAAAAUgDAADxAgAAAAAAAAAAAAABSQMAAPECAAAAAAAAAAAAAAFKAwAA8QIAAAAAAAAAAAAAD98CAAABAAAACCQAAAAF4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AEAAAoAAAAAAChBCXAAAAAJcQAAAAlLAwAAAQAJTAMAAAHjAgAAcgAAAAoKAAAAAP///wAOAAAAAAEB6AIAAKcAAAAJTQMAAAEAAAADAAAAAekCAABvAAAACU4DAAAKAeoCAAByAAAACgoAAAAAAAAAAA0AAAAAAAHrAgAAcgAAAAoKAAAAAAAAAAANAAAAAAEH7AIAAAABAAAABAAAAAQdQXBsb3Jpcy5CYXNlLk9iamVjdHMuVmFyaWFibGUDAAAAAU8DAADxAgAAAQAAAAAAAAABUAMAAPECAAAAAAAAAAAAAAFRAwAA8QIAAAAAAAAAAAAAAVIDAADxAgAAAAAAAAAAAAAP7QIAAAEAAAAIJgAAAAXu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VMDAAAJVAMAAAoJVQMAAAoJ8wAAAAgG6o7DdSSl0T8KAAAAAAlWAwAACVcDAAAAAAAAAAlYAwAACfMAAAAJAQAAAAlZAwAAAe8CAADuAgAACVoDAAAJWwMAAAoJXAMAAAoJ8wAAAAgGEY+gzqWPyT8KAQAAAAldAwAACV4DAAAAAAAAAAlfAwAACfMAAAAJAQAAAAlgAwAAAfACAADuAgAACWEDAAAJYgMAAAoJYwMAAAoJ8wAAAAgGk08qalsvtD8KAgAAAAlkAwAACWUDAAAAAAAAAAlmAwAACfMAAAAJAQAAAAlnAwAAAfUCAADuAgAACWgDAAAJaQMAAAoJagMAAAoJ9AAAAAgGgsWrrxsyvz8KAAAAAAlrAwAACWwDAAAAAAAAAAltAwAACfQAAAAJAQAAAAluAwAAAfYCAADuAgAACW8DAAAJcAMAAAoJcQMAAAoJ9AAAAAgG/IMlk28auD8KAQAAAAlyAwAACXMDAAAAAAAAAAl0AwAACfQAAAAJAQAAAAl1AwAAAfcCAADuAgAACXYDAAAJdwMAAAoJeAMAAAoJ9AAAAAgG5WVVeEya0z8KAgAAAAl5AwAACXoDAAAAAAAAAAl7AwAACfQAAAAJAQAAAAl8AwAAAfwCAADuAgAACX0DAAAJfgMAAAoJfwMAAAoJ9QAAAAgGAD6C5Owhsj8KAAAAAAmAAwAACYEDAAAAAAAAAAmCAwAACfUAAAAJAQAAAAmDAwAAAf0CAADuAgAACYQDAAAJhQMAAAoJhgMAAAoJ9QAAAAgGXuxAStoZnz8KAQAAAAmHAwAACYgDAAAAAAAAAAmJAwAACfUAAAAJAQAAAAmKAwAAAf4CAADuAgAACYsDAAAJjAMAAAoJjQMAAAoJ9QAAAAgGmqqHs2Xswj8KAgAAAAmOAwAACY8DAAAAAAAAAAmQAwAACfUAAAAJAQAAAAmRAwAAAQMDAADuAgAACZIDAAAJkwMAAAoJlAMAAAoJ9gAAAAgGDvbSBj3nzj8KAAAAAAmVAwAACZYDAAAAAAAAAAmXAwAACfYAAAAJAQAAAAmYAwAAAQQDAADuAgAACZkDAAAJmgMAAAoJmwMAAAoJ9gAAAAgGFv0iXK7Twz8KAQAAAAmcAwAACZ0DAAAAAAAAAAmeAwAACfYAAAAJAQAAAAmfAwAAAQUDAADuAgAACaADAAAJoQMAAAoJogMAAAoJ9gAAAAgGsh3BG6clwj8KAgAAAAmjAwAACaQDAAAAAAAAAAmlAwAACfYAAAAJAQAAAAmmAwAAAQoDAADuAgAACacDAAAJqAMAAAoJqQMAAAoJ9wAAAAgGvH62WBm+sT8KAAAAAAmqAwAACasDAAAAAAAAAAmsAwAACfcAAAAJAQAAAAmtAwAAAQsDAADuAgAACa4DAAAJrwMAAAoJsAMAAAoJ9wAAAAgGhXFYhWqsxT8KAQAAAAmxAwAACbIDAAAAAAAAAAmzAwAACfcAAAAJAQAAAAm0AwAAAQwDAADuAgAACbUDAAAJtgMAAAoJtwMAAAoJ9wAAAAgG9n0xl4MWxD8KAgAAAAm4AwAACbkDAAAAAAAAAAm6AwAACfcAAAAJAQAAAAm7AwAAAREDAADuAgAACbwDAAAJvQMAAAoJvgMAAAoJ+AAAAAgG9dvXgXNGzD8KAAAAAAm/AwAACcADAAAAAAAAAAnBAwAACfgAAAAJAQAAAAnCAwAAARIDAADuAgAACcMDAAAJxAMAAAoJxQMAAAoJ+AAAAAgG7eYs5UHpwD8KAQAAAAnGAwAACccDAAAAAAAAAAnIAwAACfgAAAAJAQAAAAnJAwAAARMDAADuAgAACcoDAAAJywMAAAoJzAMAAAoJ+AAAAAgGT++57n4+sj8KAgAAAAnNAwAACc4DAAAAAAAAAAnPAwAACfgAAAAJAQAAAAnQAwAAARgDAADuAgAACgoKCdEDAAAKCfkAAAAIBgAAAAAAAAAACgAAAAAJ0gMAAAnTAwAAAAAAAAAJ1AMAAAn5AAAACQEAAAAJ1QMAAAEZAwAA7gIAAAnWAwAACdcDAAAKCdgDAAAKCfkAAAAIBvNGV5PCi70/CgEAAAAJ2QMAAAnaAwAAAAAAAAAJ2wMAAAn5AAAACQEAAAAJ3AMAAAEaAwAA7gIAAAndAwAACd4DAAAKCd8DAAAKCfkAAAAIBgSd0fjS17g/CgIAAAAJ4AMAAAnhAwAAAAAAAAAJ4gMAAAn5AAAACQEAAAAJ4wMAAAEfAwAA7gIAAAoKCgnkAwAACgn6AAAACAYAAAAAAAAAAAoAAAAACeUDAAAJ5gMAAAAAAAAACecDAAAJ+gAAAAkBAAAACegDAAABIAMAAO4CAAAJ6QMAAAnqAwAACgnrAwAACgn6AAAACAY5tMh2vp+6PwoBAAAACewDAAAJ7QMAAAAAAAAACe4DAAAJ+gAAAAkBAAAACe8DAAABIQMAAO4CAAAKCgoJ8AMAAAoJ+gAAAAgGAAAAAAAAAAAKAgAAAAoKAAAAAAAJ8QMAAAn6AAAACQEAAAAJ8gMAAAEmAwAA7gIAAAoKCgnzAwAACgn7AAAACAYAAAAAAAAAAAoAAAAACfQDAAAJ9QMAAAAAAAAACfYDAAAJ+wAAAAkBAAAACfcDAAABJwMAAO4CAAAKCgoJ+AMAAAoJ+wAAAAgGAAAAAAAAAAAKAQAAAAn5AwAACfoDAAAAAAAAAAn7AwAACfsAAAAJAQAAAAn8AwAAASgDAADuAgAACgoKCf0DAAAKCfsAAAAIBgAAAAAAAAAACgIAAAAKCgAAAAAACf4DAAAJ+wAAAAkBAAAACf8DAAABLQMAAO4CAAAKCgoJAAQAAAoJ/AAAAAgGAAAAAAAAAAAKAAAAAAkBBAAACQIEAAAAAAAAAAkDBAAACfwAAAAJAQAAAAkEBAAAAS4DAADuAgAACgoKCQUEAAAKCfwAAAAIBgAAAAAAAAAACgEAAAAJBgQAAAkHBAAAAAAAAAAJCAQAAAn8AAAACQEAAAAJCQQAAAEvAwAA7gIAAAoKCgkKBAAACgn8AAAACAYAAAAAAAAAAAoCAAAACgoAAAAAAAkLBAAACfwAAAAJAQAAAAkMBAAAATQDAADuAgAACgoKCQ0EAAAKCf0AAAAIBgAAAAAAAAAACgAAAAAJDgQAAAkPBAAAAAAAAAAJEAQAAAn9AAAACQEAAAAJEQQAAAE1AwAA7gIAAAoKCgkSBAAACgn9AAAACAYAAAAAAAAAAAoBAAAACRMEAAAJFAQAAAAAAAAACRUEAAAJ/QAAAAkBAAAACRYEAAABNgMAAO4CAAAKCgoJFwQAAAoJ/QAAAAgGAAAAAAAAAAAKAgAAAAoKAAAAAAAJGAQAAAn9AAAACQEAAAAJGQQAAAE7AwAAcgAAAAoKAAAAAAAAAAANAAAAAAEBPAMAAHIAAAAKCgEAAAAAAAAA/////wABBz0DAAAAAQAAAAQAAAAEHUFwbG9yaXMuQmFzZS5PYmplY3RzLlZhcmlhYmxlAwAAAAEaBAAA8QIAAAEAAAAAAAAAARsEAADxAgAAAAAAAAAAAAABHAQAAPECAAAAAAAAAAAAAAEdBAAA8QIAAAAAAAAAAAAADz4DAAABAAAACAAAAAABQwMAAHIAAAAKCgAAAAAAAAAADQAAAAABAUQDAAByAAAACgoBAAAAAAAAAP////8AAQdFAwAAAAEAAAAEAAAABB1BcGxvcmlzLkJhc2UuT2JqZWN0cy5WYXJpYWJsZQMAAAABHgQAAPECAAABAAAAAAAAAAEfBAAA8QIAAAAAAAAAAAAAASAEAADxAgAAAAAAAAAAAAABIQQAAPECAAAAAAAAAAAAAA9GAwAAAQAAAAgAAAAAAUsDAAByAAAACgoAAAAAAAAAAA0AAAAAAQFMAwAAcgAAAAoKAQAAAAAAAAD/////AAEHTQMAAAABAAAABAAAAAQdQXBsb3Jpcy5CYXNlLk9iamVjdHMuVmFyaWFibGUDAAAAASIEAADxAgAAAQAAAAAAAAABIwQAAPECAAAAAAAAAAAAAAEkBAAA8QIAAAAAAAAAAAAAASUEAADxAgAAAAAAAAAAAAAPTgMAAAEAAAAIAAAAAAFTAwAABAEAAApYAgAAASYEAABxAQAAAgAAAAEnBAAAcgEAAAEAAAABKAQAABQAAADSnk5C/v9dQQfe70ISao9CASkEAAB0AQAAAAAAAAAAoEAAASoEAAAgAAAAbT7fQhLqRkIBKwQAAJoAAAAAAAAAAAAAAAAAAAAACSwEAAAAAAAACS0EAAAAAAABLgQAAKMAAAAAAAAAAS8EAABsAAAAAABsQgAANEIBMAQAABQAAAB2Yq9CEzsBQglyQUIndgpCEoO+PwYxBAAAGUFjYWRlbWljDQpBZHZpc2luZw0KKDI4JSkKCTIEAAAJMQQAADQDAAD/////AQEKCTMEAAABAAoBAVQDAAAbAAAAATQEAAAgAAAA0p5CQhIqsUIBNQQAACAAAAC4li5D/v8tQQk2BAAACTcEAAAAAAAACgE4BAAAbAAAAAAAAAAAAAAAATkEAABsAAAAAAAAAAAAAAAAAAAAAToEAAAUAAAAAAAAAAAAAAAAAAAAAAAAAKQBAAD/////AQEKCTsEAAABAAoAB1UDAAAAAQAAAAIAAAAEGkFwbG9yaXMuQmFzZS5VSS5WaXN1YWxMaW5lAwAAAAoKB1YDAAAAAQAAAAMAAAAEFVN5c3RlbS5EcmF3aW5nLlBvaW50RgQAAAABPAQAACAAAABtPt9CEupGQgE9BAAAIAAAANKeNkIS6kZCAT4EAAAgAAAAuJYxQxLqRkIHVwMAAAABAAAAAwAAAAQXQXBsb3Jpcy5CYXNlLkFuY2hvck1vZGUDAAAAAT8EAACaAAAAAAAAAAFABAAAmgAAAAIAAAABQQQAAJoAAAAEAAAAAVgDAAAkAAAACdMAAAAAAAAAAAAAAAFZAwAAJQAAAAlCBAAAAgAAAAYAAAABWgMAAAQBAAAKWAIAAAFDBAAAcQEAAAIAAAABRAQAAHIBAAABAAAAAUUEAAAUAAAAIiZ9QwwcXkEI3u9CwSlJQgFGBAAAdAEAAAAAAAAAAKBAAAFHBAAAIAAAANKOnEPkGxxCAUgEAACaAAAAAAAAAAAAAAAAAAAAAAlJBAAAAAAAAAlKBAAAAAAAAUsEAACjAAAAAAAAAAFMBAAAbAAAAAAAeEIAADRCAU0EAAAUAAAAndiPQ8ROrEEcrUpCJ3YKQhKDvj8GTgQAAB1EaXJlY3RvciBvZg0KQWR2aXNpbmcgDQooMjAlKQoJTwQAAAlOBAAANAMAAP////8BAQoJUAQAAAEACgEBWwMAABsAAAABUQQAACAAAAAiJnpDYliGQgFSBAAAIAAAAJMKvEMMHC5BCVMEAAAJVAQAAAAAAAAKAVUEAABsAAAAAAAAAAAAAAABVgQAAGwAAAAAAAAAAAAAAAAAAAABVwQAABQAAAAAAAAAAAAAAAAAAAAAAAAApAEAAP////8BAQoJWAQAAAEACgAHXAMAAAABAAAAAgAAAAQaQXBsb3Jpcy5CYXNlLlVJLlZpc3VhbExpbmUDAAAACgoHXQMAAAABAAAAAwAAAAQVU3lzdGVtLkRyYXdpbmcuUG9pbnRGBAAAAAFZBAAAIAAAANKOnEPkGxxCAVoEAAAgAAAAIiZ3Q+QbHEIBWwQAACAAAACTir1D5BscQgdeAwAAAAEAAAADAAAABBdBcGxvcmlzLkJhc2UuQW5jaG9yTW9kZQMAAAABXAQAAJoAAAAAAAAAAV0EAACaAAAAAgAAAAFeBAAAmgAAAAQAAAABXwMAACQAAAAJ0wAAAAAAAAAAAAAAAWADAAAlAAAACV8EAAACAAAABgAAAAFhAwAABAEAAApYAgAAAWAEAABxAQAAAgAAAAFhBAAAcgEAAAEAAAABYgQAABQAAABHUuND/v9dQQTe70JFzoFBAWMEAAB0AQAAAAAAAAAAoEAAAWQEAAAgAAAABKcARCLnr0EBZQQAAJoAAAAAAAAAAAAAAAAAAAAACWYEAAAAAAAACWcEAAABAAABaAQAAKMAAAAAAAAAAWkEAABsAAAAAADgQQAA8EEBagQAABQAAABiJ/tDxE4sQScfxEGJnbhBEoO+PwZrBAAACDwxDQooOCUpCglsBAAACWsEAAA0AwAA/////wEBCgltBAAAAQAKAQFiAwAAGwAAAAFuBAAAIAAAAEfS4UMiZwRCAW8EAAAgAAAA5GQQRP7/LUEJcAQAAAlxBAAAAAAAAAoBcgQAAGwAAAAAAAAAAAAAAAFzBAAAbAAAAAAAAAAAAAAAAAAAAAF0BAAAFAAAAAAAAAAAAAAAAAAAAAAAAACkAQAA/////wEBCgl1BAAAAQAKAAdjAwAAAAEAAAACAAAABBpBcGxvcmlzLkJhc2UuVUkuVmlzdWFsTGluZQMAAAAKCgdkAwAAAAEAAAADAAAABBVTeXN0ZW0uRHJhd2luZy5Qb2ludEYEAAAAAXYEAAAgAAAABKcARCLnr0EBdwQAACAAAABHUuBDIuevQQF4BAAAIAAAAOQkEUQi569BB2UDAAAAAQAAAAMAAAAEF0FwbG9yaXMuQmFzZS5BbmNob3JNb2RlAwAAAAF5BAAAmgAAAAAAAAABegQAAJoAAAACAAAAAXsEAACaAAAABAAAAAFmAwAAJAAAAAnTAAAAAAAAAAAAAAABZwMAACUAAAAJfAQAAAIAAAAGAAAAAWgDAAAEAQAAClgCAAABfQQAAHEBAAACAAAAAX4EAAByAQAAAQAAAAF/BAAAFAAAANKeTkISKrdCB97vQiDM4kEBgAQAAHQBAAAAAAAAAACgQAABgQQAACAAAABtPt9CloPTQgGCBAAAmgAAAAAAAAAAAAAAAAAAAAAJgwQAAAAAAAAJhAQAAAEAAAGFBAAAowAAAAAAAAABhgQAAGwAAAAAAMRCAAA0QgGHBAAAFAAAAImdkEJO7LBCBLmcQid2CkISg74/BogEAAAgU3R1ZGVudCBTdXBwb3J0DQpTZXJ2aWNlcw0KKDEyJSkKCYkEAAAJiAQAADQDAAD/////AQEKCYoEAAABAAoBAWkDAAAbAAAAAYsEAAAgAAAA0p5CQhrd9UIBjAQAACAAAAC4li5DEiqxQgmNBAAACY4EAAAAAAAACgGPBAAAbAAAAAAAAAAAAAAAAZAEAABsAAAAAAAAAAAAAAAAAAAAAZEEAAAUAAAAAAAAAAAAAAAAAAAAAAAAAKQBAAD/////AQEKCZIEAAABAAoAB2oDAAAAAQAAAAIAAAAEGkFwbG9yaXMuQmFzZS5VSS5WaXN1YWxMaW5lAwAAAAoKB2sDAAAAAQAAAAMAAAAEFVN5c3RlbS5EcmF3aW5nLlBvaW50RgQAAAABkwQAACAAAABtPt9CloPTQgGUBAAAIAAAANKeNkKWg9NCAZUEAAAgAAAAuJYxQ5aD00IHbAMAAAABAAAAAwAAAAQXQXBsb3Jpcy5CYXNlLkFuY2hvck1vZGUDAAAAAZYEAACaAAAAAAAAAAGXBAAAmgAAAAIAAAABmAQAAJoAAAAEAAAAAW0DAAAkAAAACdMAAAAAAAAAAAAAAAFuAwAAJQAAAAmZBAAAAgAAAAYAAAABbwMAAAQBAAAKWAIAAAGaBAAAcQEAAAIAAAABmwQAAHIBAAABAAAAAZwEAAAUAAAAIiZ9Q2JYjEII3u9COFKkQQGdBAAAdAEAAAAAAAAAAKBAAAGeBAAAIAAAANKOnEOp4qBCAZ8EAACaAAAAAAAAAAAAAAAAAAAAAAmgBAAAAAAAAAmhBAAAAAAAAaIEAACjAAAAAAAAAAGjBAAAbAAAAAAAnEIAAPBBAaQEAAAUAAAA7MSMQyd2ikIw6HtCiZ24QRKDvj8GpQQAABpQcmltYXJ5LXJvbGUNCkFkdmlzb3IgKDklKQoJpgQAAAmlBAAANAMAAP////8BAQoJpwQAAAEACgEBcAMAABsAAAABqAQAACAAAAAiJnpD8Gy7QgGpBAAAIAAAAJMKvENiWIZCCaoEAAAJqwQAAAAAAAAKAawEAABsAAAAAAAAAAAAAAABrQQAAGwAAAAAAAAAAAAAAAAAAAABrgQAABQAAAAAAAAAAAAAAAAAAAAAAAAApAEAAP////8BAQoJrwQAAAEACgAHcQMAAAABAAAAAgAAAAQaQXBsb3Jpcy5CYXNlLlVJLlZpc3VhbExpbmUDAAAACgoHcgMAAAABAAAAAwAAAAQVU3lzdGVtLkRyYXdpbmcuUG9pbnRGBAAAAAGwBAAAIAAAANKOnEOp4qBCAbEEAAAgAAAAIiZ3Q6nioEIBsgQAACAAAACTir1DqeKgQgdzAwAAAAEAAAADAAAABBdBcGxvcmlzLkJhc2UuQW5jaG9yTW9kZQMAAAABswQAAJoAAAAAAAAAAbQEAACaAAAAAgAAAAG1BAAAmgAAAAQAAAABdAMAACQAAAAJ0wAAAAAAAAAAAAAAAXUDAAAlAAAACbYEAAACAAAABgAAAAF2AwAABAEAAApYAgAAAbcEAABxAQAAAgAAAAG4BAAAcgEAAAEAAAABuQQAABQAAABHUuNDImcQQgTe70I/raBCAboEAAB0AQAAAAAAAAAAoEAAAbsEAAAgAAAABKcARDCKmEIBvAQAAJoAAAAAAAAAAAAAAAAAAAAACb0EAAAAAAAACb4EAAAAAAABvwQAAKMAAAAAAAAAAcAEAABsAAAAAAAQQgAA8EEBwQQAABQAAACJnflDEzuBQjpa9UGJnbhBEoO+PwbCBAAACjEtMw0KKDMxJSkKCcMEAAAJwgQAADQDAAD/////AQEKCcQEAAABAAoBAXcDAAAbAAAAAcUEAAAgAAAAR9LhQ9Dg7kIBxgQAACAAAADkZBBEImcEQgnHBAAACcgEAAAAAAAACgHJBAAAbAAAAAAAAAAAAAAAAcoEAABsAAAAAAAAAAAAAAAAAAAAAcsEAAAUAAAAAAAAAAAAAAAAAAAAAAAAAKQBAAD/////AQEKCcwEAAABAAoAB3gDAAAAAQAAAAIAAAAEGkFwbG9yaXMuQmFzZS5VSS5WaXN1YWxMaW5lAwAAAAoKB3kDAAAAAQAAAAMAAAAEFVN5c3RlbS5EcmF3aW5nLlBvaW50RgQAAAABzQQAACAAAAAEpwBEMIqYQgHOBAAAIAAAAEdS4EMwiphCAc8EAAAgAAAA5CQRRDCKmEIHegMAAAABAAAAAwAAAAQXQXBsb3Jpcy5CYXNlLkFuY2hvck1vZGUDAAAAAdAEAACaAAAAAAAAAAHRBAAAmgAAAAIAAAAB0gQAAJoAAAAEAAAAAXsDAAAkAAAACdMAAAAAAAAAAAAAAAF8AwAAJQAAAAnTBAAAAgAAAAYAAAABfQMAAAQBAAAKWAIAAAHUBAAAcQEAAAIAAAAB1QQAAHIBAAABAAAAAdYEAAAUAAAA0p5OQhrd+0IH3u9CsHNfQQHXBAAAdAEAAAAAAAAAAKBAAAHYBAAAIAAAAG0+30Iq6gRDAdkEAACaAAAAAAAAAAAAAAAAAAAAAAnaBAAAAAAAAAnbBAAAAAAAAdwEAACjAAAAAAAAAAHdBAAAbAAAAAAA9EIAAHBBAd4EAAAUAAAAxE58Qp3Y/UJTpcFCiZ04QRKDvj8G3wQAABRTdHVkZW50IEFmZmFpcnMgKDclKQoJ4AQAAAnfBAAANAMAAP////8BAQoJ4QQAAAEACgEBfgMAABsAAAAB4gQAACAAAADSnkJCyOUOQwHjBAAAIAAAALiWLkMa3fVCCeQEAAAJ5QQAAAAAAAAKAeYEAABsAAAAAAAAAAAAAAAB5wQAAGwAAAAAAAAAAAAAAAAAAAAB6AQAABQAAAAAAAAAAAAAAAAAAAAAAAAApAEAAP////8BAQoJ6QQAAAEACgAHfwMAAAABAAAAAgAAAAQaQXBsb3Jpcy5CYXNlLlVJLlZpc3VhbExpbmUDAAAACgoHgAMAAAABAAAAAwAAAAQVU3lzdGVtLkRyYXdpbmcuUG9pbnRGBAAAAAHqBAAAIAAAAG0+30Iq6gRDAesEAAAgAAAA0p42QirqBEMB7AQAACAAAAC4ljFDKuoEQweBAwAAAAEAAAADAAAABBdBcGxvcmlzLkJhc2UuQW5jaG9yTW9kZQMAAAAB7QQAAJoAAAAAAAAAAe4EAACaAAAAAgAAAAHvBAAAmgAAAAQAAAABggMAACQAAAAJ0wAAAAAAAAAAAAAAAYMDAAAlAAAACfAEAAACAAAABgAAAAGEAwAABAEAAApYAgAAAfEEAABxAQAAAgAAAAHyBAAAcgEAAAEAAAAB8wQAABQAAAAiJn1D8GzBQgje70Lg7CNAAfQEAAB0AQAAAAAAAAAAoEAAAfUEAAAgAAAA0o6cQ6T8w0IB9gQAAJoAAAAAAAAAAAAAAAAAAAAACfcEAAAAAAAACfgEAAABAAAB+QQAAKMAAAAAAAAAAfoEAABsAAAAAACcQgAAcEEB+wQAABQAAADsxIxDiZ24QjDoe0KJnThBEoO+Pwb8BAAADFByb3Zvc3QgKDMlKQoJ/QQAAAn8BAAANAMAAP////8BAQoJ/gQAAAEACgEBhQMAABsAAAAB/wQAACAAAAAiJnpDV4zMQgEABQAAIAAAAJMKvEPwbLtCCQEFAAAJAgUAAAAAAAAKAQMFAABsAAAAAAAAAAAAAAABBAUAAGwAAAAAAAAAAAAAAAAAAAABBQUAABQAAAAAAAAAAAAAAAAAAAAAAAAApAEAAP////8BAQoJBgUAAAEACgAHhgMAAAABAAAAAgAAAAQaQXBsb3Jpcy5CYXNlLlVJLlZpc3VhbExpbmUDAAAACgoHhwMAAAABAAAAAwAAAAQVU3lzdGVtLkRyYXdpbmcuUG9pbnRGBAAAAAEHBQAAIAAAANKOnEOk/MNCAQgFAAAgAAAAIiZ3Q6T8w0IBCQUAACAAAACTir1DpPzDQgeIAwAAAAEAAAADAAAABBdBcGxvcmlzLkJhc2UuQW5jaG9yTW9kZQMAAAABCgUAAJoAAAAAAAAAAQsFAACaAAAAAgAAAAEMBQAAmgAAAAQAAAABiQMAACQAAAAJ0wAAAAAAAAAAAAAAAYoDAAAlAAAACQ0FAAACAAAABgAAAAGLAwAABAEAAApYAgAAAQ4FAABxAQAAAgAAAAEPBQAAcgEAAAEAAAABEAUAABQAAABHUuND0OD0QgTe70JksQ5CAREFAAB0AQAAAAAAAAAAoEAAARIFAAAgAAAABKcARJRGDEMBEwUAAJoAAAAAAAAAAAAAAAAAAAAACRQFAAAAAAAACRUFAAAAAAABFgUAAKMAAAAAAAAAARcFAABsAAAAAAAQQgAA8EEBGAUAABQAAACJnflDJ3YAQzpa9UGJnbhBEoO+PwYZBQAACjQtNQ0KKDE1JSkKCRoFAAAJGQUAADQDAAD/////AQEKCRsFAAABAAoBAYwDAAAbAAAAARwFAAAgAAAAR9LhQ8EcIUMBHQUAACAAAADkZBBE0ODuQgkeBQAACR8FAAAAAAAACgEgBQAAbAAAAAAAAAAAAAAAASEFAABsAAAAAAAAAAAAAAAAAAAAASIFAAAUAAAAAAAAAAAAAAAAAAAAAAAAAKQBAAD/////AQEKCSMFAAABAAoAB40DAAAAAQAAAAIAAAAEGkFwbG9yaXMuQmFzZS5VSS5WaXN1YWxMaW5lAwAAAAoKB44DAAAAAQAAAAMAAAAEFVN5c3RlbS5EcmF3aW5nLlBvaW50RgQAAAABJAUAACAAAAAEpwBElEYMQwElBQAAIAAAAEdS4EOURgxDASYFAAAgAAAA5CQRRJRGDEMHjwMAAAABAAAAAwAAAAQXQXBsb3Jpcy5CYXNlLkFuY2hvck1vZGUDAAAAAScFAACaAAAAAAAAAAEoBQAAmgAAAAIAAAABKQUAAJoAAAAEAAAAAZADAAAkAAAACdMAAAAAAAAAAAAAAAGRAwAAJQAAAAkqBQAAAgAAAAYAAAABkgMAAAQBAAAKWAIAAAErBQAAcQEAAAIAAAABLAUAAHIBAAABAAAAAS0FAAAUAAAA0p5OQsjlEUMH3u9CnDh4QgEuBQAAdAEAAAAAAAAAAKBAAAEvBQAAIAAAAG0+30Lc7DBDATAFAACaAAAAAAAAAAAAAAAAAAAAAAkxBQAAAAAAAAkyBQAAAAAAATMFAACjAAAAAAAAAAE0BQAAbAAAAAAAjkIAAHBCATUFAAAUAAAAYiemQp3YGUNXXmZCiZ04QhKDvj8GNgUAACVBY2FkZW1pYw0KUHJvZ3JhbS8NCkRlcGFydG1lbnQNCigyNCUpCgk3BQAACTYFAAA0AwAA/////wEBCgk4BQAAAQAKAQGTAwAAGwAAAAE5BQAAIAAAANKeQkLv81JDAToFAAAgAAAAuJYuQ8jlDkMJOwUAAAk8BQAAAAAAAAoBPQUAAGwAAAAAAAAAAAAAAAE+BQAAbAAAAAAAAAAAAAAAAAAAAAE/BQAAFAAAAAAAAAAAAAAAAAAAAAAAAACkAQAA/////wEBCglABQAAAQAKAAeUAwAAAAEAAAACAAAABBpBcGxvcmlzLkJhc2UuVUkuVmlzdWFsTGluZQMAAAAKCgeVAwAAAAEAAAADAAAABBVTeXN0ZW0uRHJhd2luZy5Qb2ludEYEAAAAAUEFAAAgAAAAbT7fQtzsMEMBQgUAACAAAADSnjZC3OwwQwFDBQAAIAAAALiWMUPc7DBDB5YDAAAAAQAAAAMAAAAEF0FwbG9yaXMuQmFzZS5BbmNob3JNb2RlAwAAAAFEBQAAmgAAAAAAAAABRQUAAJoAAAACAAAAAUYFAACaAAAABAAAAAGXAwAAJAAAAAnTAAAAAAAAAAAAAAABmAMAACUAAAAJRwUAAAIAAAACAAAAAZkDAAAEAQAAClgCAAABSAUAAHEBAAACAAAAAUkFAAByAQAAAQAAAAFKBQAAFAAAACImfUNXjNJCCN7vQramFkIBSwUAAHQBAAAAAAAAAACgQAABTAUAACAAAADSjpxDBDb4QgFNBQAAmgAAAAAAAAAAAAAAAAAAAAAJTgUAAAAAAAAJTwUAAAAAAAFQBQAAowAAAAAAAAABUQUAAGwAAAAAALZCAAA0QgFSBQAAFAAAACd2ikOd2NVCGPSRQid2CkISg74/BlMFAAAkVmljZSBQcmVzaWRlbnQvDQpWaWNlIFByb3Zvc3QNCigxNSUpCglUBQAACVMFAAA0AwAA/////wEBCglVBQAAAQAKAQGaAwAAGwAAAAFWBQAAIAAAACImekPZ7xFDAVcFAAAgAAAAkwq8Q1eMzEIJWAUAAAlZBQAAAAAAAAoBWgUAAGwAAAAAAAAAAAAAAAFbBQAAbAAAAAAAAAAAAAAAAAAAAAFcBQAAFAAAAAAAAAAAAAAAAAAAAAAAAACkAQAA/////wEBCgldBQAAAQAKAAebAwAAAAEAAAACAAAABBpBcGxvcmlzLkJhc2UuVUkuVmlzdWFsTGluZQMAAAAKCgecAwAAAAEAAAADAAAABBVTeXN0ZW0uRHJhd2luZy5Qb2ludEYEAAAAAV4FAAAgAAAA0o6cQwQ2+EIBXwUAACAAAAAiJndDBDb4QgFgBQAAIAAAAJOKvUMENvhCB50DAAAAAQAAAAMAAAAEF0FwbG9yaXMuQmFzZS5BbmNob3JNb2RlAwAAAAFhBQAAmgAAAAAAAAABYgUAAJoAAAACAAAAAWMFAACaAAAABAAAAAGeAwAAJAAAAAnTAAAAAAAAAAAAAAABnwMAACUAAAAJZAUAAAIAAAACAAAAAaADAAAEAQAAClgCAAABZQUAAHEBAAACAAAAAWYFAAByAQAAAQAAAAFnBQAAFAAAAEdS40PBHCRDBN7vQqzaB0IBaAUAAHQBAAAAAAAAAACgQAABaQUAACAAAAAEpwBEFhg1QwFqBQAAmgAAAAAAAAAAAAAAAAAAAAAJawUAAAAAAAAJbAUAAAAAAAFtBQAAowAAAAAAAAABbgUAAGwAAAAAABBCAADwQQFvBQAAFAAAAImd+UMTOylDOlr1QYmduEESg74/BnAFAAAKNi05DQooMTQlKQoJcQUAAAlwBQAANAMAAP////8BAQoJcgUAAAEACgEBoQMAABsAAAABcwUAACAAAABH0uFDbBNJQwF0BQAAIAAAAORkEETBHCFDCXUFAAAJdgUAAAAAAAAKAXcFAABsAAAAAAAAAAAAAAABeAUAAGwAAAAAAAAAAAAAAAAAAAABeQUAABQAAAAAAAAAAAAAAAAAAAAAAAAApAEAAP////8BAQoJegUAAAEACgAHogMAAAABAAAAAgAAAAQaQXBsb3Jpcy5CYXNlLlVJLlZpc3VhbExpbmUDAAAACgoHowMAAAABAAAAAwAAAAQVU3lzdGVtLkRyYXdpbmcuUG9pbnRGBAAAAAF7BQAAIAAAAASnAEQWGDVDAXwFAAAgAAAAR1LgQxYYNUMBfQUAACAAAADkJBFEFhg1QwekAwAAAAEAAAADAAAABBdBcGxvcmlzLkJhc2UuQW5jaG9yTW9kZQMAAAABfgUAAJoAAAAAAAAAAX8FAACaAAAAAgAAAAGABQAAmgAAAAQAAAABpQMAACQAAAAJ0wAAAAAAAAAAAAAAAaYDAAAlAAAACYEFAAACAAAAAgAAAAGnAwAABAEAAApYAgAAAYIFAABxAQAAAgAAAAGDBQAAcgEAAAEAAAABhAUAABQAAADSnk5C7/NVQwfe70LwlFhBAYUFAAB0AQAAAAAAAAAAoEAAAYYFAAAgAAAAbT7fQpa4XEMBhwUAAJoAAAAAAAAAAAAAAAAAAAAACYgFAAAAAAAACYkFAAABAAABigUAAKMAAAAAAAAAAYsFAABsAAAAAACMQgAA8EEBjAUAABQAAABiJ6ZCEztRQ6ZKY0KJnbhBEoO+PwaNBQAAFkVucm9sbG1lbnQNCk1nbXQuICg3JSkKCY4FAAAJjQUAADQDAAD/////AQEKCY8FAAABAAoBAagDAAAbAAAAAZAFAAAgAAAA0p5CQj59ZkMBkQUAACAAAAC4li5D7/NSQwmSBQAACZMFAAAAAAAACgGUBQAAbAAAAAAAAAAAAAAAAZUFAABsAAAAAAAAAAAAAAAAAAAAAZYFAAAUAAAAAAAAAAAAAAAAAAAAAAAAAKQBAAD/////AQEKCZcFAAABAAoAB6kDAAAAAQAAAAIAAAAEGkFwbG9yaXMuQmFzZS5VSS5WaXN1YWxMaW5lAwAAAAoKB6oDAAAAAQAAAAMAAAAEFVN5c3RlbS5EcmF3aW5nLlBvaW50RgQAAAABmAUAACAAAABtPt9ClrhcQwGZBQAAIAAAANKeNkKWuFxDAZoFAAAgAAAAuJYxQ5a4XEMHqwMAAAABAAAAAwAAAAQXQXBsb3Jpcy5CYXNlLkFuY2hvck1vZGUDAAAAAZsFAACaAAAAAAAAAAGcBQAAmgAAAAIAAAABnQUAAJoAAAAEAAAAAawDAAAkAAAACdMAAAAAAAAAAAAAAAGtAwAAJQAAAAmeBQAAAgAAAAIAAAABrgMAAAQBAAAKWAIAAAGfBQAAcQEAAAIAAAABoAUAAHIBAAABAAAAAaEFAAAUAAAAIiZ9Q9nvFEMI3u9C9OomQgGiBQAAdAEAAAAAAAAAAKBAAAGjBQAAIAAAANKOnEM4zSlDAaQFAACaAAAAAAAAAAAAAAAAAAAAAAmlBQAAAAAAAAmmBQAAAAAAAacFAACjAAAAAAAAAAGoBQAAbAAAAAAAEEIAAPBBAakFAAAUAAAAndiUQyd2HkM6WvVBiZ24QRKDvj8GqgUAAAtEZWFuDQooMTclKQoJqwUAAAmqBQAANAMAAP////8BAQoJrAUAAAEACgEBrwMAABsAAAABrQUAACAAAAAiJnpDlqpBQwGuBQAAIAAAAJMKvEPZ7xFDCa8FAAAJsAUAAAAAAAAKAbEFAABsAAAAAAAAAAAAAAABsgUAAGwAAAAAAAAAAAAAAAAAAAABswUAABQAAAAAAAAAAAAAAAAAAAAAAAAApAEAAP////8BAQoJtAUAAAEACgAHsAMAAAABAAAAAgAAAAQaQXBsb3Jpcy5CYXNlLlVJLlZpc3VhbExpbmUDAAAACgoHsQMAAAABAAAAAwAAAAQVU3lzdGVtLkRyYXdpbmcuUG9pbnRGBAAAAAG1BQAAIAAAANKOnEM4zSlDAbYFAAAgAAAAIiZ3QzjNKUMBtwUAACAAAACTir1DOM0pQweyAwAAAAEAAAADAAAABBdBcGxvcmlzLkJhc2UuQW5jaG9yTW9kZQMAAAABuAUAAJoAAAAAAAAAAbkFAACaAAAAAgAAAAG6BQAAmgAAAAQAAAABswMAACQAAAAJ0wAAAAAAAAAAAAAAAbQDAAAlAAAACbsFAAACAAAAAgAAAAG1AwAABAEAAApYAgAAAbwFAABxAQAAAgAAAAG9BQAAcgEAAAEAAAABvgUAABQAAABHUuNDbBNMQwTe70Jw8xhCAb8FAAB0AQAAAAAAAAAAoEAAAcAFAAAgAAAABKcARNoxX0MBwQUAAJoAAAAAAAAAAAAAAAAAAAAACcIFAAAAAAAACcMFAAAAAAABxAUAAKMAAAAAAAAAAcUFAABsAAAAAAAQQgAA8EEBxgUAABQAAACJnflD2IlTQzpa9UGJnbhBEoO+PwbHBQAADDEwLTE1DQooMTYlKQoJyAUAAAnHBQAANAMAAP////8BAQoJyQUAAAEACgEBtgMAABsAAAABygUAACAAAABH0uFDSFB1QwHLBQAAIAAAAORkEERsE0lDCcwFAAAJzQUAAAAAAAAKAc4FAABsAAAAAAAAAAAAAAABzwUAAGwAAAAAAAAAAAAAAAAAAAAB0AUAABQAAAAAAAAAAAAAAAAAAAAAAAAApAEAAP////8BAQoJ0QUAAAEACgAHtwMAAAABAAAAAgAAAAQaQXBsb3Jpcy5CYXNlLlVJLlZpc3VhbExpbmUDAAAACgoHuAMAAAABAAAAAwAAAAQVU3lzdGVtLkRyYXdpbmcuUG9pbnRGBAAAAAHSBQAAIAAAAASnAETaMV9DAdMFAAAgAAAAR1LgQ9oxX0MB1AUAACAAAADkJBFE2jFfQwe5AwAAAAEAAAADAAAABBdBcGxvcmlzLkJhc2UuQW5jaG9yTW9kZQMAAAAB1QUAAJoAAAAAAAAAAdYFAACaAAAAAgAAAAHXBQAAmgAAAAQAAAABugMAACQAAAAJ0wAAAAAAAAAAAAAAAbsDAAAlAAAACdgFAAACAAAAAgAAAAG8AwAABAEAAApYAgAAAdkFAABxAQAAAgAAAAHaBQAAcgEAAAEAAAAB2wUAABQAAADSnk5CPn1pQwfe70IoEmFCAdwFAAB0AQAAAAAAAAAAoEAAAd0FAAAgAAAAbT7fQsLPgkMB3gUAAJoAAAAAAAAAAAAAAAAAAAAACd8FAAAAAAAACeAFAAAAAAAB4QUAAKMAAAAAAAAAAeIFAABsAAAAAAAQQgAA8EEB4wUAABQAAADETsBC//95Qzpa9UGJnbhBEoO+PwbkBQAADE90aGVyDQooMjIlKQoJ5QUAAAnkBQAANAMAAP////8BAQoJ5gUAAAEACgEBvQMAABsAAAAB5wUAACAAAADSnkJC5GCSQwHoBQAAIAAAALiWLkM+fWZDCekFAAAJ6gUAAAAAAAAKAesFAABsAAAAAAAAAAAAAAAB7AUAAGwAAAAAAAAAAAAAAAAAAAAB7QUAABQAAAAAAAAAAAAAAAAAAAAAAAAApAEAAP////8BAQoJ7gUAAAEACgAHvgMAAAABAAAAAgAAAAQaQXBsb3Jpcy5CYXNlLlVJLlZpc3VhbExpbmUDAAAACgoHvwMAAAABAAAAAwAAAAQVU3lzdGVtLkRyYXdpbmcuUG9pbnRGBAAAAAHvBQAAIAAAAG0+30LCz4JDAfAFAAAgAAAA0p42QsLPgkMB8QUAACAAAAC4ljFDws+CQwfAAwAAAAEAAAADAAAABBdBcGxvcmlzLkJhc2UuQW5jaG9yTW9kZQMAAAAB8gUAAJoAAAAAAAAAAfMFAACaAAAAAgAAAAH0BQAAmgAAAAQAAAABwQMAACQAAAAJ0wAAAAAAAAAAAAAAAcIDAAAlAAAACfUFAAACAAAABgAAAAHDAwAABAEAAApYAgAAAfYFAABxAQAAAgAAAAH3BQAAcgEAAAEAAAAB+AUAABQAAAAiJn1DlqpEQwje70I47/lBAfkFAAB0AQAAAAAAAAAAoEAAAfoFAAAgAAAA0o6cQ4pJVEMB+wUAAJoAAAAAAAAAAAAAAAAAAAAACfwFAAAAAAAACf0FAAAAAAAB/gUAAKMAAAAAAAAAAf8FAABsAAAAAAA8QgAA8EEBAAYAABQAAABO7JJD7MRIQ7qFHEKJnbhBEoO+PwYBBgAAD0RpcmVjdG9yDQooMTMlKQoJAgYAAAkBBgAANAMAAP////8BAQoJAwYAAAEACgEBxAMAABsAAAABBAYAACAAAAAiJnpDfehmQwEFBgAAIAAAAJMKvEOWqkFDCQYGAAAJBwYAAAAAAAAKAQgGAABsAAAAAAAAAAAAAAABCQYAAGwAAAAAAAAAAAAAAAAAAAABCgYAABQAAAAAAAAAAAAAAAAAAAAAAAAApAEAAP////8BAQoJCwYAAAEACgAHxQMAAAABAAAAAgAAAAQaQXBsb3Jpcy5CYXNlLlVJLlZpc3VhbExpbmUDAAAACgoHxgMAAAABAAAAAwAAAAQVU3lzdGVtLkRyYXdpbmcuUG9pbnRGBAAAAAEMBgAAIAAAANKOnEOKSVRDAQ0GAAAgAAAAIiZ3Q4pJVEMBDgYAACAAAACTir1DiklUQwfHAwAAAAEAAAADAAAABBdBcGxvcmlzLkJhc2UuQW5jaG9yTW9kZQMAAAABDwYAAJoAAAAAAAAAARAGAACaAAAAAgAAAAERBgAAmgAAAAQAAAAByAMAACQAAAAJ0wAAAAAAAAAAAAAAAckDAAAlAAAACRIGAAACAAAAAgAAAAHKAwAABAEAAApYAgAAARMGAABxAQAAAgAAAAEUBgAAcgEAAAEAAAABFQYAABQAAABHUuNDSFB4QwTe70IAa2FBARYGAAB0AQAAAAAAAAAAoEAAARcGAAAgAAAABKcARKBbf0MBGAYAAJoAAAAAAAAAAAAAAAAAAAAACRkGAAAAAAAACRoGAAAAAAABGwYAAKMAAAAAAAAAARwGAABsAAAAAACGQgAAcEEBHQYAABQAAACd2PNDEzt5Q5MPWkKJnThBEoO+PwYeBgAACjE2LTIwICg3JSkKCR8GAAAJHgYAADQDAAD/////AQEKCSAGAAABAAoBAcsDAAAbAAAAASEGAAAgAAAAR9LhQ3yzhEMBIgYAACAAAADkZBBESFB1QwkjBgAACSQGAAAAAAAACgElBgAAbAAAAAAAAAAAAAAAASYGAABsAAAAAAAAAAAAAAAAAAAAAScGAAAUAAAAAAAAAAAAAAAAAAAAAAAAAKQBAAD/////AQEKCSgGAAABAAoAB8wDAAAAAQAAAAIAAAAEGkFwbG9yaXMuQmFzZS5VSS5WaXN1YWxMaW5lAwAAAAoKB80DAAAAAQAAAAMAAAAEFVN5c3RlbS5EcmF3aW5nLlBvaW50RgQAAAABKQYAACAAAAAEpwBEoFt/QwEqBgAAIAAAAEdS4EOgW39DASsGAAAgAAAA5CQRRKBbf0MHzgMAAAABAAAAAwAAAAQXQXBsb3Jpcy5CYXNlLkFuY2hvck1vZGUDAAAAASwGAACaAAAAAAAAAAEtBgAAmgAAAAIAAAABLgYAAJoAAAAEAAAAAc8DAAAkAAAACdMAAAAAAAAAAAAAAAHQAwAAJQAAAAkvBgAAAgAAAAIAAAAH0QMAAAABAAAAAgAAAAQaQXBsb3Jpcy5CYXNlLlVJLlZpc3VhbExpbmUDAAAACgoH0gMAAAABAAAAAwAAAAQVU3lzdGVtLkRyYXdpbmcuUG9pbnRGBAAAAAEwBgAAIAAAALFnFEN9Y3pDATEGAAAgAAAAXuCkQn1jekMBMgYAACAAAAAzX1ZDfWN6QwfTAwAAAAEAAAADAAAABBdBcGxvcmlzLkJhc2UuQW5jaG9yTW9kZQMAAAABMwYAAJoAAAAAAAAAATQGAACaAAAAAgAAAAE1BgAAmgAAAAQAAAAB1AMAACQAAAAJ0wAAAAAAAAAAAAAAAdUDAAAlAAAACTYGAAAAAAAABAAAAAHWAwAABAEAAApYAgAAATcGAABxAQAAAgAAAAE4BgAAcgEAAAEAAAABOQYAABQAAAAiJn1DfehpQwje70K4Q9RBAToGAAB0AQAAAAAAAAAAoEAAATsGAAAgAAAA0o6cQ7gsd0MBPAYAAJoAAAAAAAAAAAAAAAAAAAAACT0GAAAAAAAACT4GAAABAAABPwYAAKMAAAAAAAAAAUAGAABsAAAAAAC8QgAANEIBQQYAABQAAAA7sYlD//9lQ6KRlkIndgpCEoO+PwZCBgAAI0ZhY3VsdHkgdy8gDQpBZHZpc2luZyBEdXRpZXMNCigxMiUpCglDBgAACUIGAAA0AwAA/////wEBCglEBgAAAQAKAQHXAwAAGwAAAAFFBgAAIAAAACImekN6uINDAUYGAAAgAAAAkwq8Q33oZkMJRwYAAAlIBgAAAAAAAAoBSQYAAGwAAAAAAAAAAAAAAAFKBgAAbAAAAAAAAAAAAAAAAAAAAAFLBgAAFAAAAAAAAAAAAAAAAAAAAAAAAACkAQAA/////wEBCglMBgAAAQAKAAfYAwAAAAEAAAACAAAABBpBcGxvcmlzLkJhc2UuVUkuVmlzdWFsTGluZQMAAAAKCgfZAwAAAAEAAAADAAAABBVTeXN0ZW0uRHJhd2luZy5Qb2ludEYEAAAAAU0GAAAgAAAA0o6cQ7gsd0MBTgYAACAAAAAiJndDuCx3QwFPBgAAIAAAAJOKvUO4LHdDB9oDAAAAAQAAAAMAAAAEF0FwbG9yaXMuQmFzZS5BbmNob3JNb2RlAwAAAAFQBgAAmgAAAAAAAAABUQYAAJoAAAACAAAAAVIGAACaAAAABAAAAAHbAwAAJAAAAAnTAAAAAAAAAAAAAAAB3AMAACUAAAAJUwYAAAIAAAACAAAAAd0DAAAEAQAAClgCAAABVAYAAHEBAAACAAAAAVUGAAByAQAAAQAAAAFWBgAAFAAAAEdS40N8M4ZDBN7vQoDWqkEBVwYAAHQBAAAAAAAAAACgQAABWAYAACAAAAAEpwBEMIqLQwFZBgAAmgAAAAAAAAAAAAAAAAAAAAAJWgYAAAAAAAAJWwYAAAAAAAFcBgAAowAAAAAAAAABXQYAAGwAAAAAAHxCAABwQQFeBgAAFAAAAImd9EPYiYhDzsBNQomdOEESg74/Bl8GAAAJPjIwICgxMCUpCglgBgAACV8GAAA0AwAA/////wEBCglhBgAAAQAKAQHeAwAAGwAAAAFiBgAAIAAAAEfS4UPkYJJDAWMGAAAgAAAA5GQQRHyzhEMJZAYAAAllBgAAAAAAAAoBZgYAAGwAAAAAAAAAAAAAAAFnBgAAbAAAAAAAAAAAAAAAAAAAAAFoBgAAFAAAAAAAAAAAAAAAAAAAAAAAAACkAQAA/////wEBCglpBgAAAQAKAAffAwAAAAEAAAACAAAABBpBcGxvcmlzLkJhc2UuVUkuVmlzdWFsTGluZQMAAAAKCgfgAwAAAAEAAAADAAAABBVTeXN0ZW0uRHJhd2luZy5Qb2ludEYEAAAAAWoGAAAgAAAABKcARDCKi0MBawYAACAAAABHUuBDMIqLQwFsBgAAIAAAAOQkEUQwiotDB+EDAAAAAQAAAAMAAAAEF0FwbG9yaXMuQmFzZS5BbmNob3JNb2RlAwAAAAFtBgAAmgAAAAAAAAABbgYAAJoAAAACAAAAAW8GAACaAAAABAAAAAHiAwAAJAAAAAnTAAAAAAAAAAAAAAAB4wMAACUAAAAJcAYAAAIAAAACAAAAB+QDAAAAAQAAAAIAAAAEGkFwbG9yaXMuQmFzZS5VSS5WaXN1YWxMaW5lAwAAAAoKB+UDAAAAAQAAAAMAAAAEFVN5c3RlbS5EcmF3aW5nLlBvaW50RgQAAAABcQYAACAAAACxZxRDZlyAQwFyBgAAIAAAAF7gpEJmXIBDAXMGAAAgAAAAM19WQ2ZcgEMH5gMAAAABAAAAAwAAAAQXQXBsb3Jpcy5CYXNlLkFuY2hvck1vZGUDAAAAAXQGAACaAAAAAAAAAAF1BgAAmgAAAAIAAAABdgYAAJoAAAAEAAAAAecDAAAkAAAACdMAAAAAAAAAAAAAAAHoAwAAJQAAAAl3BgAAAAAAAAQAAAAB6QMAAAQBAAAKWAIAAAF4BgAAcQEAAAIAAAABeQYAAHIBAAABAAAAAXoGAAAUAAAAIiZ9Q3o4hUMI3u9CoIa6QQF7BgAAdAEAAAAAAAAAAKBAAAF8BgAAIAAAANKOnEOvDItDAX0GAACaAAAAAAAAAAAAAAAAAAAAAAl+BgAAAAAAAAl/BgAAAAAAAYAGAACjAAAAAAAAAAGBBgAAbAAAAAAAlEIAAHBBAYIGAAAUAAAA2ImNQ2IniENrmW9CiZ04QRKDvj8GgwYAAAtPdGhlciAoMTAlKQoJhAYAAAmDBgAANAMAAP////8BAQoJhQYAAAEACgEB6gMAABsAAAABhgYAACAAAAAiJnpD5GCSQwGHBgAAIAAAAJMKvEN6uINDCYgGAAAJiQYAAAAAAAAKAYoGAABsAAAAAAAAAAAAAAABiwYAAGwAAAAAAAAAAAAAAAAAAAABjAYAABQAAAAAAAAAAAAAAAAAAAAAAAAApAEAAP////8BAQoJjQYAAAEACgAH6wMAAAABAAAAAgAAAAQaQXBsb3Jpcy5CYXNlLlVJLlZpc3VhbExpbmUDAAAACgoH7AMAAAABAAAAAwAAAAQVU3lzdGVtLkRyYXdpbmcuUG9pbnRGBAAAAAGOBgAAIAAAANKOnEOvDItDAY8GAAAgAAAAIiZ3Q68Mi0MBkAYAACAAAACTir1DrwyLQwftAwAAAAEAAAADAAAABBdBcGxvcmlzLkJhc2UuQW5jaG9yTW9kZQMAAAABkQYAAJoAAAAAAAAAAZIGAACaAAAAAgAAAAGTBgAAmgAAAAQAAAAB7gMAACQAAAAJ0wAAAAAAAAAAAAAAAe8DAAAlAAAACZQGAAACAAAABgAAAAfwAwAAAAEAAAACAAAABBpBcGxvcmlzLkJhc2UuVUkuVmlzdWFsTGluZQMAAAAKCgHxAwAAJAAAAAnTAAAAAAAAAAAAAAAB8gMAACUAAAAJ0QAAAAAAAAAAAAAAB/MDAAAAAQAAAAIAAAAEGkFwbG9yaXMuQmFzZS5VSS5WaXN1YWxMaW5lAwAAAAoKB/QDAAAAAQAAAAMAAAAEFVN5c3RlbS5EcmF3aW5nLlBvaW50RgQAAAABlQYAACAAAACxZxRD6e+CQwGWBgAAIAAAAF7gpELp74JDAZcGAAAgAAAAM19WQ+nvgkMH9QMAAAABAAAAAwAAAAQXQXBsb3Jpcy5CYXNlLkFuY2hvck1vZGUDAAAAAZgGAACaAAAAAAAAAAGZBgAAmgAAAAIAAAABmgYAAJoAAAAEAAAAAfYDAAAkAAAACdMAAAAAAAAAAAAAAAH3AwAAJQAAAAmbBgAAAAAAAAQAAAAH+AMAAAABAAAAAgAAAAQaQXBsb3Jpcy5CYXNlLlVJLlZpc3VhbExpbmUDAAAACgoH+QMAAAABAAAAAwAAAAQVU3lzdGVtLkRyYXdpbmcuUG9pbnRGBAAAAAGcBgAAIAAAAA/zrkPxJoxDAZ0GAAAgAAAATveNQ/EmjEMBngYAACAAAADQ7s9D8SaMQwf6AwAAAAEAAAADAAAABBdBcGxvcmlzLkJhc2UuQW5jaG9yTW9kZQMAAAABnwYAAJoAAAAAAAAAAaAGAACaAAAAAgAAAAGhBgAAmgAAAAQAAAAB+wMAACQAAAAJ0wAAAAAAAAAAAAAAAfwDAAAlAAAACaIGAAAAAAAABAAAAAf9AwAAAAEAAAACAAAABBpBcGxvcmlzLkJhc2UuVUkuVmlzdWFsTGluZQMAAAAKCgH+AwAAJAAAAAnTAAAAAAAAAAAAAAAB/wMAACUAAAAJ0QAAAAAAAAAAAAAABwAEAAAAAQAAAAIAAAAEGkFwbG9yaXMuQmFzZS5VSS5WaXN1YWxMaW5lAwAAAAoKBwEEAAAAAQAAAAMAAAAEFVN5c3RlbS5EcmF3aW5nLlBvaW50RgQAAAABowYAACAAAACxZxRDJlWEQwGkBgAAIAAAAF7gpEImVYRDAaUGAAAgAAAAM19WQyZVhEMHAgQAAAABAAAAAwAAAAQXQXBsb3Jpcy5CYXNlLkFuY2hvck1vZGUDAAAAAaYGAACaAAAAAAAAAAGnBgAAmgAAAAIAAAABqAYAAJoAAAAEAAAAAQMEAAAkAAAACdMAAAAAAAAAAAAAAAEEBAAAJQAAAAmpBgAAAAAAAAQAAAAHBQQAAAABAAAAAgAAAAQaQXBsb3Jpcy5CYXNlLlVJLlZpc3VhbExpbmUDAAAACgoHBgQAAAABAAAAAwAAAAQVU3lzdGVtLkRyYXdpbmcuUG9pbnRGBAAAAAGqBgAAIAAAAA/zrkN4L45DAasGAAAgAAAATveNQ3gvjkMBrAYAACAAAADQ7s9DeC+OQwcHBAAAAAEAAAADAAAABBdBcGxvcmlzLkJhc2UuQW5jaG9yTW9kZQMAAAABrQYAAJoAAAAAAAAAAa4GAACaAAAAAgAAAAGvBgAAmgAAAAQAAAABCAQAACQAAAAJ0wAAAAAAAAAAAAAAAQkEAAAlAAAACbAGAAAAAAAABAAAAAcKBAAAAAEAAAACAAAABBpBcGxvcmlzLkJhc2UuVUkuVmlzdWFsTGluZQMAAAAKCgELBAAAJAAAAAnTAAAAAAAAAAAAAAABDAQAACUAAAAJ0QAAAAAAAAAAAAAABw0EAAAAAQAAAAIAAAAEGkFwbG9yaXMuQmFzZS5VSS5WaXN1YWxMaW5lAwAAAAoKBw4EAAAAAQAAAAMAAAAEFVN5c3RlbS5EcmF3aW5nLlBvaW50RgQAAAABsQYAACAAAACxZxRDNKOOQwGyBgAAIAAAAF7gpEI0o45DAbMGAAAgAAAAM19WQzSjjkMHDwQAAAABAAAAAwAAAAQXQXBsb3Jpcy5CYXNlLkFuY2hvck1vZGUDAAAAAbQGAACaAAAAAAAAAAG1BgAAmgAAAAIAAAABtgYAAJoAAAAEAAAAARAEAAAkAAAACdMAAAAAAAAAAAAAAAERBAAAJQAAAAm3BgAAAAAAAAQAAAAHEgQAAAABAAAAAgAAAAQaQXBsb3Jpcy5CYXNlLlVJLlZpc3VhbExpbmUDAAAACgoHEwQAAAABAAAAAwAAAAQVU3lzdGVtLkRyYXdpbmcuUG9pbnRGBAAAAAG4BgAAIAAAAA/zrkPkbZNDAbkGAAAgAAAATveNQ+Rtk0MBugYAACAAAADQ7s9D5G2TQwcUBAAAAAEAAAADAAAABBdBcGxvcmlzLkJhc2UuQW5jaG9yTW9kZQMAAAABuwYAAJoAAAAAAAAAAbwGAACaAAAAAgAAAAG9BgAAmgAAAAQAAAABFQQAACQAAAAJ0wAAAAAAAAAAAAAAARYEAAAlAAAACb4GAAAAAAAABAAAAAcXBAAAAAEAAAACAAAABBpBcGxvcmlzLkJhc2UuVUkuVmlzdWFsTGluZQMAAAAKCgEYBAAAJAAAAAnTAAAAAAAAAAAAAAABGQQAACUAAAAJ0QAAAAAAAAAAAAAAASwEAAAiAAAACgoAAAAAAChBCXAAAAAJcQAAAAm/BgAAAAAJwAYAAAEtBAAAcgAAAAoKAAAAADZshwAFAAAAAAEBMgQAAKcAAAAJwQYAAAAAAAAFAAAAATMEAABvAAAACcIGAAAKATYEAABqAAAACgoAAABAPwnDBgAACcQGAAABAAAA/v///wAAAAABAAAAAAAAAAAAAAABAAAAAAAAAAAAAAE3BAAAawAAAAoKCcUGAAAJxgYAAAEAAAD+////AAAAAP////8BAAE7BAAAbwAAAAnHBgAACgdCBAAAAAEAAAAEAAAABBxBcGxvcmlzLkJhc2UuVUkuVmlzdWFsT2JqZWN0AwAAAAlUAwAACVMDAAAKCgFJBAAAIgAAAAoKAAAAAAAoQQlwAAAACXEAAAAJyAYAAAAACckGAAABSgQAAHIAAAAKCgAAAAA2bIcABQAAAAABAU8EAACnAAAACcoGAAAAAAAABQAAAAFQBAAAbwAAAAnLBgAACgFTBAAAagAAAAoKAAAAQD8JzAYAAAnNBgAAAQAAAP7///8AAAAAAQAAAAAAAAAAAAAAAQAAAAAAAAAAAAABVAQAAGsAAAAKCgnOBgAACc8GAAABAAAA/v///wAAAAD/////AQABWAQAAG8AAAAJ0AYAAAoHXwQAAAABAAAABAAAAAQcQXBsb3Jpcy5CYXNlLlVJLlZpc3VhbE9iamVjdAMAAAAJWwMAAAlaAwAACgoBZgQAACIAAAAKCgAAAAAAKEEJcAAAAAlxAAAACdEGAAAAAAnSBgAAAWcEAAByAAAACgoAAAAANmyHAAUAAAAAAAFsBAAApwAAAAnTBgAAAAAAAAQAAAABbQQAAG8AAAAJ1AYAAAoBcAQAAGoAAAAKCgAAAEA/CdUGAAAJ1gYAAAEAAAD+////AAAAAAEAAAAAAAAAAAAAAAEAAAAAAAAAAAAAAXEEAABrAAAACgoJ1wYAAAnYBgAAAQAAAP7///8AAAAA/////wEAAXUEAABvAAAACdkGAAAKB3wEAAAAAQAAAAQAAAAEHEFwbG9yaXMuQmFzZS5VSS5WaXN1YWxPYmplY3QDAAAACWIDAAAJYQMAAAoKAYMEAAAiAAAACgoAAAAAAChBCXAAAAAJcQAAAAnaBgAAAAAJ2wYAAAGEBAAAcgAAAAoKAAAAAHKEjAAGAAAAAAABiQQAAKcAAAAJ3AYAAAAAAAAEAAAAAYoEAABvAAAACd0GAAAKAY0EAABqAAAACgoAAABAPwneBgAACd8GAAABAAAA/v///wAAAAABAAAAAAAAAAAAAAABAAAAAAAAAAAAAAGOBAAAawAAAAoKCeAGAAAJ4QYAAAEAAAD+////AAAAAP////8BAAGSBAAAbwAAAAniBgAACgeZBAAAAAEAAAAEAAAABBxBcGxvcmlzLkJhc2UuVUkuVmlzdWFsT2JqZWN0AwAAAAlpAwAACWgDAAAKCgGgBAAAIgAAAAoKAAAAAAAoQQlwAAAACXEAAAAJ4wYAAAAACeQGAAABoQQAAHIAAAAKCgAAAAByhIwABgAAAAABAaYEAACnAAAACeUGAAAAAAAABAAAAAGnBAAAbwAAAAnmBgAACgGqBAAAagAAAAoKAAAAQD8J5wYAAAnoBgAAAQAAAP7///8AAAAAAQAAAAAAAAAAAAAAAQAAAAAAAAAAAAABqwQAAGsAAAAKCgnpBgAACeoGAAABAAAA/v///wAAAAD/////AQABrwQAAG8AAAAJ6wYAAAoHtgQAAAABAAAABAAAAAQcQXBsb3Jpcy5CYXNlLlVJLlZpc3VhbE9iamVjdAMAAAAJcAMAAAlvAwAACgoBvQQAACIAAAAKCgAAAAAAKEEJcAAAAAlxAAAACewGAAAAAAntBgAAAb4EAAByAAAACgoAAAAAcoSMAAYAAAAAAQHDBAAApwAAAAnuBgAAAAAAAAQAAAABxAQAAG8AAAAJ7wYAAAoBxwQAAGoAAAAKCgAAAEA/CfAGAAAJ8QYAAAEAAAD+////AAAAAAEAAAAAAAAAAAAAAAEAAAAAAAAAAAAAAcgEAABrAAAACgoJ8gYAAAnzBgAAAQAAAP7///8AAAAA/////wEAAcwEAABvAAAACfQGAAAKB9MEAAAAAQAAAAQAAAAEHEFwbG9yaXMuQmFzZS5VSS5WaXN1YWxPYmplY3QDAAAACXcDAAAJdgMAAAoKAdoEAAAiAAAACgoAAAAAAChBCXAAAAAJcQAAAAn1BgAAAAAJ9gYAAAHbBAAAcgAAAAoKAAAAAO0hJQAHAAAAAAEB4AQAAKcAAAAJ9wYAAAAAAAACAAAAAeEEAABvAAAACfgGAAAKAeQEAABqAAAACgoAAABAPwn5BgAACfoGAAABAAAA/v///wAAAAABAAAAAAAAAAAAAAABAAAAAAAAAAAAAAHlBAAAawAAAAoKCfsGAAAJ/AYAAAEAAAD+////AAAAAP////8BAAHpBAAAbwAAAAn9BgAACgfwBAAAAAEAAAAEAAAABBxBcGxvcmlzLkJhc2UuVUkuVmlzdWFsT2JqZWN0AwAAAAl+AwAACX0DAAAKCgH3BAAAIgAAAAoKAAAAAAAoQQlwAAAACXEAAAAJ/gYAAAAACf8GAAAB+AQAAHIAAAAKCgAAAADtISUABwAAAAAAAf0EAACnAAAACQAHAAAAAAAABAAAAAH+BAAAbwAAAAkBBwAACgEBBQAAagAAAAoKAAAAQD8JAgcAAAkDBwAAAQAAAP7///8AAAAAAQAAAAAAAAAAAAAAAQAAAAAAAAAAAAABAgUAAGsAAAAKCgkEBwAACQUHAAABAAAA/v///wAAAAD/////AQABBgUAAG8AAAAJBgcAAAoHDQUAAAABAAAABAAAAAQcQXBsb3Jpcy5CYXNlLlVJLlZpc3VhbE9iamVjdAMAAAAJhQMAAAmEAwAACgoBFAUAACIAAAAKCgAAAAAAKEEJcAAAAAlxAAAACQcHAAAAAAkIBwAAARUFAAByAAAACgoAAAAA7SElAAcAAAAAAQEaBQAApwAAAAkJBwAAAAAAAAQAAAABGwUAAG8AAAAJCgcAAAoBHgUAAGoAAAAKCgAAAEA/CQsHAAAJDAcAAAEAAAD+////AAAAAAEAAAAAAAAAAAAAAAEAAAAAAAAAAAAAAR8FAABrAAAACgoJDQcAAAkOBwAAAQAAAP7///8AAAAA/////wEAASMFAABvAAAACQ8HAAAKByoFAAAAAQAAAAQAAAAEHEFwbG9yaXMuQmFzZS5VSS5WaXN1YWxPYmplY3QDAAAACYwDAAAJiwMAAAoKATEFAAAiAAAACgoAAAAAAChBCXAAAAAJcQAAAAkQBwAAAAAJEQcAAAEyBQAAcgAAAAoKAAAAAEY7NAAIAAAAAAEBNwUAAKcAAAAJEgcAAAAAAAAFAAAAATgFAABvAAAACRMHAAAKATsFAABqAAAACgoAAABAPwkUBwAACRUHAAABAAAA/v///wAAAAABAAAAAAAAAAAAAAABAAAAAAAAAAAAAAE8BQAAawAAAAoKCRYHAAAJFwcAAAEAAAD+////AAAAAP////8BAAFABQAAbwAAAAkYBwAACgdHBQAAAAEAAAAEAAAABBxBcGxvcmlzLkJhc2UuVUkuVmlzdWFsT2JqZWN0AwAAAAmTAwAACZIDAAAKCgFOBQAAIgAAAAoKAAAAAAAoQQlwAAAACXEAAAAJGQcAAAAACRoHAAABTwUAAHIAAAAKCgAAAABGOzQACAAAAAABAVQFAACnAAAACRsHAAAAAAAABAAAAAFVBQAAbwAAAAkcBwAACgFYBQAAagAAAAoKAAAAQD8JHQcAAAkeBwAAAQAAAP7///8AAAAAAQAAAAAAAAAAAAAAAQAAAAAAAAAAAAABWQUAAGsAAAAKCgkfBwAACSAHAAABAAAA/v///wAAAAD/////AQABXQUAAG8AAAAJIQcAAAoHZAUAAAABAAAABAAAAAQcQXBsb3Jpcy5CYXNlLlVJLlZpc3VhbE9iamVjdAMAAAAJmgMAAAmZAwAACgoBawUAACIAAAAKCgAAAAAAKEEJcAAAAAlxAAAACSIHAAAAAAkjBwAAAWwFAAByAAAACgoAAAAARjs0AAgAAAAAAQFxBQAApwAAAAkkBwAAAAAAAAQAAAABcgUAAG8AAAAJJQcAAAoBdQUAAGoAAAAKCgAAAEA/CSYHAAAJJwcAAAEAAAD+////AAAAAAEAAAAAAAAAAAAAAAEAAAAAAAAAAAAAAXYFAABrAAAACgoJKAcAAAkpBwAAAQAAAP7///8AAAAA/////wEAAXoFAABvAAAACSoHAAAKB4EFAAAAAQAAAAQAAAAEHEFwbG9yaXMuQmFzZS5VSS5WaXN1YWxPYmplY3QDAAAACaEDAAAJoAMAAAoKAYgFAAAiAAAACgoAAAAAAChBCXAAAAAJcQAAAAkrBwAAAAAJLAcAAAGJBQAAcgAAAAoKAAAAAMOYdAAJAAAAAAABjgUAAKcAAAAJLQcAAAAAAAAFAAAAAY8FAABvAAAACS4HAAAKAZIFAABqAAAACgoAAABAPwkvBwAACTAHAAABAAAA/v///wAAAAABAAAAAAAAAAAAAAABAAAAAAAAAAAAAAGTBQAAawAAAAoKCTEHAAAJMgcAAAEAAAD+////AAAAAP////8BAAGXBQAAbwAAAAkzBwAACgeeBQAAAAEAAAAEAAAABBxBcGxvcmlzLkJhc2UuVUkuVmlzdWFsT2JqZWN0AwAAAAmoAwAACacDAAAKCgGlBQAAIgAAAAoKAAAAAAAoQQlwAAAACXEAAAAJNAcAAAAACTUHAAABpgUAAHIAAAAKCgAAAADDmHQACQAAAAABAasFAACnAAAACTYHAAAAAAAABgAAAAGsBQAAbwAAAAk3BwAACgGvBQAAagAAAAoKAAAAQD8JOAcAAAk5BwAAAQAAAP7///8AAAAAAQAAAAAAAAAAAAAAAQAAAAAAAAAAAAABsAUAAGsAAAAKCgk6BwAACTsHAAABAAAA/v///wAAAAD/////AQABtAUAAG8AAAAJPAcAAAoHuwUAAAABAAAABAAAAAQcQXBsb3Jpcy5CYXNlLlVJLlZpc3VhbE9iamVjdAMAAAAJrwMAAAmuAwAACgoBwgUAACIAAAAKCgAAAAAAKEEJcAAAAAlxAAAACT0HAAAAAAk+BwAAAcMFAAByAAAACgoAAAAAw5h0AAkAAAAAAQHIBQAApwAAAAk/BwAAAAAAAAYAAAAByQUAAG8AAAAJQAcAAAoBzAUAAGoAAAAKCgAAAEA/CUEHAAAJQgcAAAEAAAD+////AAAAAAEAAAAAAAAAAAAAAAEAAAAAAAAAAAAAAc0FAABrAAAACgoJQwcAAAlEBwAAAQAAAP7///8AAAAA/////wEAAdEFAABvAAAACUUHAAAKB9gFAAAAAQAAAAQAAAAEHEFwbG9yaXMuQmFzZS5VSS5WaXN1YWxPYmplY3QDAAAACbYDAAAJtQMAAAoKAd8FAAAiAAAACgoAAAAAAChBCXAAAAAJcQAAAAlGBwAAAAAJRwcAAAHgBQAAcgAAAAoKAAAAAPeUHgAKAAAAAAEB5QUAAKcAAAAJSAcAAAAAAAAEAAAAAeYFAABvAAAACUkHAAAKAekFAABqAAAACgoAAABAPwlKBwAACUsHAAABAAAA/v///wAAAAABAAAAAAAAAAAAAAABAAAAAAAAAAAAAAHqBQAAawAAAAoKCUwHAAAJTQcAAAEAAAD+////AAAAAP////8BAAHuBQAAbwAAAAlOBwAACgf1BQAAAAEAAAAEAAAABBxBcGxvcmlzLkJhc2UuVUkuVmlzdWFsT2JqZWN0AwAAAAm9AwAACbwDAAAKCgH8BQAAIgAAAAoKAAAAAAAoQQlwAAAACXEAAAAJTwcAAAAACVAHAAAB/QUAAHIAAAAKCgAAAAD3lB4ACgAAAAABAQIGAACnAAAACVEHAAAAAAAABgAAAAEDBgAAbwAAAAlSBwAACgEGBgAAagAAAAoKAAAAQD8JUwcAAAlUBwAAAQAAAP7///8AAAAAAQAAAAAAAAAAAAAAAQAAAAAAAAAAAAABBwYAAGsAAAAKCglVBwAACVYHAAABAAAA/v///wAAAAD/////AQABCwYAAG8AAAAJVwcAAAoHEgYAAAABAAAABAAAAAQcQXBsb3Jpcy5CYXNlLlVJLlZpc3VhbE9iamVjdAMAAAAJxAMAAAnDAwAACgoBGQYAACIAAAAKCgAAAAAAKEEJcAAAAAlxAAAACVgHAAAAAAlZBwAAARoGAAByAAAACgoAAAAA95QeAAoAAAAAAQEfBgAApwAAAAlaBwAAAAAAAAQAAAABIAYAAG8AAAAJWwcAAAoBIwYAAGoAAAAKCgAAAEA/CVwHAAAJXQcAAAEAAAD+////AAAAAAEAAAAAAAAAAAAAAAEAAAAAAAAAAAAAASQGAABrAAAACgoJXgcAAAlfBwAAAQAAAP7///8AAAAA/////wEAASgGAABvAAAACWAHAAAKBy8GAAAAAQAAAAQAAAAEHEFwbG9yaXMuQmFzZS5VSS5WaXN1YWxPYmplY3QDAAAACcsDAAAJygMAAAoKBzYGAAAAAQAAAAQAAAAEHEFwbG9yaXMuQmFzZS5VSS5WaXN1YWxPYmplY3QDAAAADQQBPQYAACIAAAAKCgAAAAAAKEEJcAAAAAlxAAAACWEHAAAAAAliBwAAAT4GAAByAAAACgoAAAAANmyHAAUAAAAAAAFDBgAApwAAAAljBwAAAAAAAAQAAAABRAYAAG8AAAAJZAcAAAoBRwYAAGoAAAAKCgAAAEA/CWUHAAAJZgcAAAEAAAD+////AAAAAAEAAAAAAAAAAAAAAAEAAAAAAAAAAAAAAUgGAABrAAAACgoJZwcAAAloBwAAAQAAAP7///8AAAAA/////wEAAUwGAABvAAAACWkHAAAKB1MGAAAAAQAAAAQAAAAEHEFwbG9yaXMuQmFzZS5VSS5WaXN1YWxPYmplY3QDAAAACdcDAAAJ1gMAAAoKAVoGAAAiAAAACgoAAAAAAChBCXAAAAAJcQAAAAlqBwAAAAAJawcAAAFbBgAAcgAAAAoKAAAAADZshwAFAAAAAAEBYAYAAKcAAAAJbAcAAAAAAAAEAAAAAWEGAABvAAAACW0HAAAKAWQGAABqAAAACgoAAABAPwluBwAACW8HAAABAAAA/v///wAAAAABAAAAAAAAAAAAAAABAAAAAAAAAAAAAAFlBgAAawAAAAoKCXAHAAAJcQcAAAEAAAD+////AAAAAP////8BAAFpBgAAbwAAAAlyBwAACgdwBgAAAAEAAAAEAAAABBxBcGxvcmlzLkJhc2UuVUkuVmlzdWFsT2JqZWN0AwAAAAneAwAACd0DAAAKCgd3BgAAAAEAAAAEAAAABBxBcGxvcmlzLkJhc2UuVUkuVmlzdWFsT2JqZWN0AwAAAA0EAX4GAAAiAAAACgoAAAAAAChBCXAAAAAJcQAAAAlzBwAAAAAJdAcAAAF/BgAAcgAAAAoKAAAAAHKEjAAGAAAAAAEBhAYAAKcAAAAJdQcAAAAAAAAEAAAAAYUGAABvAAAACXYHAAAKAYgGAABqAAAACgoAAABAPwl3BwAACXgHAAABAAAA/v///wAAAAABAAAAAAAAAAAAAAABAAAAAAAAAAAAAAGJBgAAawAAAAoKCXkHAAAJegcAAAEAAAD+////AAAAAP////8BAAGNBgAAbwAAAAl7BwAACgeUBgAAAAEAAAAEAAAABBxBcGxvcmlzLkJhc2UuVUkuVmlzdWFsT2JqZWN0AwAAAAnqAwAACekDAAAKCgebBgAAAAEAAAAEAAAABBxBcGxvcmlzLkJhc2UuVUkuVmlzdWFsT2JqZWN0AwAAAA0EB6IGAAAAAQAAAAQAAAAEHEFwbG9yaXMuQmFzZS5VSS5WaXN1YWxPYmplY3QDAAAADQQHqQYAAAABAAAABAAAAAQcQXBsb3Jpcy5CYXNlLlVJLlZpc3VhbE9iamVjdAMAAAANBAewBgAAAAEAAAAEAAAABBxBcGxvcmlzLkJhc2UuVUkuVmlzdWFsT2JqZWN0AwAAAA0EB7cGAAAAAQAAAAQAAAAEHEFwbG9yaXMuQmFzZS5VSS5WaXN1YWxPYmplY3QDAAAADQQHvgYAAAABAAAABAAAAAQcQXBsb3Jpcy5CYXNlLlVJLlZpc3VhbE9iamVjdAMAAAANBAG/BgAAcgAAAAoKAAAAAP///wAOAAAAAAABwAYAAHIAAAAKCgAAAAD///8ADgAAAAABB8EGAAAAAQAAAAQAAAAEHUFwbG9yaXMuQmFzZS5PYmplY3RzLlZhcmlhYmxlAwAAAAF8BwAA8QIAAAAAAAAAAAAAAX0HAADxAgAAAAAAAAAAAAABfgcAAPECAAAAAAAAAAAAAAF/BwAA8QIAAAAAAAAAAAAAD8IGAAABAAAACDIAAAAFwwYAABpBcGxvcmlzLkJhc2UuT2JqZWN0cy5Db2xvcgcAAAASRGF0YU9iamVjdCttUGFyZW50FURhdGFPYmplY3QrbUNvbnRhaW5lcgVtVHlwZQRtUkdCEG1UaGVtZUNvbG9ySW5kZXgMbUF1dG9VcGRhdGVkCW1Nb2RpZmllZAQCAAAAAAAfQXBsb3Jpcy5CYXNlLk9iamVjdHMuTGluZUZvcm1hdAMAAAAICAgBAQMAAAAJNgQAAAoAAAAA////AA4AAAAAAAXEBgAAGkFwbG9yaXMuQmFzZS5PYmplY3RzLkNvbG9yBwAAABJEYXRhT2JqZWN0K21QYXJlbnQVRGF0YU9iamVjdCttQ29udGFpbmVyBW1UeXBlBG1SR0IQbVRoZW1lQ29sb3JJbmRleAxtQXV0b1VwZGF0ZWQJbU1vZGlmaWVkBAIAAAAAAB9BcGxvcmlzLkJhc2UuT2JqZWN0cy5MaW5lRm9ybWF0AwAAAAgICAEBAwAAAAk2BAAACgEAAAAAAAAA/////wABAcUGAAByAAAACgoAAAAANmyHAAUAAAAAAAHGBgAAcgAAAAoKAQAAAP///wD/////AAAPxwYAAAEAAAAIFQAAAAHIBgAAcgAAAAoKAAAAAP///wAOAAAAAAAByQYAAHIAAAAKCgAAAAD///8ADgAAAAABB8oGAAAAAQAAAAQAAAAEHUFwbG9yaXMuQmFzZS5PYmplY3RzLlZhcmlhYmxlAwAAAAGABwAA8QIAAAAAAAAAAAAAAYEHAADxAgAAAAAAAAAAAAABggcAAPECAAAAAAAAAAAAAAGDBwAA8QIAAAAAAAAAAAAAD8sGAAABAAAACDsAAAAFzAYAABpBcGxvcmlzLkJhc2UuT2JqZWN0cy5Db2xvcgcAAAASRGF0YU9iamVjdCttUGFyZW50FURhdGFPYmplY3QrbUNvbnRhaW5lcgVtVHlwZQRtUkdCEG1UaGVtZUNvbG9ySW5kZXgMbUF1dG9VcGRhdGVkCW1Nb2RpZmllZAQCAAAAAAAfQXBsb3Jpcy5CYXNlLk9iamVjdHMuTGluZUZvcm1hdAMAAAAICAgBAQMAAAAJUwQAAAoAAAAA////AA4AAAAAAAXNBgAAGkFwbG9yaXMuQmFzZS5PYmplY3RzLkNvbG9yBwAAABJEYXRhT2JqZWN0K21QYXJlbnQVRGF0YU9iamVjdCttQ29udGFpbmVyBW1UeXBlBG1SR0IQbVRoZW1lQ29sb3JJbmRleAxtQXV0b1VwZGF0ZWQJbU1vZGlmaWVkBAIAAAAAAB9BcGxvcmlzLkJhc2UuT2JqZWN0cy5MaW5lRm9ybWF0AwAAAAgICAEBAwAAAAlTBAAACgEAAAAAAAAA/////wABAc4GAAByAAAACgoAAAAANmyHAAUAAAAAAAHPBgAAcgAAAAoKAQAAAP///wD/////AAAP0AYAAAEAAAAIFAAAAAHRBgAAcgAAAAoKAAAAAP///wAOAAAAAAAB0gYAAHIAAAAKCgAAAAD///8ADgAAAAABB9MGAAAAAQAAAAQAAAAEHUFwbG9yaXMuQmFzZS5PYmplY3RzLlZhcmlhYmxlAwAAAAGEBwAA8QIAAAAAAAAAAAAAAYUHAADxAgAAAAAAAAAAAAABhgcAAPECAAAAAAAAAAAAAAGHBwAA8QIAAAAAAAAAAAAAD9QGAAABAAAACDgAAAAF1QYAABpBcGxvcmlzLkJhc2UuT2JqZWN0cy5Db2xvcgcAAAASRGF0YU9iamVjdCttUGFyZW50FURhdGFPYmplY3QrbUNvbnRhaW5lcgVtVHlwZQRtUkdCEG1UaGVtZUNvbG9ySW5kZXgMbUF1dG9VcGRhdGVkCW1Nb2RpZmllZAQCAAAAAAAfQXBsb3Jpcy5CYXNlLk9iamVjdHMuTGluZUZvcm1hdAMAAAAICAgBAQMAAAAJcAQAAAoAAAAA////AA4AAAAAAAXWBgAAGkFwbG9yaXMuQmFzZS5PYmplY3RzLkNvbG9yBwAAABJEYXRhT2JqZWN0K21QYXJlbnQVRGF0YU9iamVjdCttQ29udGFpbmVyBW1UeXBlBG1SR0IQbVRoZW1lQ29sb3JJbmRleAxtQXV0b1VwZGF0ZWQJbU1vZGlmaWVkBAIAAAAAAB9BcGxvcmlzLkJhc2UuT2JqZWN0cy5MaW5lRm9ybWF0AwAAAAgICAEBAwAAAAlwBAAACgEAAAAAAAAA/////wABAdcGAAByAAAACgoAAAAANmyHAAUAAAAAAAHYBgAAcgAAAAoKAQAAAP///wD/////AAAP2QYAAAEAAAAIEAAAAAHaBgAAcgAAAAoKAAAAAP///wAOAAAAAAAB2wYAAHIAAAAKCgAAAAD///8ADgAAAAABB9wGAAAAAQAAAAQAAAAEHUFwbG9yaXMuQmFzZS5PYmplY3RzLlZhcmlhYmxlAwAAAAGIBwAA8QIAAAAAAAAAAAAAAYkHAADxAgAAAAAAAAAAAAABigcAAPECAAAAAAAAAAAAAAGLBwAA8QIAAAAAAAAAAAAAD90GAAABAAAACCkAAAAF3gYAABpBcGxvcmlzLkJhc2UuT2JqZWN0cy5Db2xvcgcAAAASRGF0YU9iamVjdCttUGFyZW50FURhdGFPYmplY3QrbUNvbnRhaW5lcgVtVHlwZQRtUkdCEG1UaGVtZUNvbG9ySW5kZXgMbUF1dG9VcGRhdGVkCW1Nb2RpZmllZAQCAAAAAAAfQXBsb3Jpcy5CYXNlLk9iamVjdHMuTGluZUZvcm1hdAMAAAAICAgBAQMAAAAJjQQAAAoAAAAA////AA4AAAAAAAXfBgAAGkFwbG9yaXMuQmFzZS5PYmplY3RzLkNvbG9yBwAAABJEYXRhT2JqZWN0K21QYXJlbnQVRGF0YU9iamVjdCttQ29udGFpbmVyBW1UeXBlBG1SR0IQbVRoZW1lQ29sb3JJbmRleAxtQXV0b1VwZGF0ZWQJbU1vZGlmaWVkBAIAAAAAAB9BcGxvcmlzLkJhc2UuT2JqZWN0cy5MaW5lRm9ybWF0AwAAAAgICAEBAwAAAAmNBAAACgEAAAAAAAAA/////wABAeAGAAByAAAACgoAAAAAcoSMAAYAAAAAAAHhBgAAcgAAAAoKAQAAAP///wD/////AAAP4gYAAAEAAAAIEgAAAAHjBgAAcgAAAAoKAAAAAP///wAOAAAAAAAB5AYAAHIAAAAKCgAAAAD///8ADgAAAAABB+UGAAAAAQAAAAQAAAAEHUFwbG9yaXMuQmFzZS5PYmplY3RzLlZhcmlhYmxlAwAAAAGMBwAA8QIAAAAAAAAAAAAAAY0HAADxAgAAAAAAAAAAAAABjgcAAPECAAAAAAAAAAAAAAGPBwAA8QIAAAAAAAAAAAAAD+YGAAABAAAACC8AAAAF5wYAABpBcGxvcmlzLkJhc2UuT2JqZWN0cy5Db2xvcgcAAAASRGF0YU9iamVjdCttUGFyZW50FURhdGFPYmplY3QrbUNvbnRhaW5lcgVtVHlwZQRtUkdCEG1UaGVtZUNvbG9ySW5kZXgMbUF1dG9VcGRhdGVkCW1Nb2RpZmllZAQCAAAAAAAfQXBsb3Jpcy5CYXNlLk9iamVjdHMuTGluZUZvcm1hdAMAAAAICAgBAQMAAAAJqgQAAAoAAAAA////AA4AAAAAAAXoBgAAGkFwbG9yaXMuQmFzZS5PYmplY3RzLkNvbG9yBwAAABJEYXRhT2JqZWN0K21QYXJlbnQVRGF0YU9iamVjdCttQ29udGFpbmVyBW1UeXBlBG1SR0IQbVRoZW1lQ29sb3JJbmRleAxtQXV0b1VwZGF0ZWQJbU1vZGlmaWVkBAIAAAAAAB9BcGxvcmlzLkJhc2UuT2JqZWN0cy5MaW5lRm9ybWF0AwAAAAgICAEBAwAAAAmqBAAACgEAAAAAAAAA/////wABAekGAAByAAAACgoAAAAAcoSMAAYAAAAAAAHqBgAAcgAAAAoKAQAAAP///wD/////AAAP6wYAAAEAAAAIEwAAAAHsBgAAcgAAAAoKAAAAAP///wAOAAAAAAAB7QYAAHIAAAAKCgAAAAD///8ADgAAAAABB+4GAAAAAQAAAAQAAAAEHUFwbG9yaXMuQmFzZS5PYmplY3RzLlZhcmlhYmxlAwAAAAGQBwAA8QIAAAAAAAAAAAAAAZEHAADxAgAAAAAAAAAAAAABkgcAAPECAAAAAAAAAAAAAAGTBwAA8QIAAAAAAAAAAAAAD+8GAAABAAAACCwAAAAF8AYAABpBcGxvcmlzLkJhc2UuT2JqZWN0cy5Db2xvcgcAAAASRGF0YU9iamVjdCttUGFyZW50FURhdGFPYmplY3QrbUNvbnRhaW5lcgVtVHlwZQRtUkdCEG1UaGVtZUNvbG9ySW5kZXgMbUF1dG9VcGRhdGVkCW1Nb2RpZmllZAQCAAAAAAAfQXBsb3Jpcy5CYXNlLk9iamVjdHMuTGluZUZvcm1hdAMAAAAICAgBAQMAAAAJxwQAAAoAAAAA////AA4AAAAAAAXxBgAAGkFwbG9yaXMuQmFzZS5PYmplY3RzLkNvbG9yBwAAABJEYXRhT2JqZWN0K21QYXJlbnQVRGF0YU9iamVjdCttQ29udGFpbmVyBW1UeXBlBG1SR0IQbVRoZW1lQ29sb3JJbmRleAxtQXV0b1VwZGF0ZWQJbU1vZGlmaWVkBAIAAAAAAB9BcGxvcmlzLkJhc2UuT2JqZWN0cy5MaW5lRm9ybWF0AwAAAAgICAEBAwAAAAnHBAAACgEAAAAAAAAA/////wABAfIGAAByAAAACgoAAAAAcoSMAAYAAAAAAAHzBgAAcgAAAAoKAQAAAP///wD/////AAAP9AYAAAEAAAAIEQAAAAH1BgAAcgAAAAoKAAAAAP///wAOAAAAAAAB9gYAAHIAAAAKCgAAAAD///8ADgAAAAABB/cGAAAAAQAAAAQAAAAEHUFwbG9yaXMuQmFzZS5PYmplY3RzLlZhcmlhYmxlAwAAAAGUBwAA8QIAAAAAAAAAAAAAAZUHAADxAgAAAAAAAAAAAAABlgcAAPECAAAAAAAAAAAAAAGXBwAA8QIAAAAAAAAAAAAAD/gGAAABAAAACC0AAAAF+QYAABpBcGxvcmlzLkJhc2UuT2JqZWN0cy5Db2xvcgcAAAASRGF0YU9iamVjdCttUGFyZW50FURhdGFPYmplY3QrbUNvbnRhaW5lcgVtVHlwZQRtUkdCEG1UaGVtZUNvbG9ySW5kZXgMbUF1dG9VcGRhdGVkCW1Nb2RpZmllZAQCAAAAAAAfQXBsb3Jpcy5CYXNlLk9iamVjdHMuTGluZUZvcm1hdAMAAAAICAgBAQMAAAAJ5AQAAAoAAAAA////AA4AAAAAAAX6BgAAGkFwbG9yaXMuQmFzZS5PYmplY3RzLkNvbG9yBwAAABJEYXRhT2JqZWN0K21QYXJlbnQVRGF0YU9iamVjdCttQ29udGFpbmVyBW1UeXBlBG1SR0IQbVRoZW1lQ29sb3JJbmRleAxtQXV0b1VwZGF0ZWQJbU1vZGlmaWVkBAIAAAAAAB9BcGxvcmlzLkJhc2UuT2JqZWN0cy5MaW5lRm9ybWF0AwAAAAgICAEBAwAAAAnkBAAACgEAAAAAAAAA/////wABAfsGAAByAAAACgoAAAAA7SElAAcAAAAAAAH8BgAAcgAAAAoKAQAAAP///wD/////AAAP/QYAAAEAAAAIBQAAAAH+BgAAcgAAAAoKAAAAAP///wAOAAAAAAAB/wYAAHIAAAAKCgAAAAD///8ADgAAAAABBwAHAAAAAQAAAAQAAAAEHUFwbG9yaXMuQmFzZS5PYmplY3RzLlZhcmlhYmxlAwAAAAGYBwAA8QIAAAAAAAAAAAAAAZkHAADxAgAAAAAAAAAAAAABmgcAAPECAAAAAAAAAAAAAAGbBwAA8QIAAAAAAAAAAAAADwEHAAABAAAACC4AAAAFAgcAABpBcGxvcmlzLkJhc2UuT2JqZWN0cy5Db2xvcgcAAAASRGF0YU9iamVjdCttUGFyZW50FURhdGFPYmplY3QrbUNvbnRhaW5lcgVtVHlwZQRtUkdCEG1UaGVtZUNvbG9ySW5kZXgMbUF1dG9VcGRhdGVkCW1Nb2RpZmllZAQCAAAAAAAfQXBsb3Jpcy5CYXNlLk9iamVjdHMuTGluZUZvcm1hdAMAAAAICAgBAQMAAAAJAQUAAAoAAAAA////AA4AAAAAAAUDBwAAGkFwbG9yaXMuQmFzZS5PYmplY3RzLkNvbG9yBwAAABJEYXRhT2JqZWN0K21QYXJlbnQVRGF0YU9iamVjdCttQ29udGFpbmVyBW1UeXBlBG1SR0IQbVRoZW1lQ29sb3JJbmRleAxtQXV0b1VwZGF0ZWQJbU1vZGlmaWVkBAIAAAAAAB9BcGxvcmlzLkJhc2UuT2JqZWN0cy5MaW5lRm9ybWF0AwAAAAgICAEBAwAAAAkBBQAACgEAAAAAAAAA/////wABAQQHAAByAAAACgoAAAAA7SElAAcAAAAAAAEFBwAAcgAAAAoKAQAAAP///wD/////AAAPBgcAAAEAAAAIBgAAAAEHBwAAcgAAAAoKAAAAAP///wAOAAAAAAABCAcAAHIAAAAKCgAAAAD///8ADgAAAAABBwkHAAAAAQAAAAQAAAAEHUFwbG9yaXMuQmFzZS5PYmplY3RzLlZhcmlhYmxlAwAAAAGcBwAA8QIAAAAAAAAAAAAAAZ0HAADxAgAAAAAAAAAAAAABngcAAPECAAAAAAAAAAAAAAGfBwAA8QIAAAAAAAAAAAAADwoHAAABAAAACDAAAAAFCwcAABpBcGxvcmlzLkJhc2UuT2JqZWN0cy5Db2xvcgcAAAASRGF0YU9iamVjdCttUGFyZW50FURhdGFPYmplY3QrbUNvbnRhaW5lcgVtVHlwZQRtUkdCEG1UaGVtZUNvbG9ySW5kZXgMbUF1dG9VcGRhdGVkCW1Nb2RpZmllZAQCAAAAAAAfQXBsb3Jpcy5CYXNlLk9iamVjdHMuTGluZUZvcm1hdAMAAAAICAgBAQMAAAAJHgUAAAoAAAAA////AA4AAAAAAAUMBwAAGkFwbG9yaXMuQmFzZS5PYmplY3RzLkNvbG9yBwAAABJEYXRhT2JqZWN0K21QYXJlbnQVRGF0YU9iamVjdCttQ29udGFpbmVyBW1UeXBlBG1SR0IQbVRoZW1lQ29sb3JJbmRleAxtQXV0b1VwZGF0ZWQJbU1vZGlmaWVkBAIAAAAAAB9BcGxvcmlzLkJhc2UuT2JqZWN0cy5MaW5lRm9ybWF0AwAAAAgICAEBAwAAAAkeBQAACgEAAAAAAAAA/////wABAQ0HAAByAAAACgoAAAAA7SElAAcAAAAAAAEOBwAAcgAAAAoKAQAAAP///wD/////AAAPDwcAAAEAAAAIBwAAAAEQBwAAcgAAAAoKAAAAAP///wAOAAAAAAABEQcAAHIAAAAKCgAAAAD///8ADgAAAAABBxIHAAAAAQAAAAQAAAAEHUFwbG9yaXMuQmFzZS5PYmplY3RzLlZhcmlhYmxlAwAAAAGgBwAA8QIAAAAAAAAAAAAAAaEHAADxAgAAAAAAAAAAAAABogcAAPECAAAAAAAAAAAAAAGjBwAA8QIAAAAAAAAAAAAADxMHAAABAAAACCgAAAAFFAcAABpBcGxvcmlzLkJhc2UuT2JqZWN0cy5Db2xvcgcAAAASRGF0YU9iamVjdCttUGFyZW50FURhdGFPYmplY3QrbUNvbnRhaW5lcgVtVHlwZQRtUkdCEG1UaGVtZUNvbG9ySW5kZXgMbUF1dG9VcGRhdGVkCW1Nb2RpZmllZAQCAAAAAAAfQXBsb3Jpcy5CYXNlLk9iamVjdHMuTGluZUZvcm1hdAMAAAAICAgBAQMAAAAJOwUAAAoAAAAA////AA4AAAAAAAUVBwAAGkFwbG9yaXMuQmFzZS5PYmplY3RzLkNvbG9yBwAAABJEYXRhT2JqZWN0K21QYXJlbnQVRGF0YU9iamVjdCttQ29udGFpbmVyBW1UeXBlBG1SR0IQbVRoZW1lQ29sb3JJbmRleAxtQXV0b1VwZGF0ZWQJbU1vZGlmaWVkBAIAAAAAAB9BcGxvcmlzLkJhc2UuT2JqZWN0cy5MaW5lRm9ybWF0AwAAAAgICAEBAwAAAAk7BQAACgEAAAAAAAAA/////wABARYHAAByAAAACgoAAAAARjs0AAgAAAAAAAEXBwAAcgAAAAoKAQAAAP///wD/////AAAPGAcAAAEAAAAIBAAAAAEZBwAAcgAAAAoKAAAAAP///wAOAAAAAAABGgcAAHIAAAAKCgAAAAD///8ADgAAAAABBxsHAAAAAQAAAAQAAAAEHUFwbG9yaXMuQmFzZS5PYmplY3RzLlZhcmlhYmxlAwAAAAGkBwAA8QIAAAAAAAAAAAAAAaUHAADxAgAAAAAAAAAAAAABpgcAAPECAAAAAAAAAAAAAAGnBwAA8QIAAAAAAAAAAAAADxwHAAABAAAACCcAAAAFHQcAABpBcGxvcmlzLkJhc2UuT2JqZWN0cy5Db2xvcgcAAAASRGF0YU9iamVjdCttUGFyZW50FURhdGFPYmplY3QrbUNvbnRhaW5lcgVtVHlwZQRtUkdCEG1UaGVtZUNvbG9ySW5kZXgMbUF1dG9VcGRhdGVkCW1Nb2RpZmllZAQCAAAAAAAfQXBsb3Jpcy5CYXNlLk9iamVjdHMuTGluZUZvcm1hdAMAAAAICAgBAQMAAAAJWAUAAAoAAAAA////AA4AAAAAAAUeBwAAGkFwbG9yaXMuQmFzZS5PYmplY3RzLkNvbG9yBwAAABJEYXRhT2JqZWN0K21QYXJlbnQVRGF0YU9iamVjdCttQ29udGFpbmVyBW1UeXBlBG1SR0IQbVRoZW1lQ29sb3JJbmRleAxtQXV0b1VwZGF0ZWQJbU1vZGlmaWVkBAIAAAAAAB9BcGxvcmlzLkJhc2UuT2JqZWN0cy5MaW5lRm9ybWF0AwAAAAgICAEBAwAAAAlYBQAACgEAAAAAAAAA/////wABAR8HAAByAAAACgoAAAAARjs0AAgAAAAAAAEgBwAAcgAAAAoKAQAAAP///wD/////AAAPIQcAAAEAAAAIAQAAAAEiBwAAcgAAAAoKAAAAAP///wAOAAAAAAABIwcAAHIAAAAKCgAAAAD///8ADgAAAAABByQHAAAAAQAAAAQAAAAEHUFwbG9yaXMuQmFzZS5PYmplY3RzLlZhcmlhYmxlAwAAAAGoBwAA8QIAAAAAAAAAAAAAAakHAADxAgAAAAAAAAAAAAABqgcAAPECAAAAAAAAAAAAAAGrBwAA8QIAAAAAAAAAAAAADyUHAAABAAAACCsAAAAFJgcAABpBcGxvcmlzLkJhc2UuT2JqZWN0cy5Db2xvcgcAAAASRGF0YU9iamVjdCttUGFyZW50FURhdGFPYmplY3QrbUNvbnRhaW5lcgVtVHlwZQRtUkdCEG1UaGVtZUNvbG9ySW5kZXgMbUF1dG9VcGRhdGVkCW1Nb2RpZmllZAQCAAAAAAAfQXBsb3Jpcy5CYXNlLk9iamVjdHMuTGluZUZvcm1hdAMAAAAICAgBAQMAAAAJdQUAAAoAAAAA////AA4AAAAAAAUnBwAAGkFwbG9yaXMuQmFzZS5PYmplY3RzLkNvbG9yBwAAABJEYXRhT2JqZWN0K21QYXJlbnQVRGF0YU9iamVjdCttQ29udGFpbmVyBW1UeXBlBG1SR0IQbVRoZW1lQ29sb3JJbmRleAxtQXV0b1VwZGF0ZWQJbU1vZGlmaWVkBAIAAAAAAB9BcGxvcmlzLkJhc2UuT2JqZWN0cy5MaW5lRm9ybWF0AwAAAAgICAEBAwAAAAl1BQAACgEAAAAAAAAA/////wABASgHAAByAAAACgoAAAAARjs0AAgAAAAAAAEpBwAAcgAAAAoKAQAAAP///wD/////AAAPKgcAAAEAAAAIAgAAAAErBwAAcgAAAAoKAAAAAAAAAAANAAAAAAABLAcAAHIAAAAKCgAAAAAAAAAADQAAAAABBy0HAAAAAQAAAAQAAAAEHUFwbG9yaXMuQmFzZS5PYmplY3RzLlZhcmlhYmxlAwAAAAGsBwAA8QIAAAAAAAAAAAAAAa0HAADxAgAAAAAAAAAAAAABrgcAAPECAAAAAAAAAAAAAAGvBwAA8QIAAAAAAAAAAAAADy4HAAABAAAACCoAAAAFLwcAABpBcGxvcmlzLkJhc2UuT2JqZWN0cy5Db2xvcgcAAAASRGF0YU9iamVjdCttUGFyZW50FURhdGFPYmplY3QrbUNvbnRhaW5lcgVtVHlwZQRtUkdCEG1UaGVtZUNvbG9ySW5kZXgMbUF1dG9VcGRhdGVkCW1Nb2RpZmllZAQCAAAAAAAfQXBsb3Jpcy5CYXNlLk9iamVjdHMuTGluZUZvcm1hdAMAAAAICAgBAQMAAAAJkgUAAAoAAAAA////AA4AAAAAAAUwBwAAGkFwbG9yaXMuQmFzZS5PYmplY3RzLkNvbG9yBwAAABJEYXRhT2JqZWN0K21QYXJlbnQVRGF0YU9iamVjdCttQ29udGFpbmVyBW1UeXBlBG1SR0IQbVRoZW1lQ29sb3JJbmRleAxtQXV0b1VwZGF0ZWQJbU1vZGlmaWVkBAIAAAAAAB9BcGxvcmlzLkJhc2UuT2JqZWN0cy5MaW5lRm9ybWF0AwAAAAgICAEBAwAAAAmSBQAACgEAAAAAAAAA/////wABATEHAAByAAAACgoAAAAAw5h0AAkAAAAAAAEyBwAAcgAAAAoKAQAAAP///wD/////AAAPMwcAAAEAAAAIAwAAAAE0BwAAcgAAAAoKAAAAAAAAAAANAAAAAAABNQcAAHIAAAAKCgAAAAAAAAAADQAAAAABBzYHAAAAAQAAAAQAAAAEHUFwbG9yaXMuQmFzZS5PYmplY3RzLlZhcmlhYmxlAwAAAAGwBwAA8QIAAAAAAAAAAAAAAbEHAADxAgAAAAAAAAAAAAABsgcAAPECAAAAAAAAAAAAAAGzBwAA8QIAAAAAAAAAAAAADzcHAAABAAAACDEAAAAFOAcAABpBcGxvcmlzLkJhc2UuT2JqZWN0cy5Db2xvcgcAAAASRGF0YU9iamVjdCttUGFyZW50FURhdGFPYmplY3QrbUNvbnRhaW5lcgVtVHlwZQRtUkdCEG1UaGVtZUNvbG9ySW5kZXgMbUF1dG9VcGRhdGVkCW1Nb2RpZmllZAQCAAAAAAAfQXBsb3Jpcy5CYXNlLk9iamVjdHMuTGluZUZvcm1hdAMAAAAICAgBAQMAAAAJrwUAAAoAAAAA////AA4AAAAAAAU5BwAAGkFwbG9yaXMuQmFzZS5PYmplY3RzLkNvbG9yBwAAABJEYXRhT2JqZWN0K21QYXJlbnQVRGF0YU9iamVjdCttQ29udGFpbmVyBW1UeXBlBG1SR0IQbVRoZW1lQ29sb3JJbmRleAxtQXV0b1VwZGF0ZWQJbU1vZGlmaWVkBAIAAAAAAB9BcGxvcmlzLkJhc2UuT2JqZWN0cy5MaW5lRm9ybWF0AwAAAAgICAEBAwAAAAmvBQAACgEAAAAAAAAA/////wABAToHAAByAAAACgoAAAAAw5h0AAkAAAAAAAE7BwAAcgAAAAoKAQAAAP///wD/////AAAPPAcAAAEAAAAICAAAAAE9BwAAcgAAAAoKAAAAAAAAAAANAAAAAAABPgcAAHIAAAAKCgAAAAAAAAAADQAAAAABBz8HAAAAAQAAAAQAAAAEHUFwbG9yaXMuQmFzZS5PYmplY3RzLlZhcmlhYmxlAwAAAAG0BwAA8QIAAAAAAAAAAAAAAbUHAADxAgAAAAAAAAAAAAABtgcAAPECAAAAAAAAAAAAAAG3BwAA8QIAAAAAAAAAAAAAD0AHAAABAAAACDcAAAAFQQcAABpBcGxvcmlzLkJhc2UuT2JqZWN0cy5Db2xvcgcAAAASRGF0YU9iamVjdCttUGFyZW50FURhdGFPYmplY3QrbUNvbnRhaW5lcgVtVHlwZQRtUkdCEG1UaGVtZUNvbG9ySW5kZXgMbUF1dG9VcGRhdGVkCW1Nb2RpZmllZAQCAAAAAAAfQXBsb3Jpcy5CYXNlLk9iamVjdHMuTGluZUZvcm1hdAMAAAAICAgBAQMAAAAJzAUAAAoAAAAA////AA4AAAAAAAVCBwAAGkFwbG9yaXMuQmFzZS5PYmplY3RzLkNvbG9yBwAAABJEYXRhT2JqZWN0K21QYXJlbnQVRGF0YU9iamVjdCttQ29udGFpbmVyBW1UeXBlBG1SR0IQbVRoZW1lQ29sb3JJbmRleAxtQXV0b1VwZGF0ZWQJbU1vZGlmaWVkBAIAAAAAAB9BcGxvcmlzLkJhc2UuT2JqZWN0cy5MaW5lRm9ybWF0AwAAAAgICAEBAwAAAAnMBQAACgEAAAAAAAAA/////wABAUMHAAByAAAACgoAAAAAw5h0AAkAAAAAAAFEBwAAcgAAAAoKAQAAAP///wD/////AAAPRQcAAAEAAAAIDQAAAAFGBwAAcgAAAAoKAAAAAAAAAAANAAAAAAABRwcAAHIAAAAKCgAAAAAAAAAADQAAAAABB0gHAAAAAQAAAAQAAAAEHUFwbG9yaXMuQmFzZS5PYmplY3RzLlZhcmlhYmxlAwAAAAG4BwAA8QIAAAAAAAAAAAAAAbkHAADxAgAAAAAAAAAAAAABugcAAPECAAAAAAAAAAAAAAG7BwAA8QIAAAAAAAAAAAAAD0kHAAABAAAACDkAAAAFSgcAABpBcGxvcmlzLkJhc2UuT2JqZWN0cy5Db2xvcgcAAAASRGF0YU9iamVjdCttUGFyZW50FURhdGFPYmplY3QrbUNvbnRhaW5lcgVtVHlwZQRtUkdCEG1UaGVtZUNvbG9ySW5kZXgMbUF1dG9VcGRhdGVkCW1Nb2RpZmllZAQCAAAAAAAfQXBsb3Jpcy5CYXNlLk9iamVjdHMuTGluZUZvcm1hdAMAAAAICAgBAQMAAAAJ6QUAAAoAAAAA////AA4AAAAAAAVLBwAAGkFwbG9yaXMuQmFzZS5PYmplY3RzLkNvbG9yBwAAABJEYXRhT2JqZWN0K21QYXJlbnQVRGF0YU9iamVjdCttQ29udGFpbmVyBW1UeXBlBG1SR0IQbVRoZW1lQ29sb3JJbmRleAxtQXV0b1VwZGF0ZWQJbU1vZGlmaWVkBAIAAAAAAB9BcGxvcmlzLkJhc2UuT2JqZWN0cy5MaW5lRm9ybWF0AwAAAAgICAEBAwAAAAnpBQAACgEAAAAAAAAA/////wABAUwHAAByAAAACgoAAAAA95QeAAoAAAAAAAFNBwAAcgAAAAoKAQAAAP///wD/////AAAPTgcAAAEAAAAIDgAAAAFPBwAAcgAAAAoKAAAAAAAAAAANAAAAAAABUAcAAHIAAAAKCgAAAAAAAAAADQAAAAABB1EHAAAAAQAAAAQAAAAEHUFwbG9yaXMuQmFzZS5PYmplY3RzLlZhcmlhYmxlAwAAAAG8BwAA8QIAAAAAAAAAAAAAAb0HAADxAgAAAAAAAAAAAAABvgcAAPECAAAAAAAAAAAAAAG/BwAA8QIAAAAAAAAAAAAAD1IHAAABAAAACDoAAAAFUwcAABpBcGxvcmlzLkJhc2UuT2JqZWN0cy5Db2xvcgcAAAASRGF0YU9iamVjdCttUGFyZW50FURhdGFPYmplY3QrbUNvbnRhaW5lcgVtVHlwZQRtUkdCEG1UaGVtZUNvbG9ySW5kZXgMbUF1dG9VcGRhdGVkCW1Nb2RpZmllZAQCAAAAAAAfQXBsb3Jpcy5CYXNlLk9iamVjdHMuTGluZUZvcm1hdAMAAAAICAgBAQMAAAAJBgYAAAoAAAAA////AA4AAAAAAAVUBwAAGkFwbG9yaXMuQmFzZS5PYmplY3RzLkNvbG9yBwAAABJEYXRhT2JqZWN0K21QYXJlbnQVRGF0YU9iamVjdCttQ29udGFpbmVyBW1UeXBlBG1SR0IQbVRoZW1lQ29sb3JJbmRleAxtQXV0b1VwZGF0ZWQJbU1vZGlmaWVkBAIAAAAAAB9BcGxvcmlzLkJhc2UuT2JqZWN0cy5MaW5lRm9ybWF0AwAAAAgICAEBAwAAAAkGBgAACgEAAAAAAAAA/////wABAVUHAAByAAAACgoAAAAA95QeAAoAAAAAAAFWBwAAcgAAAAoKAQAAAP///wD/////AAAPVwcAAAEAAAAIDwAAAAFYBwAAcgAAAAoKAAAAAAAAAAANAAAAAAABWQcAAHIAAAAKCgAAAAAAAAAADQAAAAABB1oHAAAAAQAAAAQAAAAEHUFwbG9yaXMuQmFzZS5PYmplY3RzLlZhcmlhYmxlAwAAAAHABwAA8QIAAAAAAAAAAAAAAcEHAADxAgAAAAAAAAAAAAABwgcAAPECAAAAAAAAAAAAAAHDBwAA8QIAAAAAAAAAAAAAD1sHAAABAAAACDMAAAAFXAcAABpBcGxvcmlzLkJhc2UuT2JqZWN0cy5Db2xvcgcAAAASRGF0YU9iamVjdCttUGFyZW50FURhdGFPYmplY3QrbUNvbnRhaW5lcgVtVHlwZQRtUkdCEG1UaGVtZUNvbG9ySW5kZXgMbUF1dG9VcGRhdGVkCW1Nb2RpZmllZAQCAAAAAAAfQXBsb3Jpcy5CYXNlLk9iamVjdHMuTGluZUZvcm1hdAMAAAAICAgBAQMAAAAJIwYAAAoAAAAA////AA4AAAAAAAVdBwAAGkFwbG9yaXMuQmFzZS5PYmplY3RzLkNvbG9yBwAAABJEYXRhT2JqZWN0K21QYXJlbnQVRGF0YU9iamVjdCttQ29udGFpbmVyBW1UeXBlBG1SR0IQbVRoZW1lQ29sb3JJbmRleAxtQXV0b1VwZGF0ZWQJbU1vZGlmaWVkBAIAAAAAAB9BcGxvcmlzLkJhc2UuT2JqZWN0cy5MaW5lRm9ybWF0AwAAAAgICAEBAwAAAAkjBgAACgEAAAAAAAAA/////wABAV4HAAByAAAACgoAAAAA95QeAAoAAAAAAAFfBwAAcgAAAAoKAQAAAP///wD/////AAAPYAcAAAEAAAAIDAAAAAFhBwAAcgAAAAoKAAAAAP///wAOAAAAAAABYgcAAHIAAAAKCgAAAAD///8ADgAAAAABB2MHAAAAAQAAAAQAAAAEHUFwbG9yaXMuQmFzZS5PYmplY3RzLlZhcmlhYmxlAwAAAAHEBwAA8QIAAAAAAAAAAAAAAcUHAADxAgAAAAAAAAAAAAABxgcAAPECAAAAAAAAAAAAAAHHBwAA8QIAAAAAAAAAAAAAD2QHAAABAAAACDQAAAAFZQcAABpBcGxvcmlzLkJhc2UuT2JqZWN0cy5Db2xvcgcAAAASRGF0YU9iamVjdCttUGFyZW50FURhdGFPYmplY3QrbUNvbnRhaW5lcgVtVHlwZQRtUkdCEG1UaGVtZUNvbG9ySW5kZXgMbUF1dG9VcGRhdGVkCW1Nb2RpZmllZAQCAAAAAAAfQXBsb3Jpcy5CYXNlLk9iamVjdHMuTGluZUZvcm1hdAMAAAAICAgBAQMAAAAJRwYAAAoAAAAA////AA4AAAAAAAVmBwAAGkFwbG9yaXMuQmFzZS5PYmplY3RzLkNvbG9yBwAAABJEYXRhT2JqZWN0K21QYXJlbnQVRGF0YU9iamVjdCttQ29udGFpbmVyBW1UeXBlBG1SR0IQbVRoZW1lQ29sb3JJbmRleAxtQXV0b1VwZGF0ZWQJbU1vZGlmaWVkBAIAAAAAAB9BcGxvcmlzLkJhc2UuT2JqZWN0cy5MaW5lRm9ybWF0AwAAAAgICAEBAwAAAAlHBgAACgEAAAAAAAAA/////wABAWcHAAByAAAACgoAAAAANmyHAAUAAAAAAAFoBwAAcgAAAAoKAQAAAP///wD/////AAAPaQcAAAEAAAAICQAAAAFqBwAAcgAAAAoKAAAAAP///wAOAAAAAAABawcAAHIAAAAKCgAAAAD///8ADgAAAAABB2wHAAAAAQAAAAQAAAAEHUFwbG9yaXMuQmFzZS5PYmplY3RzLlZhcmlhYmxlAwAAAAHIBwAA8QIAAAAAAAAAAAAAAckHAADxAgAAAAAAAAAAAAABygcAAPECAAAAAAAAAAAAAAHLBwAA8QIAAAAAAAAAAAAAD20HAAABAAAACDYAAAAFbgcAABpBcGxvcmlzLkJhc2UuT2JqZWN0cy5Db2xvcgcAAAASRGF0YU9iamVjdCttUGFyZW50FURhdGFPYmplY3QrbUNvbnRhaW5lcgVtVHlwZQRtUkdCEG1UaGVtZUNvbG9ySW5kZXgMbUF1dG9VcGRhdGVkCW1Nb2RpZmllZAQCAAAAAAAfQXBsb3Jpcy5CYXNlLk9iamVjdHMuTGluZUZvcm1hdAMAAAAICAgBAQMAAAAJZAYAAAoAAAAA////AA4AAAAAAAVvBwAAGkFwbG9yaXMuQmFzZS5PYmplY3RzLkNvbG9yBwAAABJEYXRhT2JqZWN0K21QYXJlbnQVRGF0YU9iamVjdCttQ29udGFpbmVyBW1UeXBlBG1SR0IQbVRoZW1lQ29sb3JJbmRleAxtQXV0b1VwZGF0ZWQJbU1vZGlmaWVkBAIAAAAAAB9BcGxvcmlzLkJhc2UuT2JqZWN0cy5MaW5lRm9ybWF0AwAAAAgICAEBAwAAAAlkBgAACgEAAAAAAAAA/////wABAXAHAAByAAAACgoAAAAANmyHAAUAAAAAAAFxBwAAcgAAAAoKAQAAAP///wD/////AAAPcgcAAAEAAAAICgAAAAFzBwAAcgAAAAoKAAAAAP///wAOAAAAAAABdAcAAHIAAAAKCgAAAAD///8ADgAAAAABB3UHAAAAAQAAAAQAAAAEHUFwbG9yaXMuQmFzZS5PYmplY3RzLlZhcmlhYmxlAwAAAAHMBwAA8QIAAAAAAAAAAAAAAc0HAADxAgAAAAAAAAAAAAABzgcAAPECAAAAAAAAAAAAAAHPBwAA8QIAAAAAAAAAAAAAD3YHAAABAAAACDUAAAAFdwcAABpBcGxvcmlzLkJhc2UuT2JqZWN0cy5Db2xvcgcAAAASRGF0YU9iamVjdCttUGFyZW50FURhdGFPYmplY3QrbUNvbnRhaW5lcgVtVHlwZQRtUkdCEG1UaGVtZUNvbG9ySW5kZXgMbUF1dG9VcGRhdGVkCW1Nb2RpZmllZAQCAAAAAAAfQXBsb3Jpcy5CYXNlLk9iamVjdHMuTGluZUZvcm1hdAMAAAAICAgBAQMAAAAJiAYAAAoAAAAA////AA4AAAAAAAV4BwAAGkFwbG9yaXMuQmFzZS5PYmplY3RzLkNvbG9yBwAAABJEYXRhT2JqZWN0K21QYXJlbnQVRGF0YU9iamVjdCttQ29udGFpbmVyBW1UeXBlBG1SR0IQbVRoZW1lQ29sb3JJbmRleAxtQXV0b1VwZGF0ZWQJbU1vZGlmaWVkBAIAAAAAAB9BcGxvcmlzLkJhc2UuT2JqZWN0cy5MaW5lRm9ybWF0AwAAAAgICAEBAwAAAAmIBgAACgEAAAAAAAAA/////wABAXkHAAByAAAACgoAAAAAcoSMAAYAAAAAAAF6BwAAcgAAAAoKAQAAAP///wD/////AAAPewcAAAEAAAAICwAAAAs=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19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0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7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2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8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X3kz0d6OpGr1kDD2.49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A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Oy0MEJu0IVB0h4XRH5PX0MABB0AAAALU3lzdGVtLkd1aWQLAAAAAl9hAl9iAl9jAl9kAl9lAl9mAl9nAl9oAl9pAl9qAl9rAAAAAAAAAAAAAAAIBwcCAgICAgICAgAAAAAAAAAAAAAAAAAAAAAACgoJHgAAAAAKCgoBAAAAAAAAAP////8BAQEfAAAAFAAAAP//H0H//x9BqrQwRBM7hkN8nLpBBuMcQ6r0NUQTu5BDBSAAAAAVU3lzdGVtLkRyYXdpbmcuUG9pbnRGAgAAAAF4AXkAAAsLBAAAAHVaGkSdPJhDBiEAAAAQYU1hSzJwcHVEdk9xbXRqR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DstDBCjAlwQwEuAAAAIAAAACEqIkSMCXBDCS8AAAAJMAAAAAkxAAAACTIAAAAAAAAAAAAAAAAAAAAJMwAAAAAAAAAAAAk0AAAACQEAAAAJAQAAAAk1AAAAAQcAAAAGAAAACQEAAAABNgAAACYAAAAAAAAAzcxMPwAAAAgBAAkBAAAACTcAAAAJOAAAAAEAAAAAAAAAAAEAAAAAAADwPwCamZmZmZnJPwAAACBBAAEJOQAAAAoJOgAAAAk7AAAACTwAAAABPQAAACAAAADstDBCjAlwQwE+AAAAIAAAAOy0MEJu0IV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CgAAAAgBAAAAAgAAAAMAAAAEAAAABQAAAAYAAAAHAAAACAAAAAkAAAAKAAAABRs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IAAAAOy0MEJu0IVBAWkAAAAgAAAAISoiRIwJcEMJagAAAAlrAAAAAAAAAAoFbAAAABRTeXN0ZW0uRHJhd2luZy5TaXplRgIAAAAFd2lkdGgGaGVpZ2h0AAALCwQAAAAAAAAAAAAAAAFtAAAAbAAAAAAAAAAAAAAAAAAAAAFuAAAAFAAAAAAAAAAAAAAAAAAAAAAAAAAUAAAA/////wEBCglvAAAAAQAKAQ8eAAAAWykAAAJQSwMEFAAGAAgAAAAhAJJXjTVyAQAAc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0/DMAy+I/EfqlxRm40DQmjdDgyOMInxA0LirtGah+Ls9e9xsw0hNFrQdmnUJN/DduzRZGuabA0BtbMlGxYDloGVTmm7KNn7/Dm/ZxlGYZVonIWS7QDZZHx9NZrvPGBGaIslq2P0D5yjrMEILJwHSyeVC0ZE+g0L7oVcigXw28HgjktnI9iYx5aDjUdTqMSqidnTlrb3TgjOssf9vVaqZML7RksRyShvT/lJ3LoTt7bqh7ncVZWWoJxcGbJUEH4axIbC/0UgQIMdzk4oHEIvCJncY6093hxCeKXcB60gm4kQX4ShQPm24RsXlh/OLYvuPPTHgz6AUFgDRNMUaS2M0PYP+uky8rQML2ykjS8R9/iI9KCAp+/5FhJNjyDGXQN46bQn0j7lWgRQbzHQ27u4ge/cPT6kM20n4KVLfuTtkqc2nAXnkSZEgP8X4dhpLTr3RAQhaujstS9FGi9nVx3a+aVAndDmaV6OPwEAAP//AwBQSwMEFAAGAAgAAAAhAFB8TsHz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KAzEQh++C7xDm3p1tBRFpthcRehOpDzAms3/YTSYkUbdvbxAUF2r14DEzk2++/Mh2N7tJvXJMg3gN66oGxd6IHXyn4elwv7oBlTJ5S5N41nDkBLvm8mL7yBPlcin1Q0iqUHzS0OccbhGT6dlRqiSwL51WoqNcjrHDQGakjnFT19cYvzOgWTDV3mqIe7sGdTiGsvl3trTtYPhOzItjn0+swOVEIVPsOGuYJ3yTOD6LjFURBjztsvm7y8/vRMeZLGVCI5FXIZaUYh5Krl86VsxDKaePiXNCV/8ZDs+ZvWV7XolC+DTCxR9o3gEAAP//AwBQSwMEFAAGAAgAAAAhAIyWxW7zAAAAugI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2rDMAzG74O9g9F9cdKNMUadXsag1y17AGMrcWhiG0v7k7efyaBNoXSXXAyfhL/vJ6Ht7mccxBcm6oNXUBUlCPQm2N53Cj6a17snEMTaWz0EjwomJNjVtzfbNxw050/k+kgiu3hS4Jjjs5RkHI6aihDR504b0qg5y9TJqM1Bdyg3Zfko09ID6jNPsbcK0t7eg2immJP/9w5t2xt8CeZzRM8XIiTxNOQBRKNTh6zgTxeZEeTl+IdV451OaN855e0uKZblazDVmjDfIR3IIfJpHccSyblTXYPZrAnD+WDwBDJLOb9HBnl2cfUvAAAA//8DAFBLAwQUAAYACAAAACEA0XSvO6UCAABJBQAADwAAAHhsL3dvcmtib29rLnhtbKRUy26cMBTdV+o/IO8Zg3nMQwPRZB7qSFUVVWmyrDzGDFb8IMZkJq36771ASdJmk7YssK9tjs89516WF2clvQduG2F0hsJJgDyumSmEPmboy/XOnyGvcVQXVBrNM/TIG3SRv3+3PBl7dzDmzgMA3WSocq5eYNywiivaTEzNNeyUxirqILRH3NSW06KpOHdKYhIEKVZUaDQgLOxbMExZCsY3hrWKazeAWC6pA/pNJepmRFPsLXCK2ru29plRNUAchBTusQdFnmKL/VEbSw8S0j6HyYgM01fQSjBrGlO6CUDhgeSrfMMAh+GQcr4sheQ3g+weretPVHW3SORJ2rhtIRwvMpRCaE78eQFI2La+bIWEXTJLAoI8nD95cWW7CJivpONWU8fXRjsQ6pfE/ytKj72uDFjgfeb3rbAcnO+0yZfwpmxBD80VdZXXWpkh/EAtLo0sIE98f8KkmpPqGytIFEY2LB5crGv9NZgF8Bw1vsZO1UmZBgd2CCcwxy8kp6/9/AvRKet1wiDNQD9fdvM/ZcqXXUXfCH5qnkXtQu98K3RhThlKohha5HEMw2kK4anfvBWFq6CH5kl3ZFj7wMWxcrAYpwQWwR384oq+F+CqfvR0XwOrWhormg11FDqva5Y9eB2C8QsBE7svYN7hjB8zKhkY3w39yThJCRxhRrPWWjB/DTsZGm7nZ/excfkSRvBIZOj7dL5L4vk09cPNKvHjNJz5l2E89eP1ZhtfzpNoFc1+PBsR/1vtB3M8H0v/HMaL8e8BxAte0la6vaJHvqmBUkSm6XTIEWj+xjUh0TbZRD5JdpG/SraBH6YR8dN4R5J4TUickCeu6vw2qooyzM+M97+k2UhSnRcry6r9xttJeoQqHzoNTgKj7t3LiMc88p8AAAD//wMAUEsDBBQABgAIAAAAIQBb+yM5OgEAAFMCAAAUAAAAeGwvc2hhcmVkU3RyaW5ncy54bWx0krFOAzEMhnck3sHKAAs0BSSE4HpVVcSEEEMRs7m414jEOWJfC29PSqVKXGFL/Pm3/Tuppp8xwJqy+MQTczEaGyBukvPcTszL4uH8xoAossOQmCbmi8RM6+OjSkShaFkmZqXa3VorzYoiyih1xIUsU46o5ZpbK10mdLIi0hjs5Xh8bSN6NtCknrX0vTLQs//oab4P1JX4utJ61qCj6BvoAjKXuayjNhMB9s5rZbWu7DZzl33vseUk6hsZomfKPzNxU7QiJBKJtQzC2NL2OBTMAmUVOMHY3YH4ljEcFJ2jEPxfYpGRZUkZaI2hRy1bHnaZYzGT9+6GeEHNCjxr8fynfObdGbwR09KrnMGGQuBi7WAviU8V3jlthuQpKfRCbhh/9NEruS0bolfvaPekv6ktn6L+Bg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emnYZmwDAAB4CwAADQAAAHhsL3N0eWxlcy54bWzEVltv2jAUfp+0/xD5nQYovYAI1YBGq9RVldpJe3USJ1j1JXKcFjbtv+/YTkg6oKAWbXmJb+c7t8/HZ3y15Mx7JqqgUgSod9JFHhGxTKjIAvT9MexcIq/QWCSYSUECtCIFupp8/jQu9IqRhwUh2gMIUQRooXU+8v0iXhCOixOZEwE7qVQca5iqzC9yRXBSGCHO/H63e+5zTAVyCCMeHwLCsXoq804seY41jSijemWxkMfj0U0mpMIRA1OXvQGOa2w72YDnNFaykKk+AThfpimNyaaVQ3/oA9JknEqhCy+WpdABOgNoo2H0JOSLCM0WBLA6NRkXP71nzGClhzx/Mo4lk8rTEBqwzC0JzIk7M8OMRoragynmlK3cet+u2IBWJzkF9+yqb4xxJk3GkVFRaxy2FFKRkCVJAnT5t85HvJAc71D5Crxsg291B0gD+o/oz36VRw/h1nypLApQGHbtdzwnbXgLSB5lrMUntzAZA681USKEXa8aP65y4I2AK1glH/b2Hs8UXvX6wFNIjm907ZUoJKOJoXA2s3yt/A/D2XWFE1U7a2KdDxx+y+gPa7u+GIYW9Z9o2/BtM+v+Nu9sSCGLkVQJFNC6LpgS4JYmY0ZSbaKvaLawAy1zM4+k1pKbUUJxJgVmNke1mF9BQtkgjD2YSvsjXSs4BQXL1BMlD7m+gbsN188Ug3oIia6GDqaagLJdUlBnDD22SeE8Z6u7kkdEhbaSW3V21fCzmU1tFJr5F0YzwYmplGCfFbhXUpNY25fGlYxdBp3+L4P8dsBd+FuRv3hf5Jfp/hSYHO5IwbHEW0lz1fMAEgEzXpFobct7wCCrHwSDWlNHCYZvgcF9sO/swXa2oCEXh0CbqmroAgRpXdRX13TNJs88jvCUSMbkC0m8r1DPFaPiCZoIyw4T6JIyTYXhCjzhC5okxLRk7jWv60AFtCEPx1ry0LS9LX9n7jKrlRuHG+XuajY3AbxLlk35cdva9Fi2Mq0dho2EpLhk+nG9GaBm/I0ktOTgaHXqnj5LbSEC1IxvTansnVuvyVLfFtDkwN8rFQ3Qr+vpxXB+HfY7l93pZWdwSs46w7PpvHM2mE3n83DY7Xdnv1s93wc6PtuZQs3sDUYFg75QVd5W1j80awFqTZz97k0Eu4EjtRd+0zJP/gAAAP//AwBQSwMEFAAGAAgAAAAhAO0Q80DcAwAAXgwAABgAAAB4bC93b3Jrc2hlZXRzL3NoZWV0MS54bWyMV9tuqzgUfR9p/gHxXsDcclGSo9OQNIk00mjOmZlnB5wEFTBju03z97ONA8XmFCUPFdjLa1/W3mZ38e2jLKx3wnhOq6WNHM+2SJXSLK/OS/vvn9unqW1xgasMF7QiS/tGuP1t9ftviytlr/xCiLCAoeJL+yJEPXddnl5IiblDa1LBzomyEgt4ZWeX14zgrDlUFq7vebFb4ryyFcOcPcJBT6c8JQlN30pSCUXCSIEF+M8vec1bto/sIb6M4SvE2vrTczFROx0fCgf+lXnKKKcn4aS0dJVrwyhn7kyLs0wfCbTE7PWtfgLiGoI75kUubk24tlWm8/25ogwfC1DkA4U47XmJh/SP+wlMq0WWQ25lQViMnJb2dzQ/RLblrhaNdP/k5Mp7z5bAxx+kIKkgGVSQbcnKOFL6KoF7WPKAkjcASYlTkb+TNSmKpX1AAVTXf42V5hlsuJ2R/nNrcNuU05/MOmJO1rT4N8/EBaxC2WbkhN8K8bk4daaB7wXIB+fvm3/R647k54uAI7DapG6e3RLCU6gmcNXxm0BTWoBF+GuVuWwLyDn+UMEpg31uLm5Sh7A9qc5AZM0Z6J/rl2eAWIaszDWBJ1jg1YLRqwXlC9u8xrK50FyGCA9Am75xQUuViQbzyzDAfUnxXXIs7XtYcuVZrQARBMxBm/eVt3DfpRv3M+shItARiUJACjuOiY7YDDlCHbEdIiId8TJETHXEboiIdcR+iEA64jBE+B3CBSU6OSCJmhyjeZfgpii6DKFP2kaaZ18l34kmM+1nhLBucf5UxxnJSJTJ+M7qh4EONwTqWJGR9m234xkGDXlaHJoa4u+6nSD0+j8j9XvlMbp7jIJgDH3oo2Mn1rBesHn6QjZ5x/S7aFQ2CTZkM5x+VpDW6cCfjTm9Du7BhbGeTCNliWJtxQs9PRVG6Ww6VqSzGiWx7XA+GiuGlxYXeYalXcdgXAF7Iw2zSEuDQXMw0KFe8p9uaw0HV+rjykmwoZxxrz0riFJu4hgZifoF1DToOmwLc2aEkyimrtV8PXijYjYtT4DMO7Dd8ePRRnnpcNFote06S/5oK+37mfCcII7HquOgo+Fe+fX9CJ+Dx+WSYF2uT1Z1PSqEUgs5s6E8USNP6Ogp8fwBMlFUrVzIN9pko5gix9PTMBkwbRXSc5BnfqxaDqOspgOOXceBzJ76kh0GsOZD7aDwK6lU56jxSU0RNT6TPzA75xW3CnJq5puJbTE1AHkOPAtay6lnAgk6UgFjRft2gUmdwLQAxWFbJ0pF9wIDS0HOOL3dB2SLzXOY8tg+u08z3X8Gq/8BAAD//wMAUEsDBBQABgAIAAAAIQCMULy2mgIAAD0HAAAbAAAAeGwvZHJhd2luZ3Mvdm1sRHJhd2luZzEudm1s7FXLbtswELwX6D8QysEXG3o0SVtGMhCkyK0t0PRxDGiJtpiQXEFcy3K+PktKduwiLQLk0EsFSyJ3l8uZ4QjOe6MZ3dbxrojWreWurKURbmZU2YKDJc5KMLwzOnr7ZqyEv1XCcqlKyYfX05r+BWtkX8qDbQwhqhEbHsdGlD+NvgnQfrQqmhOWHLirRSO12MIaWcdlj0UkK4Uh7fOqMqI5yrBKoCiiNIpDi/ioxzzvhpa4bSRTVRHd9gldt5glWcRKgLZy6kEWUZaeJ8k0PCNGPRra2dcQLNYIrIvIJNNEjyVD4dEz6eWIkrbEFu4luwNlHW41tTcKZTtAZITJd2SrVlRKWgyc4b6I0O9cgrWyRA+4iFoa7YgdMNnTOqTk0iQ7i9iw8OSI5wBi0oBTqMBysXCg1ygvPDsj2pWyMy2XyM8/NHgxBhAaniY036gKa55mpzSupVrVyDMff5gpW8mep6FNp5xaKK1wy2tVVdJeGAezTSuaWdieo185YUuldQka2iI6WdIlU8+ahJJooCLOYo2wV9JX0zFRefZUH07ay0jKVbBhYAftFq5ct5IOedRsr/Rvqlqw8ukskFy2gJ6NInnUlfLCk1IzoZF7QBNvLsbySnW7Qr+O8mpludduMs9jyoa6PO742HaY9/xK+6P+RF5lXxd31P17OOAvgKNtWN7zz9DJXwrrK6m1G1j68A059JnwpS1raAdgLJ2y9GzKEnrR/Y5+dPvgxzzu+WEpNbwkRtek7PxaaCdDwS4y0Oz5N9jMU5/xg13wilxj7Dzx8XHsU2G65zd8hqNb/+jU81c6Nc3SY6tmB071Lt451cd3Ts3+O/XfOzXbO5VGp2TU98Gor/Bp8OMzPg3+falPY/rPnD8CAAD//wMAUEsDBBQABgAIAAAAIQApO3CtNw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UtLAzEUhfeC/yFkP5OkBR9hZgoqXVkUbFHcheROG5w8SKLT/nvTaR0rFbK5nHM/zrmpZlvToS8IUTtbY1ZSjMBKp7Rd13i1nBc3GMUkrBKds1DjHUQ8ay4vKum5dAGeg/MQkoaIMslGLn2NNyl5TkiUGzAiltlhs9i6YETKY1gTL+SHWAOZUHpFDCShRBJkDyz8SMRHpJIj0n+GbgAoSaADAzZFwkpGfr0Jgon/LgzKidPotPO50zHuKVvJgzi6t1GPxr7vy346xMj5GXlbPL4MVQtt97eSgJtKSS4DiORCU5HTIR+uEzEt8o1bDepu1yy0DC66NqGnttUS0CpCqMi5MUOHDtwcl1GOxQ8lfqTX6f3Dco6bCWXXBb0tKFuyKc+P0vd9kL+AnO3sI5tvAAAA//8DAFBLAwQUAAYACAAAACEA31I7ohIBAAAtAgAAEAAAAHhsL2NvbW1lbnRzMS54bWzEUMtOwzAQvCPxD9beqdMeUEGxq3IoQuKARPkAE28aS35EXrdK+Xq2ScOBEzcky/KMZ2dGW2+G4MUJM7kUFSwXFQiMTbIuHhR87Hd3axBUTLTGp4gKzkiw0bc3dZNCwFhIsEEkBV0p/aOU1HQYDC1Sj5F/2pSDKQzzQVKf0VjqEEvwclVV9zIYF0HX5li6lGl+CKlr+cNdg14dFT2nioytgqcliEn2YhVUbFRwYFHm88bX58WIvsTJeAUPcEFN8ikLFy0OyDNrdmA271Isk2xvuhTMyLYmOH+e6NXIyNG26Oecjr2wSE12feHNUS05V3KmnCrIa+tfjbfs8y+N3zE7pD9WnstPK58R6W8AAAD//wMAUEsDBBQABgAIAAAAIQBepPUAiwEAAA0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W/bMAyG7wP2HwzdGzndB4ZAVlG0G3pYsQBJuzMn07FQRTJE1kj260fbaOqsO+3Gj1fko1cyV4d9KHrM5FOs1HJRqgKjS7WPu0o9bL9dfFEFMcQaQopYqSOSurLv35l1Th1m9kiFjIhUqZa5W2lNrsU90ELaUTpNyntgSfNOp6bxDm+Te95jZH1Zlp81HhhjjfVFdxqopomrnv93aJ3cwEeP22MnwNZcd13wDlhuae+9y4lSw8U9OB85UVt8PTgMRs9lRjg36J6z56MtjZ6nZuMg4I2ssA0EQqNfC+YOYbBvDT6TNT2venScckH+txh4qYpfQDiAVaqH7CGyAA6yKRnj0BFn+zPlJ2oRmYwWwVQcw7l2HvuPdjkKJDgXDgMmEGmcI249B6QfzRoy/4N4OSceGSbeCee6Cyl7ugWGN5DjvWXdXwu++/hED902ySF8MfC8aDYtZKzF85PBp4K5E+9yGIbctBB3WL9o3jaGh3+cfrddflqUH0p5yVnN6Nd/bP8AAAD//wMAUEsBAi0AFAAGAAgAAAAhAJJXjTVyAQAAcAUAABMAAAAAAAAAAAAAAAAAAAAAAFtDb250ZW50X1R5cGVzXS54bWxQSwECLQAUAAYACAAAACEAUHxOwfMAAABMAgAACwAAAAAAAAAAAAAAAACrAwAAX3JlbHMvLnJlbHNQSwECLQAUAAYACAAAACEAjJbFbvMAAAC6AgAAGgAAAAAAAAAAAAAAAADPBgAAeGwvX3JlbHMvd29ya2Jvb2sueG1sLnJlbHNQSwECLQAUAAYACAAAACEA0XSvO6UCAABJBQAADwAAAAAAAAAAAAAAAAACCQAAeGwvd29ya2Jvb2sueG1sUEsBAi0AFAAGAAgAAAAhAFv7Izk6AQAAUwIAABQAAAAAAAAAAAAAAAAA1AsAAHhsL3NoYXJlZFN0cmluZ3MueG1sUEsBAi0AFAAGAAgAAAAhAOdldbjWAAAAuAEAACMAAAAAAAAAAAAAAAAAQA0AAHhsL3dvcmtzaGVldHMvX3JlbHMvc2hlZXQxLnhtbC5yZWxzUEsBAi0AFAAGAAgAAAAhANwGB756BgAA2RsAABMAAAAAAAAAAAAAAAAAVw4AAHhsL3RoZW1lL3RoZW1lMS54bWxQSwECLQAUAAYACAAAACEAemnYZmwDAAB4CwAADQAAAAAAAAAAAAAAAAACFQAAeGwvc3R5bGVzLnhtbFBLAQItABQABgAIAAAAIQDtEPNA3AMAAF4MAAAYAAAAAAAAAAAAAAAAAJkYAAB4bC93b3Jrc2hlZXRzL3NoZWV0MS54bWxQSwECLQAUAAYACAAAACEAjFC8tpoCAAA9BwAAGwAAAAAAAAAAAAAAAACrHAAAeGwvZHJhd2luZ3Mvdm1sRHJhd2luZzEudm1sUEsBAi0AFAAGAAgAAAAhACk7cK03AQAAFQIAABEAAAAAAAAAAAAAAAAAfh8AAGRvY1Byb3BzL2NvcmUueG1sUEsBAi0AFAAGAAgAAAAhAN9SO6ISAQAALQIAABAAAAAAAAAAAAAAAAAA7CEAAHhsL2NvbW1lbnRzMS54bWxQSwECLQAUAAYACAAAACEAXqT1AIsBAAANAwAAEAAAAAAAAAAAAAAAAAAsIwAAZG9jUHJvcHMvYXBwLnhtbFBLBQYAAAAADQANAFgDAADtJQ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KEEGcAAAAAVBcmlhbAZxAAAAFu+8re+8syDvvLDjgrTjgrfjg4Pjgq8JcgAAAAEACXMAAAAHIwAAAAABAAAAEQAAAAQUU3lzdGVtLkRyYXdpbmcuQ29sb3IEAAAABXQAAAAUU3lzdGVtLkRyYXdpbmcuQ29sb3IEAAAABXZhbHVlBXN0YXRlCmtub3duQ29sb3IEbmFtZQAAAAEJBwcEAAAAAAAAAAAAAAAAAAAACgF1AAAAdAAAAAAAAP//////AgAAAAoBdgAAAHQAAAD//////////wIAAAAKAXcAAAB0AAAATkEi//////8CAAAACgF4AAAAdAAAAN7c2///////AgAAAAoBeQAAAHQAAAB+aT///////wIAAAAKAXoAAAB0AAAAjIRy//////8CAAAACgF7AAAAdAAAACUh7f//////AgAAAAoBfAAAAHQAAAA0O0b//////wIAAAAKAX0AAAB0AAAAdJjD//////8CAAAACgF+AAAAdAAAAB6U9///////AgAAAAoBfwAAAHQAAAAelPf//////wIAAAAKAYAAAAB0AAAAJSHt//////8CAAAACgGBAAAAdAAAAAAAAP//////AgAAAAoBggAAAHQAAAD//////////wIAAAAKAYMAAAB0AAAATkEi//////8CAAAACgGEAAAAdAAAAN7c2///////AgAAAAoEJAAAAJgBU3lzdGVtLkNvbGxlY3Rpb25zLkdlbmVyaWMuTGlzdGAxW1tBcGxvcmlzLkJhc2UuT2JqZWN0cy5EYXRhT2JqZWN0LCBBcGxvcmlzLkJhc2UsIFZlcnNpb249NC4yLjAuMTkwOC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i4wLjE5MDg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i4wLjE5MDgsIEN1bHR1cmU9bmV1dHJhbCwgUHVibGljS2V5VG9rZW49MTZmYzEzYTIyNmMwZTk1MV1dAwAAAJEBU3lzdGVtLkNvbGxlY3Rpb25zLkdlbmVyaWMuTGlzdGAxW1tBcGxvcmlzLkNoYXJ0LlZhbHVlTGlu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HAAAACYgAAAAJBgAAAAkBAAAACYkAAAAFKAAAAJsBQXBsb3Jpcy5CYXNlLk9iamVjdHMuRGF0YU9iamVjdENvbGxlY3Rpb25gMVtbQXBsb3Jpcy5DaGFydC5BeGlzQnJlYWs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IuMC4xOTA4LCBDdWx0dXJlPW5ldXRyYWwsIFB1YmxpY0tleVRva2VuPTE2ZmMxM2EyMjZjMGU5NTFdXQMAAACRAVN5c3RlbS5Db2xsZWN0aW9ucy5HZW5lcmljLkxpc3RgMVtbQXBsb3Jpcy5DaGFydC5BeGlzQnJlYW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i4wLjE5MDgsIEN1bHR1cmU9bmV1dHJhbCwgUHVibGljS2V5VG9rZW49MTZmYzEzYTIyNmMwZTk1MV1dAwAAAJABU3lzdGVtLkNvbGxlY3Rpb25zLkdlbmVyaWMuTGlzdGAxW1tBcGxvcmlzLkNoYXJ0LlRpY2tNYXJ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7LQwQowJcEMBkgAAACAAAAAhKiJEjAlwQwmTAAAAuAEAAP////8BAQoJlAAAAAEACgEHMAAAAAABAAAABQAAAAQVU3lzdGVtLkRyYXdpbmcuUG9pbnRGBAAAAAGVAAAAIAAAACHqIkSMCXBDAZYAAAAgAAAA7LQwQovTi0MBlwAAACAAAABwNa1Di9OLQwGYAAAAIAAAACEqIkSL04tDAZkAAAAgAAAAIeoiRIwJdUMHMQAAAAABAAAABQAAAAQXQXBsb3Jpcy5CYXNlLkFuY2hvck1vZGUDAAAABZoAAAAXQXBsb3Jpcy5CYXNlLkFuY2hvck1vZGUBAAAAB3ZhbHVlX18ACAMAAAAEAAAAAZsAAACaAAAABQAAAAGcAAAAmgAAAAMAAAABnQAAAJoAAAAGAAAAAZ4AAACaAAAABQAAAA8yAAAABQAAAAEAAAAAAQUzAAAAFUFwbG9yaXMuQmFzZS5VSS5MYWJlbB0AAAAPbUFuY2hvclBvc2l0aW9uC21BbmNob3JNb2RlD21BZGRJbm5lck1hcmdpbhZtT2Zmc2V0RGlyZWN0aW9uQW5jaG9yF21PZmZzZXRPcnRob2dvbmFsQW5jaG9yC21UZXh0Rm9ybWF0CW1Sb3RhdGlvbgptQmFja0NvbG9yDW1Vc2VCYWNrQ29sb3IObVVzZUJhY2tncm91bmQRbUN1c3Rvb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AAAAABwIAAAM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AZ8AAAAgAAAAIeoiRIwJcEMBoAAAAJoAAAAEAAAAAAAAAAAAAAAACaEAAAAAAAAACaIAAAAAAAAFowAAACpBcGxvcmlzLkJhc2UuVUkuTGFiZWwrTGluZUFsaWdubWVudE9wdGlvbnMBAAAAB3ZhbHVlX18ACAMAAAAAAAAAAaQAAABsAAAAAAAAAAAAAAABpQAAABQAAAAAAAAAAAAAAAAAAAAAAAAAAAAAAAamAAAADUNhdGVnb3J5IGF4aXMKCacAAAAJpgAAAOQCAAD/////AAEKCagAAAABAAoB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BrEAAAABJQ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xAAAA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BPAAAACwAAAAKCbIAAAAJswAAAAkHAAAACQEAAAAJtAAAAAE/AAAALwAAAAG1AAAAIAAAAOy0MEKMCXBDAbYAAAAgAAAA7LQwQm7QhUEJtwAAALgBAAD/////AQEKCbgAAAABAAoBB0AAAAAAAQAAAAUAAAAEFVN5c3RlbS5EcmF3aW5nLlBvaW50RgQAAAABuQAAACAAAADstDBCGFIvQQG6AAAAIAAAACiNMEGMCXBDAbsAAAAgAAAAKI0wQc1hAEMBvAAAACAAAAAojTBBbtCFQQG9AAAAIAAAACiNMEEYUi9BB0EAAAAAAQAAAAUAAAAEF0FwbG9yaXMuQmFzZS5BbmNob3JNb2RlAwAAAAG+AAAAmgAAAAEAAAABvwAAAJoAAAAIAAAAAcAAAACaAAAAAgAAAAHBAAAAmgAAAAYAAAABwgAAAJoAAAAHAAAAD0IAAAAFAAAAAQAAAAABAUMAAAAzAAAAAcMAAAAgAAAA7LQwQhhSL0EBxAAAAJoAAAABAAAAAAAAAAAAAAAACcUAAAAAAAAACcYAAAAAAAABxwAAAKMAAAAAAAAAAcgAAABsAAAAAAAAAAAAAAAByQAAABQAAAAAAAAAAAAAAAAAAAAAAAAAAAAAAAbKAAAAClZhbHVlIGF4aXMKCcsAAAAJygAAAOQCAAD/////AAEKCcwAAAABAAoBAUQAAAAkAAAACc0AAAAGAAAABgAAAAFFAAAAJQAAAAnOAAAAAgAAAAIAAAAHRgAAAAABAAAAAAAAAAQuQXBsb3Jpcy5DaGFydC5Db2x1bW5PcmllbnRlZENoYXJ0K1VudXNlZFNlcmllcwIAAAAERwAAAJcBU3lzdGVtLkNvbGxlY3Rpb25zLkdlbmVyaWMuTGlzdGAxW1tBcGxvcmlzLkNoYXJ0LkNoYXJ0RGF0YVNlcmllcywgQXBsb3Jpcy5DaGFydCwgVmVyc2lvbj00LjIuMC4xOTA4LCBDdWx0dXJlPW5ldXRyYWwsIFB1YmxpY0tleVRva2VuPTE2ZmMxM2EyMjZjMGU5NTFdXQMAAAAGX2l0ZW1zBV9zaXplCF92ZXJzaW9uBAAAH0FwbG9yaXMuQ2hhcnQuQ2hhcnREYXRhU2VyaWVzW10CAAAACAgJzwAAAAQAAAAVAAAAAUgAAAAkAAAACdAAAAAEAAAABAAAAAFJAAAAJQAAAAnRAAAAAAAAAAAAAAAESgAAAJwBU3lzdGVtLkNvbGxlY3Rpb25zLkdlbmVyaWMuTGlzdGAxW1tBcGxvcmlzLkNoYXJ0LkFubm90YXRpb25EYXRhU2VyaWVzLCBBcGxvcmlzLkNoYXJ0LCBWZXJzaW9uPTQuMi4wLjE5MDg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yLjAuMTkwOC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IuMC4xOTA4LCBDdWx0dXJlPW5ldXRyYWwsIFB1YmxpY0tleVRva2VuPTE2ZmMxM2EyMjZjMGU5NTFdXQMAAAAGX2l0ZW1zBV9zaXplCF92ZXJzaW9uBAAAHkFwbG9yaXMuQ2hhcnQuQ2hhcnREYXRhR3JvdXBbXQIAAAAICAnVAAAACQAAABUAAAABUQAAACQAAAAJ1gAAAAkAAAAJAAAAAVIAAAAlAAAACdEAAAAAAAAAAAAAAARTAAAAkAFTeXN0ZW0uQ29sbGVjdGlvbnMuR2VuZXJpYy5MaXN0YDFbW0FwbG9yaXMuQ2hhcnQuRGVsdGFCYXIsIEFwbG9yaXMuQ2hhcnQsIFZlcnNpb249NC4yLjAuMTkwOC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i4wLjE5MDg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IuMC4xOTA4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i4wLjE5MDg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IuMC4xOTA4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///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/////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IuMC4xOTA4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IuMC4xOTA4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i4wLjE5MDgsIEN1bHR1cmU9bmV1dHJhbCwgUHVibGljS2V5VG9rZW49MTZmYzEzYTIyNmMwZTk1MV1dAwAAAAZfaXRlbXMFX3NpemUIX3ZlcnNpb24EAAAYQXBsb3Jpcy5DaGFydC5UaWNrTWFya1tdAgAAAAgICeMAAAAAAAAAAAAAAAGPAAAAJAAAAAnTAAAAAAAAAAAAAAABkAAAACUAAAAJ0QAAAAAAAAAAAAAAAZMAAABqAAAACgoAAABAPwnkAAAACeUAAAABAAAA/v///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KEEJcAAAAAlxAAAACecAAAABAAnoAAAAAaIAAAByAAAACgoBAAAAAAAAAP////8AAQSn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GAAAAJgAAAAGzAAAAJAAAAAnsAAAABgAAACYAAAABtAAAACUAAAAJ0QAAAAAAAAAAAAAAAbcAAABqAAAACgoAAABAPwntAAAACe4AAAABAAAA/v///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KEEJcAAAAAlxAAAACfAAAAABAAnxAAAAAcYAAAByAAAACgoBAAAAAAAAAP////8AAQHLAAAApwAAAAnpAAAAAAAAAAAAAAABzAAAAG8AAAAJ8gAAAAoHzQAAAAABAAAACAAAAAQfQXBsb3Jpcy5CYXNlLk9iamVjdHMuRGF0YU9iamVjdAMAAAAJOQAAAAk6AAAACTsAAAAJPAAAAAk3AAAACTgAAAAKCgfOAAAAAAEAAAAEAAAABBxBcGxvcmlzLkJhc2UuVUkuVmlzdWFsT2JqZWN0AwAAAAk/AAAACUMAAAAKCgfPAAAAAAEAAAAEAAAABB1BcGxvcmlzLkNoYXJ0LkNoYXJ0RGF0YVNlcmllcwIAAAAJ8wAAAAn0AAAACfUAAAAJ9gAAAAfQAAAAAAEAAAAEAAAABB9BcGxvcmlzLkJhc2UuT2JqZWN0cy5EYXRhT2JqZWN0AwAAAAn2AAAACfUAAAAJ9AAAAAnzAAAAB9EAAAAAAQAAAAAAAAAEHEFwbG9yaXMuQmFzZS5VSS5WaXN1YWxPYmplY3QDAAAAB9IAAAAAAQAAAAAAAAAEIkFwbG9yaXMuQ2hhcnQuQW5ub3RhdGlvbkRhdGFTZXJpZXMCAAAAB9MAAAAAAQAAAAAAAAAEH0FwbG9yaXMuQmFzZS5PYmplY3RzLkRhdGFPYmplY3QDAAAAB9QAAAAAAQAAAAAAAAAEHUFwbG9yaXMuQ2hhcnQuQW5ub3RhdGlvbkdyb3VwAgAAAAfVAAAAAAEAAAAQAAAABBxBcGxvcmlzLkNoYXJ0LkNoYXJ0RGF0YUdyb3VwAgAAAAn3AAAACfgAAAAJ+QAAAAn6AAAACfsAAAAJ/AAAAAn9AAAACf4AAAAJ/wAAAA0HB9YAAAAAAQAAABAAAAAEH0FwbG9yaXMuQmFzZS5PYmplY3RzLkRhdGFPYmplY3QDAAAACfcAAAAJ/gAAAAn/AAAACfgAAAAJ+gAAAAn7AAAACf0AAAAJ/AAAAAn5AAAADQcH1wAAAAABAAAAAAAAAAQWQXBsb3Jpcy5DaGFydC5EZWx0YUJhcgIAAAAH2AAAAAABAAAAAAAAAAQZQXBsb3Jpcy5DaGFydC5EZWx0YUJyaWRnZQIAAAAH2QAAAAABAAAAAAAAAAQZQXBsb3Jpcy5DaGFydC5Hcm93dGhBcnJvdwIAAAAH2gAAAAABAAAAAAAAAAQgQXBsb3Jpcy5DaGFydC5XYXRlcmZhbGxDb25uZWN0b3ICAAAAB9sAAAAAAQAAAAAAAAAEHkFwbG9yaXMuQ2hhcnQuRWxlbWVudENvbm5lY3RvcgIAAAAB3AAAAHIAAAAKCgAAAAAAAAAADQAAAAABAd0AAAByAAAACgoBAAAAAAAAAP////8AAQHeAAAAcgAAAAoKAQAAAP///wD/////AAEB3wAAAHIAAAAKCgEAAAAAAAAA/////wABD+AAAAABAAAACAAAAAAH4QAAAAABAAAAAAAAAAQXQXBsb3Jpcy5DaGFydC5WYWx1ZUxpbmUCAAAAB+IAAAAAAQAAAAAAAAAEF0FwbG9yaXMuQ2hhcnQuQXhpc0JyZWFrAgAAAAfjAAAAAAEAAAAAAAAABBZBcGxvcmlzLkNoYXJ0LlRpY2tNYXJrAgAAAAXkAAAAGkFwbG9yaXMuQmFzZS5PYmplY3RzLkNvbG9yBwAAABJEYXRhT2JqZWN0K21QYXJlbnQVRGF0YU9iamVjdCttQ29udGFpbmVyBW1UeXBlBG1SR0IQbVRoZW1lQ29sb3JJbmRleAxtQXV0b1VwZGF0ZWQJbU1vZGlmaWVkBAIAAAAAAB9BcGxvcmlzLkJhc2UuT2JqZWN0cy5MaW5lRm9ybWF0AwAAAAgICAEBAwAAAAmTAAAACgAAAAAAAAAADQAAAAAABeUAAAAaQXBsb3Jpcy5CYXNlLk9iamVjdHMuQ29sb3IHAAAAEkRhdGFPYmplY3QrbVBhcmVudBVEYXRhT2JqZWN0K21Db250YWluZXIFbVR5cGUEbVJHQhBtVGhlbWVDb2xvckluZGV4DG1BdXRvVXBkYXRlZAltTW9kaWZpZWQEAgAAAAAAH0FwbG9yaXMuQmFzZS5PYmplY3RzLkxpbmVGb3JtYXQDAAAACAgIAQEDAAAACZMAAAAKAQAAAAAAAAD/////AAEP5gAAAAEAAAAIlQAAAAHnAAAAcgAAAAoKAAAAAAAAAAANAAAAAAEB6AAAAHIAAAAKCgEAAAAAAAAA/////wABB+kAAAAAAQAAAAAAAAAEHUFwbG9yaXMuQmFzZS5PYmplY3RzLlZhcmlhYmxlAwAAAA/qAAAAAQAAAAgAAAAAB+sAAAAAAQAAABAAAAAEFkFwbG9yaXMuQ2hhcnQuVGlja01hcmsCAAAACQABAAAJAQEAAAkCAQAACQMBAAAJBAEAAAkFAQAADQoH7AAAAAABAAAAEAAAAAQfQXBsb3Jpcy5CYXNlLk9iamVjdHMuRGF0YU9iamVjdAMAAAAJAAEAAAkBAQAACQIBAAAJAwEAAAkEAQAACQUBAAANCg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/////AAEP7wAAAAEAAAAIlgAAAAHwAAAAcgAAAAoKAAAAAAAAAAANAAAAAAEB8QAAAHIAAAAKCgEAAAAAAAAA/////wABD/IAAAABAAAAC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QYBAAATAAAAAAAAAAIAAAD/////CQcAAAAJBwEAAAYIAQAADldpZGVzcHJlYWQgdXNlCgoAAAAAAAAAAAAAAAAKCgAJCQEAAAkKAQAACQsBAAAAAAAAAAAAAAAAAAAAAAAAAAAJDAEAAAkBAAAACQEAAAAJDQEAAAH0AAAA8wAAAAkBAAAAAQ4BAAATAAAAAAAAAAMAAAD/////CQcAAAAJDwEAAAYQAQAAC0xpbWl0ZWQgdXNlCgoAAAAAAAAAAAAAAAAKCgAJEQEAAAkSAQAACRMBAAAAAAAAAAEAAAAAAAAAAAAAAAAJFAEAAAkBAAAACQEAAAAJFQEAAAH1AAAA8wAAAAkBAAAAARYBAAATAAAAAAAAAAQAAAD/////CQcAAAAJFwEAAAYYAQAACE5vdCB1c2VkCgoAAAAAAAAAAAAAAAAKCgAJGQEAAAkaAQAACRsBAAAAAAAAAAIAAAAAAAAAAAAAAAAJHAEAAAkBAAAACQEAAAAJHQEAAAH2AAAA8wAAAAkBAAAAAR4BAAATAAAAAAAAAAUAAAD/////CQcAAAAJHwEAAAYgAQAACkRvbid0IGtub3cKCgAAAAAAAAAAAAAAAAoKAAkhAQAACSIBAAAJIwEAAAAAAAAAAwAAAAAAAAAAAAAAAAkkAQAACQEAAAAJAQAAAAklAQAABfc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JgEAAB5BY2FkZW1pYyBwbGFubmluZy9kZWdyZWUgYXVkaXQABScBAAAeQXBsb3Jpcy5DaGFydC5DaGFydEdyb3VwQW5jaG9yAQAAAAd2YWx1ZV9fAAgCAAAAAAAAAAoAAAAAAQAAAAEAAAAJKAEAAAkpAQAACSoBAAAKCQcAAAAJKwEAAAkBAAAACQEAAAAJLAEAAAH4AAAA9wAAAAkBAAAABi0BAAAQQWxlcnRzICYgc2lnbmFscwABLgEAACcBAAAAAAAACgAAAAABAAAAAQAAAAkvAQAACTABAAAJMQEAAAoJBwAAAAkyAQAACQEAAAAJAQAAAAkzAQAAAfkAAAD3AAAACQEAAAAGNAEAABBUZWNoIGludGVncmF0aW9uAAE1AQAAJwEAAAAAAAAKAAAAAAEAAAABAAAACTYBAAAJNwEAAAk4AQAACgkHAAAACTkBAAAJAQAAAAkBAAAACToBAAAB+gAAAPcAAAAJAQAAAAY7AQAAD0Nhc2UgbWFuYWdlbWVudAABPAEAACcBAAAAAAAACgAAAAABAAAAAQAAAAk9AQAACT4BAAAJPwEAAAoJBwAAAAlAAQAACQEAAAAJAQAAAAlBAQAAAfsAAAD3AAAACQEAAAAGQgEAABNUcmFuc2ZlciBldmFsdWF0aW9uAAFDAQAAJwEAAAAAAAAKAAAAAAEAAAABAAAACUQBAAAJRQEAAAlGAQAACgkHAAAACUcBAAAJAQAAAAkBAAAACUgBAAAB/AAAAPcAAAAJAQAAAAZJAQAAF0FpZCwgYmVuZWZpdHMsIHdlbGxuZXNzAAFKAQAAJwEAAAAAAAAKAAAAAAEAAAABAAAACUsBAAAJTAEAAAlNAQAACgkHAAAACU4BAAAJAQAAAAkBAAAACU8BAAAB/QAAAPcAAAAJAQAAAAZQAQAAD0NhcmVlciBwbGFubmluZwABUQEAACcBAAAAAAAACgAAAAABAAAAAQAAAAlSAQAACVMBAAAJVAEAAAoJBwAAAAlVAQAACQEAAAAJAQAAAAlWAQAAAf4AAAD3AAAACQEAAAAGVwEAAAtEaWFnbm9zdGljcwABWAEAACcBAAAAAAAACgAAAAABAAAAAQAAAAlZAQAACVoBAAAJWwEAAAoJBwAAAAlcAQAACQEAAAAJAQAAAAldAQAAAf8AAAD3AAAACQEAAAAGXgEAACFQZXJmb3JtYW5jZSBhc3Nlc3NtZW50L21hbmFnZW1lbnQAAV8BAAAnAQAAAAAAAAoAAAAAAQAAAAEAAAAJYAEAAAlhAQAACWIBAAAKCQcAAAAJYwEAAAkBAAAACQEAAAAJZAEAAAUA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ZQEAAAoJZgEAAAkHAAAAAQAAAAAAAAAAAWcBAAAgAAAA7LQwQowJcEMBaAEAACAAAADstCBCjAlwQwAJaQEAAAkHAAAACQEAAAAJagEAAAEBAQAAAAEAAAlrAQAACglsAQAACQcAAAABmpmZmZmZyT8BbQEAACAAAADstDBCDGBDQwFuAQAAIAAAAOy0IEIMYENDAAlvAQAACQcAAAAJAQAAAAlwAQAAAQIBAAAAAQAACXEBAAAKCXIBAAAJBwAAAAGamZmZmZnZPwFzAQAAIAAAAOy0MEKNthZDAXQBAAAgAAAA7LQgQo22FkMACXUBAAAJBwAAAAkBAAAACXYBAAABAwEAAAABAAAJdwEAAAoJeAEAAAkHAAAAATMzMzMzM+M/AXkBAAAgAAAA7LQwQhoa1EIBegEAACAAAADstCBCGhrUQgAJewEAAAkHAAAACQEAAAAJfAEAAAEEAQAAAAEAAAl9AQAACgl+AQAACQcAAAABmpmZmZmZ6T8BfwEAACAAAADstDBCNo51QgGAAQAAIAAAAOy0IEI2jnVCAAmBAQAACQcAAAAJAQAAAAmCAQAAAQUBAAAAAQAACYMBAAAKCYQBAAAJBwAAAAEAAAAAAADwPwGFAQAAIAAAAOy0MEJu0IVBAYYBAAAgAAAA7LQgQm7QhUEACYcBAAAJBwAAAAkBAAAACYgBAAAFBwEAAKIBQXBsb3Jpcy5CYXNlLk9iamVjdHMuRGF0YU9iamVjdENvbGxlY3Rpb25gMVtbQXBsb3Jpcy5DaGFydC5DaGFydERhdGFFbGVtZW50LCBBcGxvcmlzLkNoYXJ0LCBWZXJzaW9uPTQuMi4wLjE5MDg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i4wLjE5MDgsIEN1bHR1cmU9bmV1dHJhbCwgUHVibGljS2V5VG9rZW49MTZmYzEzYTIyNmMwZTk1MV1dAwAAAJgBU3lzdGVtLkNvbGxlY3Rpb25zLkdlbmVyaWMuTGlzdGAxW1tBcGxvcmlzLkNoYXJ0LkNoYXJ0RGF0YU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iQEAAAmKAQAACfMAAAAJAQAAAAmLAQAABQkBAAAcQXBsb3Jpcy5DaGFydC5Db25uZWN0ZWRMYWJlbCU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0xhYmVsK21DdXN0b21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CAAAAClgCAAAFjAEAACtBcGxvcmlzLkNoYXJ0LkNvbm5lY3RlZExhYmVsK2VDb25uZWN0b3JNb2RlAQAAAAd2YWx1ZV9fAAgCAAAAAQAAAAWNAQAANkFwbG9yaXMuQ2hhcnQuQ29ubmVjdGVkTGFiZWwrZUFuZ2xlZENvbm5lY3RvckRpcmVjdGlvbgEAAAAHdmFsdWVfXwAIAgAAAAAAAAABjgEAABQAAACRRRVEfkxkQ2DpD0Lg0AtBBY8BAAAtQXBsb3Jpcy5DaGFydC5Db25uZWN0ZWRMYWJlbCtlVGFyZ2V0QXJlYVNoYXBlAQAAAAd2YWx1ZV9fAAgCAAAAAAAAAAAAEEEBAZABAAAgAAAAJ0QgRAWraEMBkQEAAJoAAAAEAAAAAAAAAAAAAAAACZIBAAAAAAAACZMBAAAAAAABlAEAAKMAAAAAAAAAAZUBAABsAAAAAADEQgAAcEEBlgEAABQAAACJnR9EYidiQwS5nEKJnThBEoO+PwkIAQAACgmXAQAABpgBAAAAIAMAAP////8BAQoJmQEAAAEACgEHCgEAAAABAAAAAgAAAAQVU3lzdGVtLkRyYXdpbmcuUG9pbnRGBAAAAAGaAQAAIAAAACdEIEQFq2hDAZsBAAAgAAAA7LQcQvlGL0MHCwEAAAABAAAAAgAAAAQXQXBsb3Jpcy5CYXNlLkFuY2hvck1vZGUDAAAAAZwBAACaAAAABAAAAAGdAQAAmgAAAAIAAAABDAEAACQAAAAJngEAAAEAAAABAAAAAQ0BAAAlAAAACZ8BAAABAAAAAQAAAAEPAQAABwEAAAoJoAEAAAmhAQAACfQAAAAJAQAAAAmiAQAAAREBAAAJAQAAClgCAAABowEAAIwBAAABAAAAAaQBAACNAQAAAAAAAAGlAQAAFAAAAJFFFUQ0lhZDYOkPQpRsj0IBpgEAAI8BAAAAAAAAAAAQQQEBpwEAACAAAAAnRCBEWXE6QwGoAQAAmgAAAAQAAAAAAAAAAAAAAAAJqQEAAAAAAAAJqgEAAAAAAAGrAQAAowAAAAAAAAABrAEAAGwAAAAAAIpCAABwQQGtAQAAFAAAAImdH0T//zND9TZgQomdOEESg74/CRABAAAKCa4BAAAJmAEAACADAAD/////AQEKCa8BAAABAAoBBxIBAAAAAQAAAAIAAAAEFVN5c3RlbS5EcmF3aW5nLlBvaW50RgQAAAABsAEAACAAAAAnRCBEWXE6QwGxAQAAIAAAAOy0HEKykJNCBxMBAAAAAQAAAAIAAAAEF0FwbG9yaXMuQmFzZS5BbmNob3JNb2RlAwAAAAGyAQAAmgAAAAQAAAABswEAAJoAAAACAAAAARQBAAAkAAAACbQBAAABAAAAAQAAAAEVAQAAJQAAAAm1AQAAAQAAAAEAAAABFwEAAAcBAAAKCbYBAAAJtwEAAAn1AAAACQEAAAAJuAEAAAEZAQAACQEAAApYAgAAAbkBAACMAQAAAQAAAAG6AQAAjQEAAAAAAAABuwEAABQAAACRRRVEszZSQmDpD0IOEbhCAbwBAACPAQAAAAAAAAAAEEEBAb0BAAAgAAAAJ0QgROEjxUIBvgEAAJoAAAAEAAAAAAAAAAAAAAAACb8BAAAAAAAACcABAAAAAAABwQEAAKMAAAAAAAAAAcIBAABsAAAAAABYQgAAcEEBwwEAABQAAACJnR9EsRO3QpMPMkKJnThBEoO+PwkYAQAACgnEAQAACZgBAAAgAwAA/////wEBCgnFAQAAAQAKAQcaAQAAAAEAAAACAAAABBVTeXN0ZW0uRHJhd2luZy5Qb2ludEYEAAAAAcYBAAAgAAAAJ0QgROEjxUIBxwEAACAAAADstBxCIBLoQQcbAQAAAAEAAAACAAAABBdBcGxvcmlzLkJhc2UuQW5jaG9yTW9kZQMAAAAByAEAAJoAAAAEAAAAAckBAACaAAAAAgAAAAEcAQAAJAAAAAnKAQAAAQAAAAEAAAABHQEAACUAAAAJywEAAAEAAAABAAAAAR8BAAAHAQAACgnMAQAACc0BAAAJ9gAAAAkBAAAACc4BAAABIQEAAAkBAAAKWAIAAAHPAQAAjAEAAAEAAAAB0AEAAI0BAAAAAAAAAdEBAAAUAAAAkUUVRG7QnUFg6Q9C+JzWQQHSAQAAjwEAAAAAAAAAABBBAQHTAQAAIAAAACdEIER1jwRCAdQBAACaAAAABAAAAAAAAAAAAAAAAAnVAQAAAAAAAAnWAQAAAAAAAdcBAACjAAAAAAAAAAHYAQAAbAAAAAAAhkIAAHBBAdkBAAAUAAAAiZ0fRBM70UGTD1pCiZ04QRKDvj8JIAEAAAoJ2gEAAAmYAQAAIAMAAP////8BAQoJ2wEAAAEACgEHIgEAAAABAAAAAgAAAAQVU3lzdGVtLkRyYXdpbmcuUG9pbnRGBAAAAAHcAQAAIAAAACdEIER1jwRCAd0BAAAgAAAAKI0wQSjJlkEHIwEAAAABAAAAAgAAAAQXQXBsb3Jpcy5CYXNlLkFuY2hvck1vZGUDAAAAAd4BAACaAAAABAAAAAHfAQAAmgAAAAIAAAABJAEAACQAAAAJ4AEAAAEAAAABAAAAASUBAAAlAAAACeEBAAABAAAAAQAAAA8oAQAAAQAAAAgAAAAABykBAAAAAQAAAAEAAAAEFUFwbG9yaXMuQmFzZS5VSS5MYWJlbAMAAAAJ4gEAAAEqAQAAMwAAAAHjAQAAIAAAAJqEm0KMCXVDAeQBAACaAAAAAwAAAAAAAAAAAAAAAAnlAQAAAAAAAAnmAQAAAAAAAecBAACjAAAAAAAAAAHoAQAAbAAAAAAAbEIAADRCAekBAAAUAAAAEztRQp3Yc0MJckFCJ3YKQhKDvj8G6gEAABtBY2FkZW1pYw0KUGxhbm5pbmcNCiYgQXVkaXQKCesBAAAJ6gEAACADAAD/////AQEKCewBAAABAAoBASsBAAAkAAAACdMAAAAAAAAAAAAAAAEsAQAAJQAAAAntAQAAAgAAAAIAAAAPLwEAAAEAAAAIAAAAAAcwAQAAAAEAAAABAAAABBVBcGxvcmlzLkJhc2UuVUkuTGFiZWwDAAAACe4BAAABMQEAADMAAAAB7wEAACAAAABy7BBDjAl1QwHwAQAAmgAAAAMAAAAAAAAAAAAAAAAJ8QEAAAAAAAAJ8gEAAAAAAAHzAQAAowAAAAAAAAAB9AEAAGwAAAAAAGRCAADwQQH1AQAAFAAAANiJ8UKd2HNDpko7QomduEESg74/BvYBAAARQWxlcnRzDQomIFNpZ25hbHMKCfcBAAAJ9gEAACADAAD/////AQEKCfgBAAABAAoBATIBAAAkAAAACdMAAAAAAAAAAAAAAAEzAQAAJQAAAAn5AQAAAgAAAAIAAAAPNgEAAAEAAAAIAAAAAAc3AQAAAAEAAAABAAAABBVBcGxvcmlzLkJhc2UuVUkuTGFiZWwDAAAACfoBAAABOAEAADMAAAAB+wEAACAAAACWFlRDjAl1QwH8AQAAmgAAAAMAAAAAAAAAAAAAAAAJ/QEAAAAAAAAJ/gEAAAAAAAH/AQAAowAAAAAAAAABAAIAAGwAAAAAAIBCAADwQQEBAgAAFAAAAImdOEOd2HNDf9RQQomduEESg74/BgICAAAWSW50ZWdyYXRpb24NClNvbHV0aW9ucwoJAwIAAAkCAgAAIAMAAP////8BAQoJBAIAAAEACgEBOQEAACQAAAAJ0wAAAAAAAAAAAAAAAToBAAAlAAAACQUCAAACAAAAAgAAAA89AQAAAQAAAAgAAAAABz4BAAAAAQAAAAEAAAAEFUFwbG9yaXMuQmFzZS5VSS5MYWJlbAMAAAAJBgIAAAE/AQAAMwAAAAEHAgAAIAAAAF2gi0OMCXVDAQgCAACaAAAAAwAAAAAAAAAAAAAAAAkJAgAAAAAAAAkKAgAAAAAAAQsCAACjAAAAAAAAAAEMAgAAbAAAAAAAnkIAAPBBAQ0CAAAUAAAAYid2Q53Yc0Ph+35CiZ24QRKDvj8GDgIAABRDYXNlbG9hZA0KTWFuYWdlbWVudAoJDwIAAAkOAgAAIAMAAP////8BAQoJEAIAAAEACgEBQAEAACQAAAAJ0wAAAAAAAAAAAAAAAUEBAAAlAAAACRECAAACAAAAAgAAAA9EAQAAAQAAAAgAAAAAB0UBAAAAAQAAAAEAAAAEFUFwbG9yaXMuQmFzZS5VSS5MYWJlbAMAAAAJEgIAAAFGAQAAMwAAAAETAgAAIAAAAHA1rUOMCXVDARQCAACaAAAAAwAAAAAAAAAAAAAAAAkVAgAAAAAAAAkWAgAAAAAAARcCAACjAAAAAAAAAAEYAgAAbAAAAAAAfEIAAPBBARkCAAAUAAAA//+fQ53Yc0POwE1CiZ24QRKDvj8GGgIAABRUcmFuc2Zlcg0KRXZhbHVhdGlvbgoJGwIAAAkaAgAAIAMAAP////8BAQoJHAIAAAEACgEBRwEAACQAAAAJ0wAAAAAAAAAAAAAAAUgBAAAlAAAACR0CAAACAAAAAgAAAA9LAQAAAQAAAAgAAAAAB0wBAAAAAQAAAAEAAAAEFUFwbG9yaXMuQmFzZS5VSS5MYWJlbAMAAAAJHgIAAAFNAQAAMwAAAAEfAgAAIAAAAILKzkOMCXVDASACAACaAAAAAwAAAAAAAAAAAAAAAAkhAgAAAAAAAAkiAgAAAAAAASMCAACjAAAAAAAAAAEkAgAAbAAAAAAAlEIAAPBBASUCAAAUAAAAYie/Q53Yc0NrmW9CiZ24QRKDvj8GJgIAABVSZXNvdXJjZQ0KQ29ubmVjdGlvbioKCScCAAAJJgIAACADAAD/////AQEKCSgCAAABAAoBAU4BAAAkAAAACdMAAAAAAAAAAAAAAAFPAQAAJQAAAAkpAgAAAgAAAAIAAAAPUgEAAAEAAAAIAAAAAAdTAQAAAAEAAAABAAAABBVBcGxvcmlzLkJhc2UuVUkuTGFiZWwDAAAACSoCAAABVAEAADMAAAABKwIAACAAAACUX/BDjAl1QwEsAgAAmgAAAAMAAAAAAAAAAAAAAAAJLQIAAAAAAAAJLgIAAAAAAAEvAgAAowAAAAAAAAABMAIAAGwAAAAAAFRCAADwQQExAgAAFAAAAJ3Y5EOd2HND4vsuQomduEESg74/BjICAAAQQ2FyZWVyDQpQbGFubmluZwoJMwIAAAkyAgAAIAMAAP////8BAQoJNAIAAAEACgEBVQEAACQAAAAJ0wAAAAAAAAAAAAAAAVYBAAAlAAAACTUCAAACAAAAAgAAAA9ZAQAAAQAAAAgAAAAAB1oBAAAAAQAAAAEAAAAEFUFwbG9yaXMuQmFzZS5VSS5MYWJlbAMAAAAJNgIAAAFbAQAAMwAAAAE3AgAAIAAAAFP6CESMCXVDATgCAACaAAAAAwAAAAAAAAAAAAAAAAk5AgAAAAAAAAk6AgAAAAAAATsCAACjAAAAAAAAAAE8AgAAbAAAAAAAjEIAAHBBAT0CAAAUAAAAiZ0BRJ3Yc0OmSmNCiZ04QRKDvj8JVwEAAAoJPgIAAAmYAQAAIAMAAP////8BAQoJPwIAAAEACgEBXAEAACQAAAAJ0wAAAAAAAAAAAAAAAV0BAAAlAAAACUACAAACAAAAAgAAAA9gAQAAAQAAAAgAAAAAB2EBAAAAAQAAAAEAAAAEFUFwbG9yaXMuQmFzZS5VSS5MYWJlbAMAAAAJQQIAAAFiAQAAMwAAAAFCAgAAIAAAANzEGUSMCXVDAUMCAACaAAAAAwAAAAAAAAAAAAAAAAlEAgAAAAAAAAlFAgAAAAAAAUYCAACjAAAAAAAAAAFHAgAAbAAAAAAAuEIAADRCAUgCAAAUAAAAEzsQRJ3Yc0PxfZNCJ3YKQhKDvj8GSQIAACZQZXJmb3JtYW5jZQ0KTWVhc3VyZW1lbnQNCiYgTWFuYWdlbWVudAoJSgIAAAlJAgAAIAMAAP////8BAQoJSwIAAAEACgEBYwEAACQAAAAJ0wAAAAAAAAAAAAAAAWQBAAAlAAAACUwCAAACAAAAAgAAAAFlAQAALwAAAAFNAgAAIAAAAOy0MEKMCXBDAU4CAAAgAAAA7LQgQowJcEMJTwIAAMwBAAD/////AQEKCVACAAABAAoBAWYBAAAzAAAAAVECAAAgAAAA7LQaQowJcEMBUgIAAJoAAAACAAAAAAAAAAAAAAAACVMCAAAAAAAACVQCAAAAAAABVQIAAKMAAAAAAAAAAVYCAABsAAAAAACYQQAAcEEBVwIAABQAAADETqxBsBNpQ7G8jEGJnThBEoO+PwZYAgAAAjAlCglZAgAACZgBAADQAgAA/////wEBCglaAgAAAQAKAQFpAQAAJAAAAAnTAAAAAAAAAAAAAAABagEAACUAAAAJWwIAAAIAAAACAAAAAWsBAAAvAAAAAVwCAAAgAAAA7LQwQgxgQ0MBXQIAACAAAADstCBCDGBDQwleAgAAzAEAAP////8BAQoJXwIAAAEACgEBbAEAADMAAAABYAIAACAAAADstBpCDGBDQwFhAgAAmgAAAAIAAAAAAAAAAAAAAAAJYgIAAAAAAAAJYwIAAAAAAAFkAgAAowAAAAAAAAABZQIAAGwAAAAAANhBAABwQQFmAgAAFAAAAGIndkEndjxDxPe9QYmdOEESg74/BmcCAAADMjAlCgloAgAACZgBAADQAgAA/////wEBCglpAgAAAQAKAQFvAQAAJAAAAAnTAAAAAAAAAAAAAAABcAEAACUAAAAJagIAAAIAAAACAAAAAXEBAAAvAAAAAWsCAAAgAAAA7LQwQo22FkMBbAIAACAAAADstCBCjbYWQwltAgAAzAEAAP////8BAQoJbgIAAAEACgEBcgEAADMAAAABbwIAACAAAADstBpCjbYWQwFwAgAAmgAAAAIAAAAAAAAAAAAAAAAJcQIAAAAAAAAJcgIAAAAAAAFzAgAAowAAAAAAAAABdAIAAGwAAAAAANhBAABwQQF1AgAAFAAAAGIndkGd2A9DxPe9QYmdOEESg74/BnYCAAADNDAlCgl3AgAACZgBAADQAgAA/////wEBCgl4AgAAAQAKAQF1AQAAJAAAAAnTAAAAAAAAAAAAAAABdgEAACUAAAAJeQIAAAIAAAACAAAAAXcBAAAvAAAAAXoCAAAgAAAA7LQwQhoa1EIBewIAACAAAADstCBCGhrUQgl8AgAAzAEAAP////8BAQoJfQIAAAEACgEBeAEAADMAAAABfgIAACAAAADstBpCGhrUQgF/AgAAmgAAAAIAAAAAAAAAAAAAAAAJgAIAAAAAAAAJgQIAAAAAAAGCAgAAowAAAAAAAAABgwIAAGwAAAAAANhBAABwQQGEAgAAFAAAAGIndkEndsZCxPe9QYmdOEESg74/BoUCAAADNjAlCgmGAgAACZgBAADQAgAA/////wEBCgmHAgAAAQAKAQF7AQAAJAAAAAnTAAAAAAAAAAAAAAABfAEAACUAAAAJiAIAAAIAAAACAAAAAX0BAAAvAAAAAYkCAAAgAAAA7LQwQjaOdUIBigIAACAAAADstCBCNo51QgmLAgAAzAEAAP////8BAQoJjAIAAAEACgEBfgEAADMAAAABjQIAACAAAADstBpCNo51QgGOAgAAmgAAAAIAAAAAAAAAAAAAAAAJjwIAAAAAAAAJkAIAAAAAAAGRAgAAowAAAAAAAAABkgIAAGwAAAAAANhBAABwQQGTAgAAFAAAAGIndkEndlpCxPe9QYmdOEESg74/BpQCAAADODAlCgmVAgAACZgBAADQAgAA/////wEBCgmWAgAAAQAKAQGBAQAAJAAAAAnTAAAAAAAAAAAAAAABggEAACUAAAAJlwIAAAIAAAACAAAAAYMBAAAvAAAAAZgCAAAgAAAA7LQwQm7QhUEBmQIAACAAAADstCBCbtCFQQmaAgAAzAEAAP////8BAQoJmwIAAAEACgEBhAEAADMAAAABnAIAACAAAADstBpCbtCFQQGdAgAAmgAAAAIAAAAAAAAAAAAAAAAJngIAAAAAAAAJnwIAAAAAAAGgAgAAowAAAAAAAAABoQIAAGwAAAAAAAhCAABwQQGiAgAAFAAAAP//H0H//x9BdQvpQYmdOEESg74/BqMCAAAEMTAwJQoJpAIAAAmYAQAA0AIAAP////8BAQoJpQIAAAEACgEBhwEAACQAAAAJ0wAAAAAAAAAAAAAAAYgBAAAlAAAACaYCAAACAAAAAgAAAASJ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acCAAAJAAAAFQAAAAGKAQAAJAAAAAmoAgAACQAAAAkAAAABiwEAACUAAAAJ0QAAAAAAAAAAAAAAAZIBAAAiAAAACgoAAAAAAChBCXAAAAAJcQAAAAmpAgAAAAAJqgIAAAGTAQAAcgAAAAoKAAAAAP///wAOAAAAAAEBlwEAAKcAAAAJqwIAAAEAAAABAAAAAZkBAABvAAAACawCAAAKB54BAAAAAQAAAAQAAAAEH0FwbG9yaXMuQmFzZS5PYmplY3RzLkRhdGFPYmplY3QDAAAACQcBAAANAwefAQAAAAEAAAAEAAAABBxBcGxvcmlzLkJhc2UuVUkuVmlzdWFsT2JqZWN0AwAAAAkJAQAADQMBoAEAAIkBAAAJrQIAAAkAAAAVAAAAAaEBAAAkAAAACa4CAAAJAAAACQAAAAGiAQAAJQAAAAnRAAAAAAAAAAAAAAABqQEAACIAAAAKCgAAAAAAKEEJcAAAAAlxAAAACa8CAAAAAAmwAgAAAaoBAAByAAAACgoAAAAA////AA4AAAAAAQGuAQAApwAAAAmxAgAAAQAAAAEAAAABrwEAAG8AAAAJsgIAAAoHtAEAAAABAAAABAAAAAQfQXBsb3Jpcy5CYXNlLk9iamVjdHMuRGF0YU9iamVjdAMAAAAJDwEAAA0DB7UBAAAAAQAAAAQAAAAEHEFwbG9yaXMuQmFzZS5VSS5WaXN1YWxPYmplY3QDAAAACREBAAANAwG2AQAAiQEAAAmzAgAACQAAABUAAAABtwEAACQAAAAJtAIAAAkAAAAJAAAAAbgBAAAlAAAACdEAAAAAAAAAAAAAAAG/AQAAIgAAAAoKAAAAAAAoQQlwAAAACXEAAAAJtQIAAAAACbYCAAABwAEAAHIAAAAKCgAAAAD///8ADgAAAAABAcQBAACnAAAACbcCAAABAAAAAQAAAAHFAQAAbwAAAAm4AgAACgfKAQAAAAEAAAAEAAAABB9BcGxvcmlzLkJhc2UuT2JqZWN0cy5EYXRhT2JqZWN0AwAAAAkXAQAADQMHywEAAAABAAAABAAAAAQcQXBsb3Jpcy5CYXNlLlVJLlZpc3VhbE9iamVjdAMAAAAJGQEAAA0DAcwBAACJAQAACbkCAAAJAAAAFQAAAAHNAQAAJAAAAAm6AgAACQAAAAkAAAABzgEAACUAAAAJ0QAAAAAAAAAAAAAAAdUBAAAiAAAACgoAAAAAAChBCXAAAAAJcQAAAAm7AgAAAAAJvAIAAAHWAQAAcgAAAAoKAAAAAP///wAOAAAAAAEB2gEAAKcAAAAJvQIAAAEAAAABAAAAAdsBAABvAAAACb4CAAAKB+ABAAAAAQAAAAQAAAAEH0FwbG9yaXMuQmFzZS5PYmplY3RzLkRhdGFPYmplY3QDAAAACR8BAAANAwfhAQAAAAEAAAAEAAAABBxBcGxvcmlzLkJhc2UuVUkuVmlzdWFsT2JqZWN0AwAAAAkhAQAADQMB4gEAADMAAAABvwIAACAAAACahJtC3KBbQQHAAgAAmgAAAAEAAAAAAAAAAAAAAAAJwQIAAAAAAAAJwgIAAAAAAAHDAgAAowAAAAAAAAABxAIAAGwAAAAAAGRCAABwQQHFAgAAFAAAAAAAAAAAAAAAAAAAAAAAAAASg74/BsYCAAAJbiA9IDEsMjc0CgnHAgAACcYCAAA0AwAA/////wABCgnIAgAAAQAKAQHlAQAAIgAAAAoKAAAAAAAoQQlwAAAACXEAAAAJyQIAAAAACcoCAAAB5gEAAHIAAAAKCgAAAAD///8ADgAAAAABAesBAACnAAAACcsCAAAAAAAABgAAAAHsAQAAbwAAAAnMAgAACgftAQAAAAEAAAAEAAAABBxBcGxvcmlzLkJhc2UuVUkuVmlzdWFsT2JqZWN0AwAAAAkqAQAACeIBAAAKCgHuAQAAMwAAAAHNAgAAIAAAAHLsEEPcoFtBAc4CAACaAAAAAQAAAAAAAAAAAAAAAAnPAgAAAAAAAAnQAgAAAAAAAdECAACjAAAAAAAAAAHSAgAAbAAAAAAACEIAAHBBAdMCAAAUAAAAAAAAAAAAAAAAAAAAAAAAABKDvj8G1AIAAAUxLDI2OAoJ1QIAAAnUAgAANAMAAP////8AAQoJ1gIAAAEACgEB8QEAACIAAAAKCgAAAAAAKEEJcAAAAAlxAAAACdcCAAAAAAnYAgAAAfIBAAByAAAACgoAAAAA////AA4AAAAAAQH3AQAApwAAAAnZAgAAAAAAAAMAAAAB+AEAAG8AAAAJ2gIAAAoH+QEAAAABAAAABAAAAAQcQXBsb3Jpcy5CYXNlLlVJLlZpc3VhbE9iamVjdAMAAAAJMQEAAAnuAQAACgoB+gEAADMAAAAB2wIAACAAAACWFlRD3KBbQQHcAgAAmgAAAAEAAAAAAAAAAAAAAAAJ3QIAAAAAAAAJ3gIAAAAAAAHfAgAAowAAAAAAAAAB4AIAAGwAAAAAAAhCAABwQQHhAgAAFAAAAAAAAAAAAAAAAAAAAAAAAAASg74/BuICAAAFMSwyNzIKCeMCAAAJ4gIAADQDAAD/////AAEKCeQCAAABAAoBAf0BAAAiAAAACgoAAAAAAChBCXAAAAAJcQAAAAnlAgAAAAAJ5gIAAAH+AQAAcgAAAAoKAAAAAP///wAOAAAAAAEBAwIAAKcAAAAJ5wIAAAAAAAADAAAAAQQCAABvAAAACegCAAAKBwUCAAAAAQAAAAQAAAAEHEFwbG9yaXMuQmFzZS5VSS5WaXN1YWxPYmplY3QDAAAACTgBAAAJ+gEAAAoKAQYCAAAzAAAAAekCAAAgAAAAXaCLQ4ozX0EB6gIAAJoAAAABAAAAAAAAAAAAAAAACesCAAAAAAAACewCAAAAAAAB7QIAAKMAAAAAAAAAAe4CAABsAAAAAAAIQgAAcEEB7wIAABQAAAAAAAAAAAAAAAAAAAAAAAAAEoO+PwbwAgAABTEsMjcyCgnxAgAACfACAAA0AwAA/////wABCgnyAgAAAQAKAQEJAgAAIgAAAAoKAAAAAAAoQQlwAAAACXEAAAAJ8wIAAAAACfQCAAABCgIAAHIAAAAKCgAAAAD///8ADgAAAAABAQ8CAACnAAAACfUCAAAAAAAAAwAAAAEQAgAAbwAAAAn2AgAACgcRAgAAAAEAAAAEAAAABBxBcGxvcmlzLkJhc2UuVUkuVmlzdWFsT2JqZWN0AwAAAAk/AQAACQYCAAAKCgESAgAAMwAAAAH3AgAAIAAAAHA1rUPcoFtBAfgCAACaAAAAAQAAAAAAAAAAAAAAAAn5AgAAAAAAAAn6AgAAAAAAAfsCAACjAAAAAAAAAAH8AgAAbAAAAAAACEIAAHBBAf0CAAAUAAAAAAAAAAAAAAAAAAAAAAAAABKDvj8G/gIAAAUxLDI2OQoJ/wIAAAn+AgAANAMAAP////8AAQoJAAMAAAEACgEBFQIAACIAAAAKCgAAAAAAKEEJcAAAAAlxAAAACQEDAAAAAAkCAwAAARYCAAByAAAACgoAAAAA////AA4AAAAAAQEbAgAApwAAAAkDAwAAAAAAAAMAAAABHAIAAG8AAAAJBAMAAAoHHQIAAAABAAAABAAAAAQcQXBsb3Jpcy5CYXNlLlVJLlZpc3VhbE9iamVjdAMAAAAJRgEAAAkSAgAACgoBHgIAADMAAAABBQMAACAAAACCys5D3KBbQQEGAwAAmgAAAAEAAAAAAAAAAAAAAAAJBwMAAAAAAAAJCAMAAAAAAAEJAwAAowAAAAAAAAABCgMAAGwAAAAAAAhCAABwQQELAwAAFAAAAAAAAAAAAAAAAAAAAAAAAAASg74/BgwDAAAFMSwyNzAKCQ0DAAAJDAMAADQDAAD/////AAEKCQ4DAAABAAoBASECAAAiAAAACgoAAAAAAChBCXAAAAAJcQAAAAkPAwAAAAAJEAMAAAEiAgAAcgAAAAoKAAAAAP///wAOAAAAAAEBJwIAAKcAAAAJEQMAAAAAAAADAAAAASgCAABvAAAACRIDAAAKBykCAAAAAQAAAAQAAAAEHEFwbG9yaXMuQmFzZS5VSS5WaXN1YWxPYmplY3QDAAAACU0BAAAJHgIAAAoKASoCAAAzAAAAARMDAAAgAAAAlF/wQ9ygW0EBFAMAAJoAAAABAAAAAAAAAAAAAAAACRUDAAAAAAAACRYDAAAAAAABFwMAAKMAAAAAAAAAARgDAABsAAAAAAAIQgAAcEEBGQMAABQAAAAAAAAAAAAAAAAAAAAAAAAAEoO+PwYaAwAABTEsMjY2CgkbAwAACRoDAAA0AwAA/////wABCgkcAwAAAQAKAQEtAgAAIgAAAAoKAAAAAAAoQQlwAAAACXEAAAAJHQMAAAAACR4DAAABLgIAAHIAAAAKCgAAAAD///8ADgAAAAABATMCAACnAAAACR8DAAAAAAAAAwAAAAE0AgAAbwAAAAkgAwAACgc1AgAAAAEAAAAEAAAABBxBcGxvcmlzLkJhc2UuVUkuVmlzdWFsT2JqZWN0AwAAAAlUAQAACSoCAAAKCgE2AgAAMwAAAAEhAwAAIAAAAFP6CETcoFtBASIDAACaAAAAAQAAAAAAAAAAAAAAAAkjAwAAAAAAAAkkAwAAAAAAASUDAACjAAAAAAAAAAEmAwAAbAAAAAAACEIAAHBBAScDAAAUAAAAAAAAAAAAAAAAAAAAAAAAABKDvj8GKAMAAAUxLDI2NwoJKQMAAAkoAwAANAMAAP////8AAQoJKgMAAAEACgEBOQIAACIAAAAKCgAAAAAAKEEJcAAAAAlxAAAACSsDAAAAAAksAwAAAToCAAByAAAACgoAAAAA////AA4AAAAAAQE+AgAApwAAAAktAwAAAQAAAAEAAAABPwIAAG8AAAAJLgMAAAoHQAIAAAABAAAABAAAAAQcQXBsb3Jpcy5CYXNlLlVJLlZpc3VhbE9iamVjdAMAAAAJWwEAAAk2AgAACgoBQQIAADMAAAABLwMAACAAAADcxBlE3KBbQQEwAwAAmgAAAAEAAAAAAAAAAAAAAAAJMQMAAAAAAAAJMgMAAAAAAAEzAwAAowAAAAAAAAABNAMAAGwAAAAAAAhCAABwQQE1AwAAFAAAAAAAAAAAAAAAAAAAAAAAAAASg74/BjYDAAAFMSwyNjkKCTcDAAAJNgMAADQDAAD/////AAEKCTgDAAABAAoBAUQCAAAiAAAACgoAAAAAAChBCXAAAAAJcQAAAAk5AwAAAAAJOgMAAAFFAgAAcgAAAAoKAAAAAP///wAOAAAAAAEBSgIAAKcAAAAJOwMAAAAAAAADAAAAAUsCAABvAAAACTwDAAAKB0wCAAAAAQAAAAQAAAAEHEFwbG9yaXMuQmFzZS5VSS5WaXN1YWxPYmplY3QDAAAACWIBAAAJQQIAAAoKAU8CAABqAAAACgoAAABAPwk9AwAACT4DAAABAAAA/v///wAAAAABAAAAAAAAAAAAAAABAAAAAAAAAAAAAAFQAgAAbwAAAAk/AwAACgFTAgAAIgAAAAoKAAAAAAAoQQlwAAAACXEAAAAJQAMAAAAACUEDAAABVAIAAHIAAAAKCgAAAAD///8ADgAAAAABAVkCAACnAAAACUIDAAABAAAAAQAAAAFaAgAAbwAAAAlDAwAACgdbAgAAAAEAAAAEAAAABBxBcGxvcmlzLkJhc2UuVUkuVmlzdWFsT2JqZWN0AwAAAAllAQAACWYBAAAKCgFeAgAAagAAAAoKAAAAQD8JRAMAAAlFAwAAAQAAAP7///8AAAAAAQAAAAAAAAAAAAAAAQAAAAAAAAAAAAABXwIAAG8AAAAJRgMAAAoBYgIAACIAAAAKCgAAAAAAKEEJcAAAAAlxAAAACUcDAAAAAAlIAwAAAWMCAAByAAAACgoAAAAA////AA4AAAAAAQFoAgAApwAAAAlJAwAAAQAAAAMAAAABaQIAAG8AAAAJSgMAAAoHagIAAAABAAAABAAAAAQcQXBsb3Jpcy5CYXNlLlVJLlZpc3VhbE9iamVjdAMAAAAJawEAAAlsAQAACgoBbQIAAGoAAAAKCgAAAEA/CUsDAAAJTAMAAAEAAAD+////AAAAAAEAAAAAAAAAAAAAAAEAAAAAAAAAAAAAAW4CAABvAAAACU0DAAAKAXECAAAiAAAACgoAAAAAAChBCXAAAAAJcQAAAAlOAwAAAAAJTwMAAAFyAgAAcgAAAAoKAAAAAP///wAOAAAAAAEBdwIAAKcAAAAJUAMAAAEAAAADAAAAAXgCAABvAAAACVEDAAAKB3kCAAAAAQAAAAQAAAAEHEFwbG9yaXMuQmFzZS5VSS5WaXN1YWxPYmplY3QDAAAACXEBAAAJcgEAAAoKAXwCAABqAAAACgoAAABAPwlSAwAACVMDAAABAAAA/v///wAAAAABAAAAAAAAAAAAAAABAAAAAAAAAAAAAAF9AgAAbwAAAAlUAwAACgGAAgAAIgAAAAoKAAAAAAAoQQlwAAAACXEAAAAJVQMAAAAACVYDAAABgQIAAHIAAAAKCgAAAAD///8ADgAAAAABAYYCAACnAAAACVcDAAABAAAAAwAAAAGHAgAAbwAAAAlYAwAACgeIAgAAAAEAAAAEAAAABBxBcGxvcmlzLkJhc2UuVUkuVmlzdWFsT2JqZWN0AwAAAAl3AQAACXgBAAAKCgGLAgAAagAAAAoKAAAAQD8JWQMAAAlaAwAAAQAAAP7///8AAAAAAQAAAAAAAAAAAAAAAQAAAAAAAAAAAAABjAIAAG8AAAAJWwMAAAoBjwIAACIAAAAKCgAAAAAAKEEJcAAAAAlxAAAACVwDAAAAAAldAwAAAZACAAByAAAACgoAAAAA////AA4AAAAAAQGVAgAApwAAAAleAwAAAQAAAAMAAAABlgIAAG8AAAAJXwMAAAoHlwIAAAABAAAABAAAAAQcQXBsb3Jpcy5CYXNlLlVJLlZpc3VhbE9iamVjdAMAAAAJfQEAAAl+AQAACgoBmgIAAGoAAAAKCgAAAEA/CWADAAAJYQMAAAEAAAD+////AAAAAAEAAAAAAAAAAAAAAAEAAAAAAAAAAAAAAZsCAABvAAAACWIDAAAKAZ4CAAAiAAAACgoAAAAAAChBCXAAAAAJcQAAAAljAwAAAAAJZAMAAAGfAgAAcgAAAAoKAAAAAP///wAOAAAAAAEBpAIAAKcAAAAJZQMAAAEAAAADAAAAAaUCAABvAAAACWYDAAAKB6YCAAAAAQAAAAQAAAAEHEFwbG9yaXMuQmFzZS5VSS5WaXN1YWxPYmplY3QDAAAACYMBAAAJhAEAAAoKB6cCAAAAAQAAABAAAAAEHkFwbG9yaXMuQ2hhcnQuQ2hhcnREYXRhRWxlbWVudAIAAAAJZwMAAAloAwAACWkDAAAJagMAAAlrAwAACWwDAAAJbQMAAAluAwAACW8DAAANBweoAgAAAAEAAAAQAAAABB9BcGxvcmlzLkJhc2UuT2JqZWN0cy5EYXRhT2JqZWN0AwAAAAlnAwAACW4DAAAJbwMAAAloAwAACWoDAAAJawMAAAltAwAACWwDAAAJaQMAAA0HAakCAAByAAAACgoAAAAAAAAAAA0AAAAAAAGqAgAAcgAAAAoKAAAAAAAAAAANAAAAAAEHqwIAAAABAAAABAAAAAQdQXBsb3Jpcy5CYXNlLk9iamVjdHMuVmFyaWFibGUDAAAABXADAAAdQXBsb3Jpcy5CYXNlLk9iamVjdHMuVmFyaWFibGUCAAAABk51bWJlcghQb3NpdGlvbgAACAgDAAAAAQAAAAAAAAABcQMAAHADAAAAAAAAAAAAAAFyAwAAcAMAAAAAAAAAAAAAAXMDAABwAwAAAAAAAAAAAAAPrAIAAAEAAAAIOAAAAAetAgAAAAEAAAAQAAAABB5BcGxvcmlzLkNoYXJ0LkNoYXJ0RGF0YUVsZW1lbnQCAAAACXQDAAAJdQMAAAl2AwAACXcDAAAJeAMAAAl5AwAACXoDAAAJewMAAAl8AwAADQcHrgIAAAABAAAAEAAAAAQfQXBsb3Jpcy5CYXNlLk9iamVjdHMuRGF0YU9iamVjdAMAAAAJdAMAAAl7AwAACXwDAAAJdQMAAAl3AwAACXgDAAAJegMAAAl5AwAACXYDAAANBwGvAgAAcgAAAAoKAAAAAAAAAAANAAAAAAABsAIAAHIAAAAKCgAAAAAAAAAADQAAAAABB7ECAAAAAQAAAAQAAAAEHUFwbG9yaXMuQmFzZS5PYmplY3RzLlZhcmlhYmxlAwAAAAF9AwAAcAMAAAEAAAAAAAAAAX4DAABwAwAAAAAAAAAAAAABfwMAAHADAAAAAAAAAAAAAAGAAwAAcAMAAAAAAAAAAAAAD7ICAAABAAAACDoAAAAHswIAAAABAAAAEAAAAAQeQXBsb3Jpcy5DaGFydC5DaGFydERhdGFFbGVtZW50AgAAAAmBAwAACYIDAAAJgwMAAAmEAwAACYUDAAAJhgMAAAmHAwAACYgDAAAJiQMAAA0HB7QCAAAAAQAAABAAAAAEH0FwbG9yaXMuQmFzZS5PYmplY3RzLkRhdGFPYmplY3QDAAAACYEDAAAJiAMAAAmJAwAACYIDAAAJhAMAAAmFAwAACYcDAAAJhgMAAAmDAwAADQcBtQIAAHIAAAAKCgAAAAAAAAAADQAAAAAAAbYCAAByAAAACgoAAAAAAAAAAA0AAAAAAQe3AgAAAAEAAAAEAAAABB1BcGxvcmlzLkJhc2UuT2JqZWN0cy5WYXJpYWJsZQMAAAABigMAAHADAAABAAAAAAAAAAGLAwAAcAMAAAAAAAAAAAAAAYwDAABwAwAAAAAAAAAAAAABjQMAAHADAAAAAAAAAAAAAA+4AgAAAQAAAAg+AAAAB7kCAAAAAQAAABAAAAAEHkFwbG9yaXMuQ2hhcnQuQ2hhcnREYXRhRWxlbWVudAIAAAAJjgMAAAmPAwAACZADAAAJkQMAAAmSAwAACZMDAAAJlAMAAAmVAwAACZYDAAANBwe6AgAAAAEAAAAQAAAABB9BcGxvcmlzLkJhc2UuT2JqZWN0cy5EYXRhT2JqZWN0AwAAAAmOAwAACZUDAAAJlgMAAAmPAwAACZEDAAAJkgMAAAmUAwAACZMDAAAJkAMAAA0HAbsCAAByAAAACgoAAAAAAAAAAA0AAAAAAAG8AgAAcgAAAAoKAAAAAAAAAAANAAAAAAEHvQIAAAABAAAABAAAAAQdQXBsb3Jpcy5CYXNlLk9iamVjdHMuVmFyaWFibGUDAAAAAZcDAABwAwAAAQAAAAAAAAABmAMAAHADAAAAAAAAAAAAAAGZAwAAcAMAAAAAAAAAAAAAAZoDAABwAwAAAAAAAAAAAAAPvgIAAAEAAAAINQAAAAXB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3AAAACgAAAAAAKEEJcAAAAAlxAAAACZsDAAABAAmcAwAAAcICAAByAAAACgoAAAAA////AA4AAAAAAQHHAgAApwAAAAmdAwAAAAAAAAIAAAAByAIAAG8AAAAJngMAAAoByQIAAHIAAAAKCgAAAAAAAAAADQAAAAAAAcoCAAByAAAACgoAAAAAAAAAAA0AAAAAAQfLAgAAAAEAAAAEAAAABB1BcGxvcmlzLkJhc2UuT2JqZWN0cy5WYXJpYWJsZQMAAAABnwMAAHADAAAAAAAAAAAAAAGgAwAAcAMAAAAAAAAAAAAAAaEDAABwAwAAAAAAAAAAAAABogMAAHADAAAAAAAAAAAAAA/MAgAAAQAAAAg3AAAABc8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gAAAAKAAAAAAAoQQlwAAAACXEAAAAJowMAAAEACaQDAAAB0AIAAHIAAAAKCgAAAAD///8ADgAAAAABAdUCAACnAAAACaUDAAAAAAAABQAAAAHWAgAAbwAAAAmmAwAACgHXAgAAcgAAAAoKAAAAAAAAAAANAAAAAAAB2AIAAHIAAAAKCgAAAAAAAAAADQAAAAABB9kCAAAAAQAAAAQAAAAEHUFwbG9yaXMuQmFzZS5PYmplY3RzLlZhcmlhYmxlAwAAAAGnAwAAcAMAAAAAAAAAAAAAAagDAABwAwAAAAAAAAAAAAABqQMAAHADAAAAAAAAAAAAAAGqAwAAcAMAAAAAAAAAAAAAD9oCAAABAAAACDMAAAAF3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+QAAAAoAAAAAAChBCXAAAAAJcQAAAAmrAwAAAQAJrAMAAAHeAgAAcgAAAAoKAAAAAP///wAOAAAAAAEB4wIAAKcAAAAJrQMAAAAAAAAEAAAAAeQCAABvAAAACa4DAAAKAeUCAAByAAAACgoAAAAAAAAAAA0AAAAAAAHmAgAAcgAAAAoKAAAAAAAAAAANAAAAAAEH5wIAAAABAAAABAAAAAQdQXBsb3Jpcy5CYXNlLk9iamVjdHMuVmFyaWFibGUDAAAAAa8DAABwAwAAAAAAAAAAAAABsAMAAHADAAAAAAAAAAAAAAGxAwAAcAMAAAAAAAAAAAAAAbIDAABwAwAAAAAAAAAAAAAP6AIAAAEAAAAIPAAAAAXr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6AAAACgAAAAAAKEEJcAAAAAlxAAAACbMDAAABAAm0AwAAAewCAAByAAAACgoAAAAA////AA4AAAAAAQHxAgAApwAAAAm1AwAAAAAAAAQAAAAB8gIAAG8AAAAJtgMAAAoB8wIAAHIAAAAKCgAAAAAAAAAADQAAAAAAAfQCAAByAAAACgoAAAAAAAAAAA0AAAAAAQf1AgAAAAEAAAAEAAAABB1BcGxvcmlzLkJhc2UuT2JqZWN0cy5WYXJpYWJsZQMAAAABtwMAAHADAAAAAAAAAAAAAAG4AwAAcAMAAAAAAAAAAAAAAbkDAABwAwAAAAAAAAAAAAABugMAAHADAAAAAAAAAAAAAA/2AgAAAQAAAAg/AAAABfk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sAAAAKAAAAAAAoQQlwAAAACXEAAAAJuwMAAAEACbwDAAAB+gIAAHIAAAAKCgAAAAD///8ADgAAAAABAf8CAACnAAAACb0DAAAAAAAABAAAAAEAAwAAbwAAAAm+AwAACgEBAwAAcgAAAAoKAAAAAAAAAAANAAAAAAABAgMAAHIAAAAKCgAAAAAAAAAADQAAAAABBwMDAAAAAQAAAAQAAAAEHUFwbG9yaXMuQmFzZS5PYmplY3RzLlZhcmlhYmxlAwAAAAG/AwAAcAMAAAAAAAAAAAAAAcADAABwAwAAAAAAAAAAAAABwQMAAHADAAAAAAAAAAAAAAHCAwAAcAMAAAAAAAAAAAAADwQDAAABAAAACDkAAAAFB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/AAAAAoAAAAAAChBCXAAAAAJcQAAAAnDAwAAAQAJxAMAAAEIAwAAcgAAAAoKAAAAAP///wAOAAAAAAEBDQMAAKcAAAAJxQMAAAAAAAAEAAAAAQ4DAABvAAAACcYDAAAKAQ8DAAByAAAACgoAAAAAAAAAAA0AAAAAAAEQAwAAcgAAAAoKAAAAAAAAAAANAAAAAAEHEQMAAAABAAAABAAAAAQdQXBsb3Jpcy5CYXNlLk9iamVjdHMuVmFyaWFibGUDAAAAAccDAABwAwAAAAAAAAAAAAAByAMAAHADAAAAAAAAAAAAAAHJAwAAcAMAAAAAAAAAAAAAAcoDAABwAwAAAAAAAAAAAAAPEgMAAAEAAAAIPQAAAAUV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9AAAACgAAAAAAKEEJcAAAAAlxAAAACcsDAAABAAnMAwAAARYDAAByAAAACgoAAAAA////AA4AAAAAAQEbAwAApwAAAAnNAwAAAAAAAAQAAAABHAMAAG8AAAAJzgMAAAoBHQMAAHIAAAAKCgAAAAAAAAAADQAAAAAAAR4DAAByAAAACgoAAAAAAAAAAA0AAAAAAQcfAwAAAAEAAAAEAAAABB1BcGxvcmlzLkJhc2UuT2JqZWN0cy5WYXJpYWJsZQMAAAABzwMAAHADAAAAAAAAAAAAAAHQAwAAcAMAAAAAAAAAAAAAAdEDAABwAwAAAAAAAAAAAAAB0gMAAHADAAAAAAAAAAAAAA8gAwAAAQAAAAg7AAAABSM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4AAAAKAAAAAAAoQQlwAAAACXEAAAAJ0wMAAAEACdQDAAABJAMAAHIAAAAKCgAAAAD///8ADgAAAAABASkDAACnAAAACdUDAAAAAAAABAAAAAEqAwAAbwAAAAnWAwAACgErAwAAcgAAAAoKAAAAAAAAAAANAAAAAAABLAMAAHIAAAAKCgAAAAAAAAAADQAAAAABBy0DAAAAAQAAAAQAAAAEHUFwbG9yaXMuQmFzZS5PYmplY3RzLlZhcmlhYmxlAwAAAAHXAwAAcAMAAAEAAAAAAAAAAdgDAABwAwAAAAAAAAAAAAAB2QMAAHADAAAAAAAAAAAAAAHaAwAAcAMAAAAAAAAAAAAADy4DAAABAAAACDQAAAAFM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/wAAAAoAAAAAAChBCXAAAAAJcQAAAAnbAwAAAQAJ3AMAAAEyAwAAcgAAAAoKAAAAAP///wAOAAAAAAEBNwMAAKcAAAAJ3QMAAAAAAAAEAAAAATgDAABvAAAACd4DAAAKATkDAAByAAAACgoAAAAAAAAAAA0AAAAAAAE6AwAAcgAAAAoKAAAAAAAAAAANAAAAAAEHOwMAAAABAAAABAAAAAQdQXBsb3Jpcy5CYXNlLk9iamVjdHMuVmFyaWFibGUDAAAAAd8DAABwAwAAAAAAAAAAAAAB4AMAAHADAAAAAAAAAAAAAAHhAwAAcAMAAAAAAAAAAAAAAeIDAABwAwAAAAAAAAAAAAAPPAMAAAEAAAAINgAAAAE9AwAAcgAAAAoKAAAAAAAAAAANAAAAAAAFPgMAABpBcGxvcmlzLkJhc2UuT2JqZWN0cy5Db2xvcgcAAAASRGF0YU9iamVjdCttUGFyZW50FURhdGFPYmplY3QrbUNvbnRhaW5lcgVtVHlwZQRtUkdCEG1UaGVtZUNvbG9ySW5kZXgMbUF1dG9VcGRhdGVkCW1Nb2RpZmllZAQCAAAAAAAfQXBsb3Jpcy5CYXNlLk9iamVjdHMuTGluZUZvcm1hdAMAAAAICAgBAQMAAAAJTwIAAAoBAAAAAAAAAP////8AAQ8/AwAAAQAAAAiaAAAAAUADAAByAAAACgoAAAAAAAAAAA0AAAAAAAFBAwAAcgAAAAoKAAAAAAAAAAANAAAAAAEHQgMAAAABAAAABAAAAAQdQXBsb3Jpcy5CYXNlLk9iamVjdHMuVmFyaWFibGUDAAAAAeMDAABwAwAAAQAAAAAAAAAB5AMAAHADAAAAAAAAAAAAAAHlAwAAcAMAAAAAAAAAAAAAAeYDAABwAwAAAAAAAAAAAAAPQwMAAAEAAAAILgAAAAFEAwAAcgAAAAoKAAAAAAAAAAANAAAAAAAFRQMAABpBcGxvcmlzLkJhc2UuT2JqZWN0cy5Db2xvcgcAAAASRGF0YU9iamVjdCttUGFyZW50FURhdGFPYmplY3QrbUNvbnRhaW5lcgVtVHlwZQRtUkdCEG1UaGVtZUNvbG9ySW5kZXgMbUF1dG9VcGRhdGVkCW1Nb2RpZmllZAQCAAAAAAAfQXBsb3Jpcy5CYXNlLk9iamVjdHMuTGluZUZvcm1hdAMAAAAICAgBAQMAAAAJXgIAAAoBAAAAAAAAAP////8AAQ9GAwAAAQAAAAibAAAAAUcDAAByAAAACgoAAAAAAAAAAA0AAAAAAAFIAwAAcgAAAAoKAAAAAAAAAAANAAAAAAEHSQMAAAABAAAABAAAAAQdQXBsb3Jpcy5CYXNlLk9iamVjdHMuVmFyaWFibGUDAAAAAecDAABwAwAAAQAAAAAAAAAB6AMAAHADAAAAAAAAAAAAAAHpAwAAcAMAAAAAAAAAAAAAAeoDAABwAwAAAAAAAAAAAAAPSgMAAAEAAAAIMgAAAAFLAwAAcgAAAAoKAAAAAAAAAAANAAAAAAAFTAMAABpBcGxvcmlzLkJhc2UuT2JqZWN0cy5Db2xvcgcAAAASRGF0YU9iamVjdCttUGFyZW50FURhdGFPYmplY3QrbUNvbnRhaW5lcgVtVHlwZQRtUkdCEG1UaGVtZUNvbG9ySW5kZXgMbUF1dG9VcGRhdGVkCW1Nb2RpZmllZAQCAAAAAAAfQXBsb3Jpcy5CYXNlLk9iamVjdHMuTGluZUZvcm1hdAMAAAAICAgBAQMAAAAJbQIAAAoBAAAAAAAAAP////8AAQ9NAwAAAQAAAAicAAAAAU4DAAByAAAACgoAAAAAAAAAAA0AAAAAAAFPAwAAcgAAAAoKAAAAAAAAAAANAAAAAAEHUAMAAAABAAAABAAAAAQdQXBsb3Jpcy5CYXNlLk9iamVjdHMuVmFyaWFibGUDAAAAAesDAABwAwAAAQAAAAAAAAAB7AMAAHADAAAAAAAAAAAAAAHtAwAAcAMAAAAAAAAAAAAAAe4DAABwAwAAAAAAAAAAAAAPUQMAAAEAAAAILQAAAAFSAwAAcgAAAAoKAAAAAAAAAAANAAAAAAAFUwMAABpBcGxvcmlzLkJhc2UuT2JqZWN0cy5Db2xvcgcAAAASRGF0YU9iamVjdCttUGFyZW50FURhdGFPYmplY3QrbUNvbnRhaW5lcgVtVHlwZQRtUkdCEG1UaGVtZUNvbG9ySW5kZXgMbUF1dG9VcGRhdGVkCW1Nb2RpZmllZAQCAAAAAAAfQXBsb3Jpcy5CYXNlLk9iamVjdHMuTGluZUZvcm1hdAMAAAAICAgBAQMAAAAJfAIAAAoBAAAAAAAAAP////8AAQ9UAwAAAQAAAAiXAAAAAVUDAAByAAAACgoAAAAAAAAAAA0AAAAAAAFWAwAAcgAAAAoKAAAAAAAAAAANAAAAAAEHVwMAAAABAAAABAAAAAQdQXBsb3Jpcy5CYXNlLk9iamVjdHMuVmFyaWFibGUDAAAAAe8DAABwAwAAAQAAAAAAAAAB8AMAAHADAAAAAAAAAAAAAAHxAwAAcAMAAAAAAAAAAAAAAfIDAABwAwAAAAAAAAAAAAAPWAMAAAEAAAAIMQAAAAFZAwAAcgAAAAoKAAAAAAAAAAANAAAAAAAFWgMAABpBcGxvcmlzLkJhc2UuT2JqZWN0cy5Db2xvcgcAAAASRGF0YU9iamVjdCttUGFyZW50FURhdGFPYmplY3QrbUNvbnRhaW5lcgVtVHlwZQRtUkdCEG1UaGVtZUNvbG9ySW5kZXgMbUF1dG9VcGRhdGVkCW1Nb2RpZmllZAQCAAAAAAAfQXBsb3Jpcy5CYXNlLk9iamVjdHMuTGluZUZvcm1hdAMAAAAICAgBAQMAAAAJiwIAAAoBAAAAAAAAAP////8AAQ9bAwAAAQAAAAiZAAAAAVwDAAByAAAACgoAAAAAAAAAAA0AAAAAAAFdAwAAcgAAAAoKAAAAAAAAAAANAAAAAAEHXgMAAAABAAAABAAAAAQdQXBsb3Jpcy5CYXNlLk9iamVjdHMuVmFyaWFibGUDAAAAAfMDAABwAwAAAQAAAAAAAAAB9AMAAHADAAAAAAAAAAAAAAH1AwAAcAMAAAAAAAAAAAAAAfYDAABwAwAAAAAAAAAAAAAPXwMAAAEAAAAILwAAAAFgAwAAcgAAAAoKAAAAAAAAAAANAAAAAAAFYQMAABpBcGxvcmlzLkJhc2UuT2JqZWN0cy5Db2xvcgcAAAASRGF0YU9iamVjdCttUGFyZW50FURhdGFPYmplY3QrbUNvbnRhaW5lcgVtVHlwZQRtUkdCEG1UaGVtZUNvbG9ySW5kZXgMbUF1dG9VcGRhdGVkCW1Nb2RpZmllZAQCAAAAAAAfQXBsb3Jpcy5CYXNlLk9iamVjdHMuTGluZUZvcm1hdAMAAAAICAgBAQMAAAAJmgIAAAoBAAAAAAAAAP////8AAQ9iAwAAAQAAAAiYAAAAAWMDAAByAAAACgoAAAAAAAAAAA0AAAAAAAFkAwAAcgAAAAoKAAAAAAAAAAANAAAAAAEHZQMAAAABAAAABAAAAAQdQXBsb3Jpcy5CYXNlLk9iamVjdHMuVmFyaWFibGUDAAAAAfcDAABwAwAAAQAAAAAAAAAB+AMAAHADAAAAAAAAAAAAAAH5AwAAcAMAAAAAAAAAAAAAAfoDAABwAwAAAAAAAAAAAAAPZgMAAAEAAAAIMAAAAAVnAw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fsDAAAJ/AMAAAoJ/QMAAAoJ8wAAAAgGj8L1KFyP4j8KAAAAAAn+AwAACf8DAAAAAAAAAAkABAAACfMAAAAJAQAAAAkBBAAAAWgDAABnAwAACQIEAAAJAwQAAAoJBAQAAAoJ8wAAAAgGj8L1KFyP0j8KAQAAAAkFBAAACQYEAAAAAAAAAAkHBAAACfMAAAAJAQAAAAkIBAAAAWkDAABnAwAACQkEAAAJCgQAAAoJCwQAAAoJ8wAAAAgGCKwcWmQ7zz8KAgAAAAkMBAAACQ0EAAAAAAAAAAkOBAAACfMAAAAJAQAAAAkPBAAAAWoDAABnAwAACRAEAAAJEQQAAAoJEgQAAAoJ8wAAAAgGhetRuB6Fyz8KAwAAAAkTBAAACRQEAAAAAAAAAAkVBAAACfMAAAAJAQAAAAkWBAAAAWsDAABnAwAACRcEAAAJGAQAAAoJGQQAAAoJ8wAAAAgGjZduEoPAyj8KBAAAAAkaBAAACRsEAAAAAAAAAAkcBAAACfMAAAAJAQAAAAkdBAAAAWwDAABnAwAACR4EAAAJHwQAAAoJIAQAAAoJ8wAAAAgGVg4tsp3vxz8KBQAAAAkhBAAACSIEAAAAAAAAAAkjBAAACfMAAAAJAQAAAAkkBAAAAW0DAABnAwAACSUEAAAJJgQAAAoJJwQAAAoJ8wAAAAgG9P3UeOkmwT8KBgAAAAkoBAAACSkEAAAAAAAAAAkqBAAACfMAAAAJAQAAAAkrBAAAAW4DAABnAwAACSwEAAAJLQQAAAoJLgQAAAoJ8wAAAAgGoBov3SQGwT8KBwAAAAkvBAAACTAEAAAAAAAAAAkxBAAACfMAAAAJAQAAAAkyBAAAAW8DAABnAwAACTMEAAAJNAQAAAoJNQQAAAoJ8wAAAAgGTDeJQWDlsD8KCAAAAAk2BAAACTcEAAAAAAAAAAk4BAAACfMAAAAJAQAAAAk5BAAAAXQDAABnAwAACToEAAAJOwQAAAoJPAQAAAoJ9AAAAAgGdZMYBFYO1T8KAAAAAAk9BAAACT4EAAAAAAAAAAk/BAAACfQAAAAJAQAAAAlABAAAAXUDAABnAwAACUEEAAAJQgQAAAoJQwQAAAoJ9AAAAAgGarx0kxgE3j8KAQAAAAlEBAAACUUEAAAAAAAAAAlGBAAACfQAAAAJAQAAAAlHBAAAAXYDAABnAwAACUgEAAAJSQQAAAoJSgQAAAoJ9AAAAAgGmG4Sg8DK2T8KAgAAAAlLBAAACUwEAAAAAAAAAAlNBAAACfQAAAAJAQAAAAlOBAAAAXcDAABnAwAACU8EAAAJUAQAAAoJUQQAAAoJ9AAAAAgGN4lBYOXQ2j8KAwAAAAlSBAAACVMEAAAAAAAAAAlUBAAACfQAAAAJAQAAAAlVBAAAAXgDAABnAwAACVYEAAAJVwQAAAoJWAQAAAoJ9AAAAAgGNV66SQwC2z8KBAAAAAlZBAAACVoEAAAAAAAAAAlbBAAACfQAAAAJAQAAAAlcBAAAAXkDAABnAwAACV0EAAAJXgQAAAoJXwQAAAoJ9AAAAAgGqvHSTWIQ4D8KBQAAAAlgBAAACWEEAAAAAAAAAAliBAAACfQAAAAJAQAAAAljBAAAAXoDAABnAwAACWQEAAAJZQQAAAoJZgQAAAoJ9AAAAAgGhetRuB6F2z8KBgAAAAlnBAAACWgEAAAAAAAAAAlpBAAACfQAAAAJAQAAAAlqBAAAAXsDAABnAwAACWsEAAAJbAQAAAoJbQQAAAoJ9AAAAAgGSOF6FK5H2T8KBwAAAAluBAAACW8EAAAAAAAAAAlwBAAACfQAAAAJAQAAAAlxBAAAAXwDAABnAwAACXIEAAAJcwQAAAoJdAQAAAoJ9AAAAAgGEoPAyqFF1j8KCAAAAAl1BAAACXYEAAAAAAAAAAl3BAAACfQAAAAJAQAAAAl4BAAAAYEDAABnAwAACXkEAAAJegQAAAoJewQAAAoJ9QAAAAgGO99PjZdusj8KAAAAAAl8BAAACX0EAAAAAAAAAAl+BAAACfUAAAAJAQAAAAl/BAAAAYIDAABnAwAACYAEAAAJgQQAAAoJggQAAAoJ9QAAAAgG+n5qvHSTyD8KAQAAAAmDBAAACYQEAAAAAAAAAAmFBAAACfUAAAAJAQAAAAmGBAAAAYMDAABnAwAACYcEAAAJiAQAAAoJiQQAAAoJ9QAAAAgGzczMzMzMzD8KAgAAAAmKBAAACYsEAAAAAAAAAAmMBAAACfUAAAAJAQAAAAmNBAAAAYQDAABnAwAACY4EAAAJjwQAAAoJkAQAAAoJ9QAAAAgGf2q8dJMY1D8KAwAAAAmRBAAACZIEAAAAAAAAAAmTBAAACfUAAAAJAQAAAAmUBAAAAYUDAABnAwAACZUEAAAJlgQAAAoJlwQAAAoJ9QAAAAgGTDeJQWDl0D8KBAAAAAmYBAAACZkEAAAAAAAAAAmaBAAACfUAAAAJAQAAAAmbBAAAAYYDAABnAwAACZwEAAAJnQQAAAoJngQAAAoJ9QAAAAgG+n5qvHST0D8KBQAAAAmfBAAACaAEAAAAAAAAAAmhBAAACfUAAAAJAQAAAAmiBAAAAYcDAABnAwAACaMEAAAJpAQAAAoJpQQAAAoJ9QAAAAgGeekmMQis1D8KBgAAAAmmBAAACacEAAAAAAAAAAmoBAAACfUAAAAJAQAAAAmpBAAAAYgDAABnAwAACaoEAAAJqwQAAAoJrAQAAAoJ9QAAAAgGsHJoke181z8KBwAAAAmtBAAACa4EAAAAAAAAAAmvBAAACfUAAAAJAQAAAAmwBAAAAYkDAABnAwAACbEEAAAJsgQAAAoJswQAAAoJ9QAAAAgGf2q8dJMY3D8KCAAAAAm0BAAACbUEAAAAAAAAAAm2BAAACfUAAAAJAQAAAAm3BAAAAY4DAABnAwAACbgEAAAJuQQAAAoJugQAAAoJ9gAAAAgG2/l+arx0kz8KAAAAAAm7BAAACbwEAAAAAAAAAAm9BAAACfYAAAAJAQAAAAm+BAAAAY8DAABnAwAACb8EAAAJwAQAAAoJwQQAAAoJ9gAAAAgGSgwCK4cWqT8KAQAAAAnCBAAACcMEAAAAAAAAAAnEBAAACfYAAAAJAQAAAAnFBAAAAZADAABnAwAACcYEAAAJxwQAAAoJyAQAAAoJ9gAAAAgG/Knx0k1iwD8KAgAAAAnJBAAACcoEAAAAAAAAAAnLBAAACfYAAAAJAQAAAAnMBAAAAZEDAABnAwAACc0EAAAJzgQAAAoJzwQAAAoJ9gAAAAgG6SYxCKwcqj8KAwAAAAnQBAAACdEEAAAAAAAAAAnSBAAACfYAAAAJAQAAAAnTBAAAAZIDAABnAwAACdQEAAAJ1QQAAAoJ1gQAAAoJ9gAAAAgG4XoUrkfhuj8KBAAAAAnXBAAACdgEAAAAAAAAAAnZBAAACfYAAAAJAQAAAAnaBAAAAZMDAABnAwAACdsEAAAJ3AQAAAoJ3QQAAAoJ9gAAAAgGObTIdr6fqj8KBQAAAAneBAAACd8EAAAAAAAAAAngBAAACfYAAAAJAQAAAAnhBAAAAZQDAABnAwAACeIEAAAJ4wQAAAoJ5AQAAAoJ9gAAAAgGIbByaJHtvD8KBgAAAAnlBAAACeYEAAAAAAAAAAnnBAAACfYAAAAJAQAAAAnoBAAAAZUDAABnAwAACekEAAAJ6gQAAAoJ6wQAAAoJ9gAAAAgG4XoUrkfhuj8KBwAAAAnsBAAACe0EAAAAAAAAAAnuBAAACfYAAAAJAQAAAAnvBAAAAZYDAABnAwAACfAEAAAJ8QQAAAoJ8gQAAAoJ9gAAAAgGN4lBYOXQwj8KCAAAAAnzBAAACfQEAAAAAAAAAAn1BAAACfYAAAAJAQAAAAn2BAAAAZsDAAByAAAACgoAAAAAAAAAAA0AAAAAAQGcAwAAcgAAAAoKAQAAAAAAAAD/////AAEHnQMAAAABAAAABAAAAAQdQXBsb3Jpcy5CYXNlLk9iamVjdHMuVmFyaWFibGUDAAAAAfcEAABwAwAAAAAAAAAAAAAB+AQAAHADAAAAAAAAAAAAAAH5BAAAcAMAAAAAAAAAAAAAAfoEAABwAwAAAAAAAAAAAAAPngMAAAEAAAAIfQAAAAGjAwAAcgAAAAoKAAAAAAAAAAANAAAAAAEBpAMAAHIAAAAKCgEAAAAAAAAA/////wABB6UDAAAAAQAAAAQAAAAEHUFwbG9yaXMuQmFzZS5PYmplY3RzLlZhcmlhYmxlAwAAAAH7BAAAcAMAAAAAAAAAAAAAAfwEAABwAwAAAAAAAAAAAAAB/QQAAHADAAAAAAAAAAAAAAH+BAAAcAMAAAAAAAAAAAAAD6YDAAABAAAACIEAAAABqwMAAHIAAAAKCgAAAAAAAAAADQAAAAABAawDAAByAAAACgoBAAAAAAAAAP////8AAQetAwAAAAEAAAAEAAAABB1BcGxvcmlzLkJhc2UuT2JqZWN0cy5WYXJpYWJsZQMAAAAB/wQAAHADAAAAAAAAAAAAAAEABQAAcAMAAAAAAAAAAAAAAQEFAABwAwAAAAAAAAAAAAABAgUAAHADAAAAAAAAAAAAAA+uAwAAAQAAAAiEAAAAAbMDAAByAAAACgoAAAAAAAAAAA0AAAAAAQG0AwAAcgAAAAoKAQAAAAAAAAD/////AAEHtQMAAAABAAAABAAAAAQdQXBsb3Jpcy5CYXNlLk9iamVjdHMuVmFyaWFibGUDAAAAAQMFAABwAwAAAAAAAAAAAAABBAUAAHADAAAAAAAAAAAAAAEFBQAAcAMAAAAAAAAAAAAAAQYFAABwAwAAAAAAAAAAAAAPtgMAAAEAAAAIfwAAAAG7AwAAcgAAAAoKAAAAAAAAAAANAAAAAAEBvAMAAHIAAAAKCgEAAAAAAAAA/////wABB70DAAAAAQAAAAQAAAAEHUFwbG9yaXMuQmFzZS5PYmplY3RzLlZhcmlhYmxlAwAAAAEHBQAAcAMAAAAAAAAAAAAAAQgFAABwAwAAAAAAAAAAAAABCQUAAHADAAAAAAAAAAAAAAEKBQAAcAMAAAAAAAAAAAAAD74DAAABAAAACIIAAAABwwMAAHIAAAAKCgAAAAAAAAAADQAAAAABAcQDAAByAAAACgoBAAAAAAAAAP////8AAQfFAwAAAAEAAAAEAAAABB1BcGxvcmlzLkJhc2UuT2JqZWN0cy5WYXJpYWJsZQMAAAABCwUAAHADAAAAAAAAAAAAAAEMBQAAcAMAAAAAAAAAAAAAAQ0FAABwAwAAAAAAAAAAAAABDgUAAHADAAAAAAAAAAAAAA/GAwAAAQAAAAh8AAAAAcsDAAByAAAACgoAAAAAAAAAAA0AAAAAAQHMAwAAcgAAAAoKAQAAAAAAAAD/////AAEHzQMAAAABAAAABAAAAAQdQXBsb3Jpcy5CYXNlLk9iamVjdHMuVmFyaWFibGUDAAAAAQ8FAABwAwAAAAAAAAAAAAABEAUAAHADAAAAAAAAAAAAAAERBQAAcAMAAAAAAAAAAAAAARIFAABwAwAAAAAAAAAAAAAPzgMAAAEAAAAIfgAAAAHTAwAAcgAAAAoKAAAAAAAAAAANAAAAAAEB1AMAAHIAAAAKCgEAAAAAAAAA/////wABB9UDAAAAAQAAAAQAAAAEHUFwbG9yaXMuQmFzZS5PYmplY3RzLlZhcmlhYmxlAwAAAAETBQAAcAMAAAAAAAAAAAAAARQFAABwAwAAAAAAAAAAAAABFQUAAHADAAAAAAAAAAAAAAEWBQAAcAMAAAAAAAAAAAAAD9YDAAABAAAACIMAAAAB2wMAAHIAAAAKCgAAAAAAAAAADQAAAAABAdwDAAByAAAACgoBAAAAAAAAAP////8AAQfdAwAAAAEAAAAEAAAABB1BcGxvcmlzLkJhc2UuT2JqZWN0cy5WYXJpYWJsZQMAAAABFwUAAHADAAAAAAAAAAAAAAEYBQAAcAMAAAAAAAAAAAAAARkFAABwAwAAAAAAAAAAAAABGgUAAHADAAAAAAAAAAAAAA/eAwAAAQAAAAiAAAAAAfsDAAAJAQAAClgCAAABGwUAAIwBAAACAAAAARwFAACNAQAAAQAAAAEdBQAAFAAAAIYUb0LNCONCXOkPQkwK90IBHgUAAI8BAAAAAAAAAACgQAABHwUAACAAAACahJtC+UYvQwEgBQAAmgAAAAAAAAAAAAAAAAAAAAAJIQUAAAAAAAAJIgUAAAAAAAEjBQAAowAAAAAAAAABJAUAAGwAAAAAANhBAABwQQElBQAAFAAAABM7gUIndihDxPe9QYmdOEESg74/BiYFAAADNTglCgknBQAACZgBAAA0AwAA/////wEBCgkoBQAAAQAKAQH8AwAAGwAAAAEpBQAAIAAAAIYUY0KMCXBDASoFAAAgAAAA8X7FQs0I3UIJKwUAAAksBQAAAAAAAAoBLQUAAGwAAAAAAAAAAAAAAAEuBQAAbAAAAAAAAAAAAAAAAAAAAAEvBQAAFAAAAAAAAAAAAAAAAAAAAAAAAACkAQAA/////wEBCgkwBQAAAQAKAQf9AwAAAAEAAAACAAAABBpBcGxvcmlzLkJhc2UuVUkuVmlzdWFsTGluZQMAAAAKCgf+AwAAAAEAAAADAAAABBVTeXN0ZW0uRHJhd2luZy5Qb2ludEYEAAAAATEFAAAgAAAAmoSbQvlGL0MBMgUAACAAAACGFFdC+UYvQwEzBQAAIAAAAPF+y0L5Ri9DB/8DAAAAAQAAAAMAAAAEF0FwbG9yaXMuQmFzZS5BbmNob3JNb2RlAwAAAAE0BQAAmgAAAAAAAAABNQUAAJoAAAACAAAAATYFAACaAAAABAAAAAEABAAAJAAAAAnTAAAAAAAAAAAAAAABAQQAACUAAAAJNwUAAAIAAAAGAAAAAQIEAAAJAQAAClgCAAABOAUAAIwBAAACAAAAATkFAACNAQAAAQAAAAE6BQAAFAAAAI3e/UL5RjJDWukPQkwKa0IBOwUAAI8BAAAAAAAAAACgQAABPAUAACAAAABy7BBDQqhPQwE9BQAAmgAAAAAAAAAAAAAAAAAAAAAJPgUAAAAAAAAJPwUAAAAAAAFABQAAowAAAAAAAAABQQUAAGwAAAAAANhBAABwQQFCBQAAFAAAAMROBEPsxEhDxPe9QYmdOEESg74/BkMFAAADMjklCglEBQAACZgBAAA0AwAA/////wEBCglFBQAAAQAKAQEDBAAAGwAAAAFGBQAAIAAAAI3e90KMCXBDAUcFAAAgAAAAneklQ/lGL0MJSAUAAAlJBQAAAAAAAAoBSgUAAGwAAAAAAAAAAAAAAAFLBQAAbAAAAAAAAAAAAAAAAAAAAAFMBQAAFAAAAAAAAAAAAAAAAAAAAAAAAACkAQAA/////wEBCglNBQAAAQAKAQcEBAAAAAEAAAACAAAABBpBcGxvcmlzLkJhc2UuVUkuVmlzdWFsTGluZQMAAAAKCgcFBAAAAAEAAAADAAAABBVTeXN0ZW0uRHJhd2luZy5Qb2ludEYEAAAAAU4FAAAgAAAAcuwQQ0KoT0MBTwUAACAAAACN3vFCQqhPQwFQBQAAIAAAAJ3pKENCqE9DBwYEAAAAAQAAAAMAAAAEF0FwbG9yaXMuQmFzZS5BbmNob3JNb2RlAwAAAAFRBQAAmgAAAAAAAAABUgUAAJoAAAACAAAAAVMFAACaAAAABAAAAAEHBAAAJAAAAAnTAAAAAAAAAAAAAAABCAQAACUAAAAJVAUAAAIAAAACAAAAAQkEAAAJAQAAClgCAAABVQUAAIwBAAACAAAAAVYFAACNAQAAAQAAAAFXBQAAFAAAAGsZQkOujDxDWOkPQnjzQUIBWAUAAI8BAAAAAAAAAACgQAABWQUAACAAAACWFlRDHctUQwFaBQAAmgAAAAAAAAAAAAAAAAAAAAAJWwUAAAAAAAAJXAUAAAAAAAFdBQAAowAAAAAAAAABXgUAAGwAAAAAANhBAABwQQFfBQAAFAAAABM7R0NiJ05DxPe9QYmdOEESg74/BmAFAAADMjQlCglhBQAACZgBAAA0AwAA/////wEBCgliBQAAAQAKAQEKBAAAGwAAAAFjBQAAIAAAAGsZP0OMCXBDAWQFAAAgAAAAwRNpQ66MOUMJZQUAAAlmBQAAAAAAAAoBZwUAAGwAAAAAAAAAAAAAAAFoBQAAbAAAAAAAAAAAAAAAAAAAAAFpBQAAFAAAAAAAAAAAAAAAAAAAAAAAAACkAQAA/////wEBCglqBQAAAQAKAQcLBAAAAAEAAAACAAAABBpBcGxvcmlzLkJhc2UuVUkuVmlzdWFsTGluZQMAAAAKCgcMBAAAAAEAAAADAAAABBVTeXN0ZW0uRHJhd2luZy5Qb2ludEYEAAAAAWsFAAAgAAAAlhZUQx3LVEMBbAUAACAAAABrGTxDHctUQwFtBQAAIAAAAMETbEMdy1RDBw0EAAAAAQAAAAMAAAAEF0FwbG9yaXMuQmFzZS5BbmNob3JNb2RlAwAAAAFuBQAAmgAAAAAAAAABbwUAAJoAAAACAAAAAXAFAACaAAAABAAAAAEOBAAAJAAAAAnTAAAAAAAAAAAAAAABDwQAACUAAAAJcQUAAAIAAAACAAAAARAEAAAJAQAAClgCAAABcgUAAIwBAAACAAAAAXMFAACNAQAAAQAAAAF0BQAAFAAAAMehgkOJBkNDYOkPQgwMKEIBdQUAAI8BAAAAAAAAAACgQAABdgUAACAAAABdoItDCghYQwF3BQAAmgAAAAAAAAAAAAAAAAAAAAAJeAUAAAAAAAAJeQUAAAAAAAF6BQAAowAAAAAAAAABewUAAGwAAAAAANhBAABwQQF8BQAAFAAAALEThUMTO1FDxPe9QYmdOEESg74/Bn0FAAADMjIlCgl+BQAACZgBAAA0AwAA/////wEBCgl/BQAAAQAKAQERBAAAGwAAAAGABQAAIAAAAMchgUOMCXBDAYEFAAAgAAAA8x6WQ4kGQEMJggUAAAmDBQAAAAAAAAoBhAUAAGwAAAAAAAAAAAAAAAGFBQAAbAAAAAAAAAAAAAAAAAAAAAGGBQAAFAAAAAAAAAAAAAAAAAAAAAAAAACkAQAA/////wEBCgmHBQAAAQAKAQcSBAAAAAEAAAACAAAABBpBcGxvcmlzLkJhc2UuVUkuVmlzdWFsTGluZQMAAAAKCgcTBAAAAAEAAAADAAAABBVTeXN0ZW0uRHJhd2luZy5Qb2ludEYEAAAAAYgFAAAgAAAAXaCLQwoIWEMBiQUAACAAAACPQ39DCghYQwGKBQAAIAAAAPOel0MKCFhDBxQEAAAAAQAAAAMAAAAEF0FwbG9yaXMuQmFzZS5BbmNob3JNb2RlAwAAAAGLBQAAmgAAAAAAAAABjAUAAJoAAAACAAAAAY0FAACaAAAABAAAAAEVBAAAJAAAAAnTAAAAAAAAAAAAAAABFgQAACUAAAAJjgUAAAIAAAACAAAAARcEAAAJAQAAClgCAAABjwUAAIwBAAACAAAAAZAFAACNAQAAAQAAAAGRBQAAFAAAANo2pEOKXURDYOkPQgiwIkIBkgUAAI8BAAAAAAAAAACgQAABkwUAACAAAABwNa1Di7NYQwGUBQAAmgAAAAAAAAAAAAAAAAAAAAAJlQUAAAAAAAAJlgUAAAAAAAGXBQAAowAAAAAAAAABmAUAAGwAAAAAANhBAABwQQGZBQAAFAAAAE7spkP//1FDxPe9QYmdOEESg74/BpoFAAADMjElCgmbBQAACZgBAAA0AwAA/////wEBCgmcBQAAAQAKAQEYBAAAGwAAAAGdBQAAIAAAANq2okOMCXBDAZ4FAAAgAAAABrS3Q4pdQUMJnwUAAAmgBQAAAAAAAAoBoQUAAGwAAAAAAAAAAAAAAAGiBQAAbAAAAAAAAAAAAAAAAAAAAAGjBQAAFAAAAAAAAAAAAAAAAAAAAAAAAACkAQAA/////wEBCgmkBQAAAQAKAQcZBAAAAAEAAAACAAAABBpBcGxvcmlzLkJhc2UuVUkuVmlzdWFsTGluZQMAAAAKCgcaBAAAAAEAAAADAAAABBVTeXN0ZW0uRHJhd2luZy5Qb2ludEYEAAAAAaUFAAAgAAAAcDWtQ4uzWEMBpgUAACAAAADaNqFDi7NYQwGnBQAAIAAAAAY0uUOLs1hDBxsEAAAAAQAAAAMAAAAEF0FwbG9yaXMuQmFzZS5BbmNob3JNb2RlAwAAAAGoBQAAmgAAAAAAAAABqQUAAJoAAAACAAAAAaoFAACaAAAABAAAAAEcBAAAJAAAAAnTAAAAAAAAAAAAAAABHQQAACUAAAAJqwUAAAIAAAACAAAAAR4EAAAJAQAAClgCAAABrAUAAIwBAAACAAAAAa0FAACNAQAAAQAAAAGuBQAAFAAAAOzLxUM6R0lDYOkPQkgJD0IBrwUAAI8BAAAAAAAAAACgQAABsAUAACAAAACCys5DYyhbQwGxBQAAmgAAAAAAAAAAAAAAAAAAAAAJsgUAAAAAAAAJswUAAAAAAAG0BQAAowAAAAAAAAABtQUAAGwAAAAAANhBAABwQQG2BQAAFAAAAHViyEPETlRDxPe9QYmdOEESg74/BrcFAAADMTklCgm4BQAACZgBAAA0AwAA/////wEBCgm5BQAAAQAKAQEfBAAAGwAAAAG6BQAAIAAAAOxLxEOMCXBDAbsFAAAgAAAAGEnZQzpHRkMJvAUAAAm9BQAAAAAAAAoBvgUAAGwAAAAAAAAAAAAAAAG/BQAAbAAAAAAAAAAAAAAAAAAAAAHABQAAFAAAAAAAAAAAAAAAAAAAAAAAAACkAQAA/////wEBCgnBBQAAAQAKAQcgBAAAAAEAAAACAAAABBpBcGxvcmlzLkJhc2UuVUkuVmlzdWFsTGluZQMAAAAKCgchBAAAAAEAAAADAAAABBVTeXN0ZW0uRHJhd2luZy5Qb2ludEYEAAAAAcIFAAAgAAAAgsrOQ2MoW0MBwwUAACAAAADsy8JDYyhbQwHEBQAAIAAAABjJ2kNjKFtDByIEAAAAAQAAAAMAAAAEF0FwbG9yaXMuQmFzZS5BbmNob3JNb2RlAwAAAAHFBQAAmgAAAAAAAAABxgUAAJoAAAACAAAAAccFAACaAAAABAAAAAEjBAAAJAAAAAnTAAAAAAAAAAAAAAABJAQAACUAAAAJyAUAAAIAAAACAAAAASUEAAAJAQAAClgCAAAByQUAAIwBAAACAAAAAcoFAACNAQAAAQAAAAHLBQAAFAAAAP5g50MaHVVDYOkPQpBjv0EBzAUAAI8BAAAAAAAAAACgQAABzQUAACAAAACUX/BDUxNhQwHOBQAAmgAAAAAAAAAAAAAAAAAAAAAJzwUAAAAAAAAJ0AUAAAAAAAHRBQAAowAAAAAAAAAB0gUAAGwAAAAAANhBAABwQQHTBQAAFAAAAJ3Y6UMndlpDxPe9QYmdOEESg74/BtQFAAADMTMlCgnVBQAACZgBAAA0AwAA/////wEBCgnWBQAAAQAKAQEmBAAAGwAAAAHXBQAAIAAAAP7g5UOMCXBDAdgFAAAgAAAAKt76QxodUkMJ2QUAAAnaBQAAAAAAAAoB2wUAAGwAAAAAAAAAAAAAAAHcBQAAbAAAAAAAAAAAAAAAAAAAAAHdBQAAFAAAAAAAAAAAAAAAAAAAAAAAAACkAQAA/////wEBCgneBQAAAQAKAQcnBAAAAAEAAAACAAAABBpBcGxvcmlzLkJhc2UuVUkuVmlzdWFsTGluZQMAAAAKCgcoBAAAAAEAAAADAAAABBVTeXN0ZW0uRHJhd2luZy5Qb2ludEYEAAAAAd8FAAAgAAAAlF/wQ1MTYUMB4AUAACAAAAD+YORDUxNhQwHhBQAAIAAAACpe/ENTE2FDBykEAAAAAQAAAAMAAAAEF0FwbG9yaXMuQmFzZS5BbmNob3JNb2RlAwAAAAHiBQAAmgAAAAAAAAAB4wUAAJoAAAACAAAAAeQFAACaAAAABAAAAAEqBAAAJAAAAAnTAAAAAAAAAAAAAAABKwQAACUAAAAJ5QUAAAIAAAACAAAAASwEAAAJAQAAClgCAAAB5gUAAIwBAAACAAAAAecFAACNAQAAAQAAAAHoBQAAFAAAAAh7BERFVlVDYOkPQjiavUEB6QUAAI8BAAAAAAAAAACgQAAB6gUAACAAAABT+ghE6C9hQwHrBQAAmgAAAAAAAAAAAAAAAAAAAAAJ7AUAAAAAAAAJ7QUAAAAAAAHuBQAAowAAAAAAAAAB7wUAAGwAAAAAANhBAABwQQHwBQAAFAAAAJ3YBUQndlpDxPe9QYmdOEESg74/BvEFAAADMTMlCgnyBQAACZgBAAA0AwAA/////wEBCgnzBQAAAQAKAQEtBAAAGwAAAAH0BQAAIAAAAAi7A0SMCXBDAfUFAAAgAAAAnjkOREVWUkMJ9gUAAAn3BQAAAAAAAAoB+AUAAGwAAAAAAAAAAAAAAAH5BQAAbAAAAAAAAAAAAAAAAAAAAAH6BQAAFAAAAAAAAAAAAAAAAAAAAAAAAACkAQAA/////wEBCgn7BQAAAQAKAQcuBAAAAAEAAAACAAAABBpBcGxvcmlzLkJhc2UuVUkuVmlzdWFsTGluZQMAAAAKCgcvBAAAAAEAAAADAAAABBVTeXN0ZW0uRHJhd2luZy5Qb2ludEYEAAAAAfwFAAAgAAAAU/oIROgvYUMB/QUAACAAAAAI+wJE6C9hQwH+BQAAIAAAAJ75DkToL2FDBzAEAAAAAQAAAAMAAAAEF0FwbG9yaXMuQmFzZS5BbmNob3JNb2RlAwAAAAH/BQAAmgAAAAAAAAABAAYAAJoAAAACAAAAAQEGAACaAAAABAAAAAExBAAAJAAAAAnTAAAAAAAAAAAAAAABMgQAACUAAAAJAgYAAAIAAAACAAAAATMEAAAJAQAAClgCAAABAwYAAIwBAAACAAAAAQQGAACNAQAAAQAAAAEFBgAAFAAAAJFFFUR+TGRDYOkPQuDQC0EBBgYAAI8BAAAAAAAAAACgQAABBwYAACAAAADcxBlEBatoQwEIBgAAmgAAAAAAAAAAAAAAAAAAAAAJCQYAAAAAAAAJCgYAAAAAAAELBgAAowAAAAAAAAABDAYAAGwAAAAAAJhBAABwQQENBgAAFAAAAJ1YF0RiJ2JDsbyMQYmdOEESg74/Bg4GAAACNyUKCQ8GAAAJmAEAADQDAAD/////AQEKCRAGAAABAAoBATQEAAAbAAAAAREGAAAgAAAAkYUURIwJcEMBEgYAACAAAAAnBB9EfkxhQwkTBgAACRQGAAAAAAAACgEVBgAAbAAAAAAAAAAAAAAAARYGAABsAAAAAAAAAAAAAAAAAAAAARcGAAAUAAAAAAAAAAAAAAAAAAAAAAAAAKQBAAD/////AQEKCRgGAAABAAoBBzUEAAAAAQAAAAIAAAAEGkFwbG9yaXMuQmFzZS5VSS5WaXN1YWxMaW5lAwAAAAoKBzYEAAAAAQAAAAMAAAAEFVN5c3RlbS5EcmF3aW5nLlBvaW50RgQAAAABGQYAACAAAADcxBlEBatoQwEaBgAAIAAAAJHFE0QFq2hDARsGAAAgAAAAJ8QfRAWraEMHNwQAAAABAAAAAwAAAAQXQXBsb3Jpcy5CYXNlLkFuY2hvck1vZGUDAAAAARwGAACaAAAAAAAAAAEdBgAAmgAAAAIAAAABHgYAAJoAAAAEAAAAATgEAAAkAAAACdMAAAAAAAAAAAAAAAE5BAAAJQAAAAkfBgAAAgAAAAIAAAABOgQAAAkBAAAKWAIAAAEgBgAAjAEAAAIAAAABIQYAAI0BAAABAAAAASIGAAAUAAAAhhRvQi8xIEJc6Q9CNvCGQgEjBgAAjwEAAAAAAAAAAKBAAAEkBgAAIAAAAJqEm0KykJNCASUGAACaAAAAAAAAAAAAAAAAAAAAAAkmBgAAAAAAAAknBgAAAAAAASgGAACjAAAAAAAAAAEpBgAAbAAAAAAA2EEAAHBBASoGAAAUAAAAEzuBQp3YhULE971BiZ04QRKDvj8GKwYAAAMzMyUKCSwGAAAJmAEAADQDAAD/////AQEKCS0GAAABAAoBATsEAAAbAAAAAS4GAAAgAAAAhhRjQs0I3UIBLwYAACAAAADxfsVCLzEUQgkwBgAACTEGAAAAAAAACgEyBgAAbAAAAAAAAAAAAAAAATMGAABsAAAAAAAAAAAAAAAAAAAAATQGAAAUAAAAAAAAAAAAAAAAAAAAAAAAAKQBAAD/////AQEKCTUGAAABAAoBBzwEAAAAAQAAAAIAAAAEGkFwbG9yaXMuQmFzZS5VSS5WaXN1YWxMaW5lAwAAAAoKBz0EAAAAAQAAAAMAAAAEFVN5c3RlbS5EcmF3aW5nLlBvaW50RgQAAAABNgYAACAAAACahJtCspCTQgE3BgAAIAAAAIYUV0KykJNCATgGAAAgAAAA8X7LQrKQk0IHPgQAAAABAAAAAwAAAAQXQXBsb3Jpcy5CYXNlLkFuY2hvck1vZGUDAAAAATkGAACaAAAAAAAAAAE6BgAAmgAAAAIAAAABOwYAAJoAAAAEAAAAAT8EAAAkAAAACdMAAAAAAAAAAAAAAAFABAAAJQAAAAk8BgAAAgAAAAYAAAABQQQAAAkBAAAKWAIAAAE9BgAAjAEAAAIAAAABPgYAAI0BAAABAAAAAT8GAAAUAAAAjd79QtcWk0Ja6Q9CG3fFQgFABgAAjwEAAAAAAAAAAKBAAAFBBgAAIAAAAHLsEENk0vVCAUIGAACaAAAAAAAAAAAAAAAAAAAAAAlDBgAAAAAAAAlEBgAAAAAAAUUGAACjAAAAAAAAAAFGBgAAbAAAAAAA2EEAAHBBAUcGAAAUAAAAxE4EQ8RO6ELE971BiZ04QRKDvj8GSAYAAAM0NyUKCUkGAAAJmAEAADQDAAD/////AQEKCUoGAAABAAoBAUIEAAAbAAAAAUsGAAAgAAAAjd73QvlGL0MBTAYAACAAAACd6SVD1xaNQglNBgAACU4GAAAAAAAACgFPBgAAbAAAAAAAAAAAAAAAAVAGAABsAAAAAAAAAAAAAAAAAAAAAVEGAAAUAAAAAAAAAAAAAAAAAAAAAAAAAKQBAAD/////AQEKCVIGAAABAAoBB0MEAAAAAQAAAAIAAAAEGkFwbG9yaXMuQmFzZS5VSS5WaXN1YWxMaW5lAwAAAAoKB0QEAAAAAQAAAAMAAAAEFVN5c3RlbS5EcmF3aW5nLlBvaW50RgQAAAABUwYAACAAAABy7BBDZNL1QgFUBgAAIAAAAI3e8UJk0vVCAVUGAAAgAAAAnekoQ2TS9UIHRQQAAAABAAAAAwAAAAQXQXBsb3Jpcy5CYXNlLkFuY2hvck1vZGUDAAAAAVYGAACaAAAAAAAAAAFXBgAAmgAAAAIAAAABWAYAAJoAAAAEAAAAAUYEAAAkAAAACdMAAAAAAAAAAAAAAAFHBAAAJQAAAAlZBgAAAgAAAAIAAAABSAQAAAkBAAAKWAIAAAFaBgAAjAEAAAIAAAABWwYAAI0BAAABAAAAAVwGAAAUAAAAaxlCQ1wcxUJY6Q9CAP2nQgFdBgAAjwEAAAAAAAAAAKBAAAFeBgAAIAAAAJYWVENujQxDAV8GAACaAAAAAAAAAAAAAAAAAAAAAAlgBgAAAAAAAAlhBgAAAAAAAWIGAACjAAAAAAAAAAFjBgAAbAAAAAAA2EEAAHBBAWQGAAAUAAAAEztHQ53YBUPE971BiZ04QRKDvj8GZQYAAAM0MCUKCWYGAAAJmAEAADQDAAD/////AQEKCWcGAAABAAoBAUkEAAAbAAAAAWgGAAAgAAAAaxk/Q66MOUMBaQYAACAAAADBE2lDXBy/QglqBgAACWsGAAAAAAAACgFsBgAAbAAAAAAAAAAAAAAAAW0GAABsAAAAAAAAAAAAAAAAAAAAAW4GAAAUAAAAAAAAAAAAAAAAAAAAAAAAAKQBAAD/////AQEKCW8GAAABAAoBB0oEAAAAAQAAAAIAAAAEGkFwbG9yaXMuQmFzZS5VSS5WaXN1YWxMaW5lAwAAAAoKB0sEAAAAAQAAAAMAAAAEFVN5c3RlbS5EcmF3aW5nLlBvaW50RgQAAAABcAYAACAAAACWFlRDbo0MQwFxBgAAIAAAAGsZPENujQxDAXIGAAAgAAAAwRNsQ26NDEMHTAQAAAABAAAAAwAAAAQXQXBsb3Jpcy5CYXNlLkFuY2hvck1vZGUDAAAAAXMGAACaAAAAAAAAAAF0BgAAmgAAAAIAAAABdQYAAJoAAAAEAAAAAU0EAAAkAAAACdMAAAAAAAAAAAAAAAFOBAAAJQAAAAl2BgAAAgAAAAIAAAABTwQAAAkBAAAKWAIAAAF3BgAAjAEAAAIAAAABeAYAAI0BAAABAAAAAXkGAAAUAAAAx6GCQ7bqykJg6Q9CXCKvQgF6BgAAjwEAAAAAAAAAAKBAAAF7BgAAIAAAAF2gi0PyPRFDAXwGAACaAAAAAAAAAAAAAAAAAAAAAAl9BgAAAAAAAAl+BgAAAAAAAX8GAACjAAAAAAAAAAGABgAAbAAAAAAA2EEAAHBBAYEGAAAUAAAAsROFQyd2CkPE971BiZ04QRKDvj8GggYAAAM0MiUKCYMGAAAJmAEAADQDAAD/////AQEKCYQGAAABAAoBAVAEAAAbAAAAAYUGAAAgAAAAxyGBQ4kGQEMBhgYAACAAAADzHpZDturEQgmHBgAACYgGAAAAAAAACgGJBgAAbAAAAAAAAAAAAAAAAYoGAABsAAAAAAAAAAAAAAAAAAAAAYsGAAAUAAAAAAAAAAAAAAAAAAAAAAAAAKQBAAD/////AQEKCYwGAAABAAoBB1EEAAAAAQAAAAIAAAAEGkFwbG9yaXMuQmFzZS5VSS5WaXN1YWxMaW5lAwAAAAoKB1IEAAAAAQAAAAMAAAAEFVN5c3RlbS5EcmF3aW5nLlBvaW50RgQAAAABjQYAACAAAABdoItD8j0RQwGOBgAAIAAAAI9Df0PyPRFDAY8GAAAgAAAA856XQ/I9EUMHUwQAAAABAAAAAwAAAAQXQXBsb3Jpcy5CYXNlLkFuY2hvck1vZGUDAAAAAZAGAACaAAAAAAAAAAGRBgAAmgAAAAIAAAABkgYAAJoAAAAEAAAAAVQEAAAkAAAACdMAAAAAAAAAAAAAAAFVBAAAJQAAAAmTBgAAAgAAAAIAAAABVgQAAAkBAAAKWAIAAAGUBgAAjAEAAAIAAAABlQYAAI0BAAABAAAAAZYGAAAUAAAA2jakQ7hBzEJg6Q9CXHmwQgGXBgAAjwEAAAAAAAAAAKBAAAGYBgAAIAAAAHA1rUMzPxJDAZkGAACaAAAAAAAAAAAAAAAAAAAAAAmaBgAAAAAAAAmbBgAAAAAAAZwGAACjAAAAAAAAAAGdBgAAbAAAAAAA2EEAAHBBAZ4GAAAUAAAATuymQxM7C0PE971BiZ04QRKDvj8GnwYAAAM0MiUKCaAGAAAJmAEAADQDAAD/////AQEKCaEGAAABAAoBAVcEAAAbAAAAAaIGAAAgAAAA2raiQ4pdQUMBowYAACAAAAAGtLdDuEHGQgmkBgAACaUGAAAAAAAACgGmBgAAbAAAAAAAAAAAAAAAAacGAABsAAAAAAAAAAAAAAAAAAAAAagGAAAUAAAAAAAAAAAAAAAAAAAAAAAAAKQBAAD/////AQEKCakGAAABAAoBB1gEAAAAAQAAAAIAAAAEGkFwbG9yaXMuQmFzZS5VSS5WaXN1YWxMaW5lAwAAAAoKB1kEAAAAAQAAAAMAAAAEFVN5c3RlbS5EcmF3aW5nLlBvaW50RgQAAAABqgYAACAAAABwNa1DMz8SQwGrBgAAIAAAANo2oUMzPxJDAawGAAAgAAAABjS5QzM/EkMHWgQAAAABAAAAAwAAAAQXQXBsb3Jpcy5CYXNlLkFuY2hvck1vZGUDAAAAAa0GAACaAAAAAAAAAAGuBgAAmgAAAAIAAAABrwYAAJoAAAAEAAAAAVsEAAAkAAAACdMAAAAAAAAAAAAAAAFcBAAAJQAAAAmwBgAAAgAAAAIAAAABXQQAAAkBAAAKWAIAAAGxBgAAjAEAAAIAAAABsgYAAI0BAAABAAAAAbMGAAAUAAAA7MvFQ0paskJg6Q9CKjTUQgG0BgAAjwEAAAAAAAAAAKBAAAG1BgAAIAAAAILKzkMwOg5DAbYGAACaAAAAAAAAAAAAAAAAAAAAAAm3BgAAAAAAAAm4BgAAAAAAAbkGAACjAAAAAAAAAAG6BgAAbAAAAAAA2EEAAHBBAbsGAAAUAAAAdWLIQ3ZiB0PE971BiZ04QRKDvj8GvAYAAAM1MCUKCb0GAAAJmAEAADQDAAD/////AQEKCb4GAAABAAoBAV4EAAAbAAAAAb8GAAAgAAAA7EvEQzpHRkMBwAYAACAAAAAYSdlDSlqsQgnBBgAACcIGAAAAAAAACgHDBgAAbAAAAAAAAAAAAAAAAcQGAABsAAAAAAAAAAAAAAAAAAAAAcUGAAAUAAAAAAAAAAAAAAAAAAAAAAAAAKQBAAD/////AQEKCcYGAAABAAoBB18EAAAAAQAAAAIAAAAEGkFwbG9yaXMuQmFzZS5VSS5WaXN1YWxMaW5lAwAAAAoKB2AEAAAAAQAAAAMAAAAEFVN5c3RlbS5EcmF3aW5nLlBvaW50RgQAAAABxwYAACAAAACCys5DMDoOQwHIBgAAIAAAAOzLwkMwOg5DAckGAAAgAAAAGMnaQzA6DkMHYQQAAAABAAAAAwAAAAQXQXBsb3Jpcy5CYXNlLkFuY2hvck1vZGUDAAAAAcoGAACaAAAAAAAAAAHLBgAAmgAAAAIAAAABzAYAAJoAAAAEAAAAAWIEAAAkAAAACdMAAAAAAAAAAAAAAAFjBAAAJQAAAAnNBgAAAgAAAAIAAAABZAQAAAkBAAAKWAIAAAHOBgAAjAEAAAIAAAABzwYAAI0BAAABAAAAAdAGAAAUAAAA/mDnQyku6kJg6Q9CCwy0QgHRBgAAjwEAAAAAAAAAAKBAAAHSBgAAIAAAAJRf8EMXGiJDAdMGAACaAAAAAAAAAAAAAAAAAAAAAAnUBgAAAAAAAAnVBgAAAAAAAdYGAACjAAAAAAAAAAHXBgAAbAAAAAAA2EEAAHBBAdgGAAAUAAAAndjpQ3ZiG0PE971BiZ04QRKDvj8G2QYAAAM0MyUKCdoGAAAJmAEAADQDAAD/////AQEKCdsGAAABAAoBAWUEAAAbAAAAAdwGAAAgAAAA/uDlQxodUkMB3QYAACAAAAAq3vpDKS7kQgneBgAACd8GAAAAAAAACgHgBgAAbAAAAAAAAAAAAAAAAeEGAABsAAAAAAAAAAAAAAAAAAAAAeIGAAAUAAAAAAAAAAAAAAAAAAAAAAAAAKQBAAD/////AQEKCeMGAAABAAoBB2YEAAAAAQAAAAIAAAAEGkFwbG9yaXMuQmFzZS5VSS5WaXN1YWxMaW5lAwAAAAoKB2cEAAAAAQAAAAMAAAAEFVN5c3RlbS5EcmF3aW5nLlBvaW50RgQAAAAB5AYAACAAAACUX/BDFxoiQwHlBgAAIAAAAP5g5EMXGiJDAeYGAAAgAAAAKl78QxcaIkMHaAQAAAABAAAAAwAAAAQXQXBsb3Jpcy5CYXNlLkFuY2hvck1vZGUDAAAAAecGAACaAAAAAAAAAAHoBgAAmgAAAAIAAAAB6QYAAJoAAAAEAAAAAWkEAAAkAAAACdMAAAAAAAAAAAAAAAFqBAAAJQAAAAnqBgAAAgAAAAIAAAABawQAAAkBAAAKWAIAAAHrBgAAjAEAAAIAAAAB7AYAAI0BAAABAAAAAe0GAAAUAAAACHsERDlC+kJg6Q9CUWqkQgHuBgAAjwEAAAAAAAAAAKBAAAHvBgAAIAAAAFP6CESxOyZDAfAGAACaAAAAAAAAAAAAAAAAAAAAAAnxBgAAAAAAAAnyBgAAAAAAAfMGAACjAAAAAAAAAAH0BgAAbAAAAAAA2EEAAHBBAfUGAAAUAAAAndgFRBM7H0PE971BiZ04QRKDvj8G9gYAAAM0MCUKCfcGAAAJmAEAADQDAAD/////AQEKCfgGAAABAAoBAWwEAAAbAAAAAfkGAAAgAAAACLsDREVWUkMB+gYAACAAAACeOQ5EOUL0Qgn7BgAACfwGAAAAAAAACgH9BgAAbAAAAAAAAAAAAAAAAf4GAABsAAAAAAAAAAAAAAAAAAAAAf8GAAAUAAAAAAAAAAAAAAAAAAAAAAAAAKQBAAD/////AQEKCQAHAAABAAoBB20EAAAAAQAAAAIAAAAEGkFwbG9yaXMuQmFzZS5VSS5WaXN1YWxMaW5lAwAAAAoKB24EAAAAAQAAAAMAAAAEFVN5c3RlbS5EcmF3aW5nLlBvaW50RgQAAAABAQcAACAAAABT+ghEsTsmQwECBwAAIAAAAAj7AkSxOyZDAQMHAAAgAAAAnvkORLE7JkMHbwQAAAABAAAAAwAAAAQXQXBsb3Jpcy5CYXNlLkFuY2hvck1vZGUDAAAAAQQHAACaAAAAAAAAAAEFBwAAmgAAAAIAAAABBgcAAJoAAAAEAAAAAXAEAAAkAAAACdMAAAAAAAAAAAAAAAFxBAAAJQAAAAkHBwAAAgAAAAYAAAABcgQAAAkBAAAKWAIAAAEIBwAAjAEAAAIAAAABCQcAAI0BAAABAAAAAQoHAAAUAAAAkUUVRDSWFkNg6Q9ClGyPQgELBwAAjwEAAAAAAAAAAKBAAAEMBwAAIAAAANzEGURZcTpDAQ0HAACaAAAAAAAAAAAAAAAAAAAAAAkOBwAAAAAAAAkPBwAAAAAAARAHAACjAAAAAAAAAAERBwAAbAAAAAAA2EEAAHBBARIHAAAUAAAAsZMWRP//M0PE971BiZ04QRKDvj8GEwcAAAMzNSUKCRQHAAAJmAEAADQDAAD/////AQEKCRUHAAABAAoBAXMEAAAbAAAAARYHAAAgAAAAkYUURH5MYUMBFwcAACAAAAAnBB9ENJYTQwkYBwAACRkHAAAAAAAACgEaBwAAbAAAAAAAAAAAAAAAARsHAABsAAAAAAAAAAAAAAAAAAAAARwHAAAUAAAAAAAAAAAAAAAAAAAAAAAAAKQBAAD/////AQEKCR0HAAABAAoBB3QEAAAAAQAAAAIAAAAEGkFwbG9yaXMuQmFzZS5VSS5WaXN1YWxMaW5lAwAAAAoKB3UEAAAAAQAAAAMAAAAEFVN5c3RlbS5EcmF3aW5nLlBvaW50RgQAAAABHgcAACAAAADcxBlEWXE6QwEfBwAAIAAAAJHFE0RZcTpDASAHAAAgAAAAJ8QfRFlxOkMHdgQAAAABAAAAAwAAAAQXQXBsb3Jpcy5CYXNlLkFuY2hvck1vZGUDAAAAASEHAACaAAAAAAAAAAEiBwAAmgAAAAIAAAABIwcAAJoAAAAEAAAAAXcEAAAkAAAACdMAAAAAAAAAAAAAAAF4BAAAJQAAAAkkBwAAAgAAAAYAAAABeQQAAAkBAAAKWAIAAAElBwAAjAEAAAIAAAABJgcAAI0BAAABAAAAAScHAAAUAAAAhhRvQuPBv0Fc6Q9C9kAhQQEoBwAAjwEAAAAAAAAAAKBAAAEpBwAAIAAAAJqEm0IgEuhBASoHAACaAAAAAAAAAAAAAAAAAAAAAAkrBwAAAAAAAAksBwAAAAAAAS0HAACjAAAAAAAAAAEuBwAAbAAAAAAAmEEAAHBBAS8HAAAUAAAAdmKHQid2skGxvIxBiZ04QRKDvj8GMAcAAAI3JQoJMQcAAAmYAQAANAMAAP////8BAQoJMgcAAAEACgEBegQAABsAAAABMwcAACAAAACGFGNCLzEUQgE0BwAAIAAAAPF+xULjwadBCTUHAAAJNgcAAAAAAAAKATcHAABsAAAAAAAAAAAAAAABOAcAAGwAAAAAAAAAAAAAAAAAAAABOQcAABQAAAAAAAAAAAAAAAAAAAAAAAAApAEAAP////8BAQoJOgcAAAEACgEHewQAAAABAAAAAgAAAAQaQXBsb3Jpcy5CYXNlLlVJLlZpc3VhbExpbmUDAAAACgoHfAQAAAABAAAAAwAAAAQVU3lzdGVtLkRyYXdpbmcuUG9pbnRGBAAAAAE7BwAAIAAAAJqEm0IgEuhBATwHAAAgAAAAhhRXQiAS6EEBPQcAACAAAADxfstCIBLoQQd9BAAAAAEAAAADAAAABBdBcGxvcmlzLkJhc2UuQW5jaG9yTW9kZQMAAAABPgcAAJoAAAAAAAAAAT8HAACaAAAAAgAAAAFABwAAmgAAAAQAAAABfgQAACQAAAAJ0wAAAAAAAAAAAAAAAX8EAAAlAAAACUEHAAACAAAABgAAAAGABAAACQEAAApYAgAAAUIHAACMAQAAAgAAAAFDBwAAjQEAAAEAAAABRAcAABQAAACN3v1CFlr1QVrpD0KjgBNCAUUHAACPAQAAAAAAAAAAoEAAAUYHAAAgAAAAcuwQQ1xtREIBRwcAAJoAAAAAAAAAAAAAAAAAAAAACUgHAAAAAAAACUkHAAAAAAABSgcAAKMAAAAAAAAAAUsHAABsAAAAAADYQQAAcEEBTAcAABQAAADETgRDEzspQsT3vUGJnThBEoO+PwZNBwAAAzE5JQoJTgcAAAmYAQAANAMAAP////8BAQoJTwcAAAEACgEBgQQAABsAAAABUAcAACAAAACN3vdC1xaNQgFRBwAAIAAAAJ3pJUMWWt1BCVIHAAAJUwcAAAAAAAAKAVQHAABsAAAAAAAAAAAAAAABVQcAAGwAAAAAAAAAAAAAAAAAAAABVgcAABQAAAAAAAAAAAAAAAAAAAAAAAAApAEAAP////8BAQoJVwcAAAEACgEHggQAAAABAAAAAgAAAAQaQXBsb3Jpcy5CYXNlLlVJLlZpc3VhbExpbmUDAAAACgoHgwQAAAABAAAAAwAAAAQVU3lzdGVtLkRyYXdpbmcuUG9pbnRGBAAAAAFYBwAAIAAAAHLsEENcbURCAVkHAAAgAAAAjd7xQlxtREIBWgcAACAAAACd6ShDXG1EQgeEBAAAAAEAAAADAAAABBdBcGxvcmlzLkJhc2UuQW5jaG9yTW9kZQMAAAABWwcAAJoAAAAAAAAAAVwHAACaAAAAAgAAAAFdBwAAmgAAAAQAAAABhQQAACQAAAAJ0wAAAAAAAAAAAAAAAYYEAAAlAAAACV4HAAACAAAAAgAAAAGHBAAACQEAAApYAgAAAV8HAACMAQAAAgAAAAFgBwAAjQEAAAEAAAABYQcAABQAAABrGUJD+T1BQljpD0K/+jBCAWIHAACPAQAAAAAAAAAAoEAAAWMHAAAgAAAAlhZUQ6zdjEIBZAcAAJoAAAAAAAAAAAAAAAAAAAAACWUHAAAAAAAACWYHAAAAAAABZwcAAKMAAAAAAAAAAWgHAABsAAAAAADYQQAAcEEBaQcAABQAAAATO0dDdWJ/QsT3vUGJnThBEoO+PwZqBwAAAzIzJQoJawcAAAmYAQAANAMAAP////8BAQoJbAcAAAEACgEBiAQAABsAAAABbQcAACAAAABrGT9DXBy/QgFuBwAAIAAAAMETaUP5PTVCCW8HAAAJcAcAAAAAAAAKAXEHAABsAAAAAAAAAAAAAAABcgcAAGwAAAAAAAAAAAAAAAAAAAABcwcAABQAAAAAAAAAAAAAAAAAAAAAAAAApAEAAP////8BAQoJdAcAAAEACgEHiQQAAAABAAAAAgAAAAQaQXBsb3Jpcy5CYXNlLlVJLlZpc3VhbExpbmUDAAAACgoHigQAAAABAAAAAwAAAAQVU3lzdGVtLkRyYXdpbmcuUG9pbnRGBAAAAAF1BwAAIAAAAJYWVEOs3YxCAXYHAAAgAAAAaxk8Q6zdjEIBdwcAACAAAADBE2xDrN2MQgeLBAAAAAEAAAADAAAABBdBcGxvcmlzLkJhc2UuQW5jaG9yTW9kZQMAAAABeAcAAJoAAAAAAAAAAXkHAACaAAAAAgAAAAF6BwAAmgAAAAQAAAABjAQAACQAAAAJ0wAAAAAAAAAAAAAAAY0EAAAlAAAACXsHAAACAAAAAgAAAAGOBAAACQEAAApYAgAAAXwHAACMAQAAAgAAAAF9BwAAjQEAAAEAAAABfgcAABQAAADHoYJDG7b6QWDpD0IvPYBCAX8HAACPAQAAAAAAAAAAoEAAAYAHAAAgAAAAXaCLQz2YfUIBgQcAAJoAAAAAAAAAAAAAAAAAAAAACYIHAAAAAAAACYMHAAAAAAABhAcAAKMAAAAAAAAAAYUHAABsAAAAAADYQQAAcEEBhgcAABQAAACxE4VDOrFjQsT3vUGJnThBEoO+PwaHBwAAAzMxJQoJiAcAAAmYAQAANAMAAP////8BAQoJiQcAAAEACgEBjwQAABsAAAABigcAACAAAADHIYFDturEQgGLBwAAIAAAAPMelkMbtuJBCYwHAAAJjQcAAAAAAAAKAY4HAABsAAAAAAAAAAAAAAABjwcAAGwAAAAAAAAAAAAAAAAAAAABkAcAABQAAAAAAAAAAAAAAAAAAAAAAAAApAEAAP////8BAQoJkQcAAAEACgEHkAQAAAABAAAAAgAAAAQaQXBsb3Jpcy5CYXNlLlVJLlZpc3VhbExpbmUDAAAACgoHkQQAAAABAAAAAwAAAAQVU3lzdGVtLkRyYXdpbmcuUG9pbnRGBAAAAAGSBwAAIAAAAF2gi0M9mH1CAZMHAAAgAAAAj0N/Qz2YfUIBlAcAACAAAADznpdDPZh9QgeSBAAAAAEAAAADAAAABBdBcGxvcmlzLkJhc2UuQW5jaG9yTW9kZQMAAAABlQcAAJoAAAAAAAAAAZYHAACaAAAAAgAAAAGXBwAAmgAAAAQAAAABkwQAACQAAAAJ0wAAAAAAAAAAAAAAAZQEAAAlAAAACZgHAAACAAAAAgAAAAGVBAAACQEAAApYAgAAAZkHAACMAQAAAgAAAAGaBwAAjQEAAAEAAAABmwcAABQAAADaNqRDkLIsQmDpD0Lg0FNCAZwHAACPAQAAAAAAAAAAoEAAAZ0HAAAgAAAAcDWtQ4BNi0IBngcAAJoAAAAAAAAAAAAAAAAAAAAACZ8HAAAAAAAACaAHAAAAAAABoQcAAKMAAAAAAAAAAaIHAABsAAAAAADYQQAAcEEBowcAABQAAABO7KZDxE58QsT3vUGJnThBEoO+PwakBwAAAzI2JQoJpQcAAAmYAQAANAMAAP////8BAQoJpgcAAAEACgEBlgQAABsAAAABpwcAACAAAADatqJDuEHGQgGoBwAAIAAAAAa0t0OQsiBCCakHAAAJqgcAAAAAAAAKAasHAABsAAAAAAAAAAAAAAABrAcAAGwAAAAAAAAAAAAAAAAAAAABrQcAABQAAAAAAAAAAAAAAAAAAAAAAAAApAEAAP////8BAQoJrgcAAAEACgEHlwQAAAABAAAAAgAAAAQaQXBsb3Jpcy5CYXNlLlVJLlZpc3VhbExpbmUDAAAACgoHmAQAAAABAAAAAwAAAAQVU3lzdGVtLkRyYXdpbmcuUG9pbnRGBAAAAAGvBwAAIAAAAHA1rUOATYtCAbAHAAAgAAAA2jahQ4BNi0IBsQcAACAAAAAGNLlDgE2LQgeZBAAAAAEAAAADAAAABBdBcGxvcmlzLkJhc2UuQW5jaG9yTW9kZQMAAAABsgcAAJoAAAAAAAAAAbMHAACaAAAAAgAAAAG0BwAAmgAAAAQAAAABmgQAACQAAAAJ0wAAAAAAAAAAAAAAAZsEAAAlAAAACbUHAAACAAAAAgAAAAGcBAAACQEAAApYAgAAAbYHAACMAQAAAgAAAAG3BwAAjQEAAAEAAAABuAcAABQAAADsy8VDG7b6QWDpD0KGWU9CAbkHAACPAQAAAAAAAAAAoEAAAboHAAAgAAAAgsrOQ9EHZUIBuwcAAJoAAAAAAAAAAAAAAAAAAAAACbwHAAAAAAAACb0HAAAAAAABvgcAAKMAAAAAAAAAAb8HAABsAAAAAADYQQAAcEEBwAcAABQAAAB1YshDsBNLQsT3vUGJnThBEoO+PwbBBwAAAzI2JQoJwgcAAAmYAQAANAMAAP////8BAQoJwwcAAAEACgEBnQQAABsAAAABxAcAACAAAADsS8RDSlqsQgHFBwAAIAAAABhJ2UMbtuJBCcYHAAAJxwcAAAAAAAAKAcgHAABsAAAAAAAAAAAAAAAByQcAAGwAAAAAAAAAAAAAAAAAAAABygcAABQAAAAAAAAAAAAAAAAAAAAAAAAApAEAAP////8BAQoJywcAAAEACgEHngQAAAABAAAAAgAAAAQaQXBsb3Jpcy5CYXNlLlVJLlZpc3VhbExpbmUDAAAACgoHnwQAAAABAAAAAwAAAAQVU3lzdGVtLkRyYXdpbmcuUG9pbnRGBAAAAAHMBwAAIAAAAILKzkPRB2VCAc0HAAAgAAAA7MvCQ9EHZUIBzgcAACAAAAAYydpD0QdlQgegBAAAAAEAAAADAAAABBdBcGxvcmlzLkJhc2UuQW5jaG9yTW9kZQMAAAABzwcAAJoAAAAAAAAAAdAHAACaAAAAAgAAAAHRBwAAmgAAAAQAAAABoQQAACQAAAAJ0wAAAAAAAAAAAAAAAaIEAAAlAAAACdIHAAACAAAAAgAAAAGjBAAACQEAAApYAgAAAdMHAACMAQAAAgAAAAHUBwAAjQEAAAEAAAAB1QcAABQAAAD+YOdD7NczQmDpD0IzQoRCAdYHAACPAQAAAAAAAAAAoEAAAdcHAAAgAAAAlF/wQxANnEIB2AcAAJoAAAAAAAAAAAAAAAAAAAAACdkHAAAAAAAACdoHAAAAAAAB2wcAAKMAAAAAAAAAAdwHAABsAAAAAADYQQAAcEEB3QcAABQAAACd2OlDsROPQsT3vUGJnThBEoO+PwbeBwAAAzMyJQoJ3wcAAAmYAQAANAMAAP////8BAQoJ4AcAAAEACgEBpAQAABsAAAAB4QcAACAAAAD+4OVDKS7kQgHiBwAAIAAAACre+kPs1ydCCeMHAAAJ5AcAAAAAAAAKAeUHAABsAAAAAAAAAAAAAAAB5gcAAGwAAAAAAAAAAAAAAAAAAAAB5wcAABQAAAAAAAAAAAAAAAAAAAAAAAAApAEAAP////8BAQoJ6AcAAAEACgEHpQQAAAABAAAAAgAAAAQaQXBsb3Jpcy5CYXNlLlVJLlZpc3VhbExpbmUDAAAACgoHpgQAAAABAAAAAwAAAAQVU3lzdGVtLkRyYXdpbmcuUG9pbnRGBAAAAAHpBwAAIAAAAJRf8EMQDZxCAeoHAAAgAAAA/mDkQxANnEIB6wcAACAAAAAqXvxDEA2cQgenBAAAAAEAAAADAAAABBdBcGxvcmlzLkJhc2UuQW5jaG9yTW9kZQMAAAAB7AcAAJoAAAAAAAAAAe0HAACaAAAAAgAAAAHuBwAAmgAAAAQAAAABqAQAACQAAAAJ0wAAAAAAAAAAAAAAAakEAAAlAAAACe8HAAACAAAAAgAAAAGqBAAACQEAAApYAgAAAfAHAACMAQAAAgAAAAHxBwAAjQEAAAEAAAAB8gcAABQAAAAIewREkLIsQmDpD0Lx6JdCAfMHAACPAQAAAAAAAAAAoEAAAfQHAAAgAAAAU/oIRMBNokIB9QcAAJoAAAAAAAAAAAAAAAAAAAAACfYHAAAAAAAACfcHAAAAAAAB+AcAAKMAAAAAAAAAAfkHAABsAAAAAADYQQAAcEEB+gcAABQAAACd2AVEEzuVQsT3vUGJnThBEoO+Pwb7BwAAAzM3JQoJ/AcAAAmYAQAANAMAAP////8BAQoJ/QcAAAEACgEBqwQAABsAAAAB/gcAACAAAAAIuwNEOUL0QgH/BwAAIAAAAJ45DkSQsiBCCQAIAAAJAQgAAAAAAAAKAQIIAABsAAAAAAAAAAAAAAABAwgAAGwAAAAAAAAAAAAAAAAAAAABBAgAABQAAAAAAAAAAAAAAAAAAAAAAAAApAEAAP////8BAQoJBQgAAAEACgEHrAQAAAABAAAAAgAAAAQaQXBsb3Jpcy5CYXNlLlVJLlZpc3VhbExpbmUDAAAACgoHrQQAAAABAAAAAwAAAAQVU3lzdGVtLkRyYXdpbmcuUG9pbnRGBAAAAAEGCAAAIAAAAFP6CETATaJCAQcIAAAgAAAACPsCRMBNokIBCAgAACAAAACe+Q5EwE2iQgeuBAAAAAEAAAADAAAABBdBcGxvcmlzLkJhc2UuQW5jaG9yTW9kZQMAAAABCQgAAJoAAAAAAAAAAQoIAACaAAAAAgAAAAELCAAAmgAAAAQAAAABrwQAACQAAAAJ0wAAAAAAAAAAAAAAAbAEAAAlAAAACQwIAAACAAAABgAAAAGxBAAACQEAAApYAgAAAQ0IAACMAQAAAgAAAAEOCAAAjQEAAAEAAAABDwgAABQAAACRRRVEszZSQmDpD0IOEbhCARAIAACPAQAAAAAAAAAAoEAAAREIAAAgAAAA3MQZROEjxUIBEggAAJoAAAAAAAAAAAAAAAAAAAAACRMIAAAAAAAACRQIAAAAAAABFQgAAKMAAAAAAAAAARYIAABsAAAAAADYQQAAcEEBFwgAABQAAACxkxZEsRO3QsT3vUGJnThBEoO+PwYYCAAAAzQ0JQoJGQgAAAmYAQAANAMAAP////8BAQoJGggAAAEACgEBsgQAABsAAAABGwgAACAAAACRhRRENJYTQwEcCAAAIAAAACcEH0SzNkZCCR0IAAAJHggAAAAAAAAKAR8IAABsAAAAAAAAAAAAAAABIAgAAGwAAAAAAAAAAAAAAAAAAAABIQgAABQAAAAAAAAAAAAAAAAAAAAAAAAApAEAAP////8BAQoJIggAAAEACgEHswQAAAABAAAAAgAAAAQaQXBsb3Jpcy5CYXNlLlVJLlZpc3VhbExpbmUDAAAACgoHtAQAAAABAAAAAwAAAAQVU3lzdGVtLkRyYXdpbmcuUG9pbnRGBAAAAAEjCAAAIAAAANzEGUThI8VCASQIAAAgAAAAkcUTROEjxUIBJQgAACAAAAAnxB9E4SPFQge1BAAAAAEAAAADAAAABBdBcGxvcmlzLkJhc2UuQW5jaG9yTW9kZQMAAAABJggAAJoAAAAAAAAAAScIAACaAAAAAgAAAAEoCAAAmgAAAAQAAAABtgQAACQAAAAJ0wAAAAAAAAAAAAAAAbcEAAAlAAAACSkIAAACAAAABgAAAAG4BAAACQEAAApYAgAAASoIAACMAQAAAgAAAAErCAAAjQEAAAEAAAABLAgAABQAAACGFG9CKMmWQVzpD0IAAAAAAS0IAACPAQAAAAAAAAAAoEAAAS4IAAAgAAAAmoSbQijJlkEBLwgAAJoAAAAAAAAAAAAAAAAAAAAACTAIAAAAAAAACTEIAAABAAABMggAAKMAAAAAAAAAATMIAABsAAAAAACYQQAAcEEBNAgAABQAAAB2YodCTuxEQbG8jEGJnThBEoO+PwY1CAAAAjIlCgk2CAAACZgBAAA0AwAA/////wEBCgk3CAAAAQAKAQG5BAAAGwAAAAE4CAAAIAAAAIYUY0LjwadBATkIAAAgAAAA8X7FQm7QhUEJOggAAAk7CAAAAAAAAAoBPAgAAGwAAAAAAAAAAAAAAAE9CAAAbAAAAAAAAAAAAAAAAAAAAAE+CAAAFAAAAAAAAAAAAAAAAAAAAAAAAACkAQAA/////wEBCgk/CAAAAQAKAQe6BAAAAAEAAAACAAAABBpBcGxvcmlzLkJhc2UuVUkuVmlzdWFsTGluZQMAAAAKCge7BAAAAAEAAAADAAAABBVTeXN0ZW0uRHJhd2luZy5Qb2ludEYEAAAAAUAIAAAgAAAAmoSbQijJlkEBQQgAACAAAACGFFdCKMmWQQFCCAAAIAAAAPF+y0IoyZZBB7wEAAAAAQAAAAMAAAAEF0FwbG9yaXMuQmFzZS5BbmNob3JNb2RlAwAAAAFDCAAAmgAAAAAAAAABRAgAAJoAAAACAAAAAUUIAACaAAAABAAAAAG9BAAAJAAAAAnTAAAAAAAAAAAAAAABvgQAACUAAAAJRggAAAIAAAAKAAAAAb8EAAAJAQAAClgCAAABRwgAAIwBAAACAAAAAUgIAACNAQAAAQAAAAFJCAAAFAAAAI3e/UJu0J1BWukPQqAmnkABSggAAI8BAAAAAAAAAACgQAABSwgAACAAAABy7BBDQpWxQQFMCAAAmgAAAAAAAAAAAAAAAAAAAAAJTQgAAAAAAAAJTggAAAEAAAFPCAAAowAAAAAAAAABUAgAAGwAAAAAAJhBAABwQQFRCAAAFAAAAHZiB0NiJ3ZBsbyMQYmdOEESg74/BlIIAAACNSUKCVMIAAAJmAEAADQDAAD/////AQEKCVQIAAABAAoBAcAEAAAbAAAAAVUIAAAgAAAAjd73QhZa3UEBVggAACAAAACd6SVDbtCFQQlXCAAACVgIAAAAAAAACgFZCAAAbAAAAAAAAAAAAAAAAVoIAABsAAAAAAAAAAAAAAAAAAAAAVsIAAAUAAAAAAAAAAAAAAAAAAAAAAAAAKQBAAD/////AQEKCVwIAAABAAoBB8EEAAAAAQAAAAIAAAAEGkFwbG9yaXMuQmFzZS5VSS5WaXN1YWxMaW5lAwAAAAoKB8IEAAAAAQAAAAMAAAAEFVN5c3RlbS5EcmF3aW5nLlBvaW50RgQAAAABXQgAACAAAABy7BBDQpWxQQFeCAAAIAAAAI3e8UJClbFBAV8IAAAgAAAAnekoQ0KVsUEHwwQAAAABAAAAAwAAAAQXQXBsb3Jpcy5CYXNlLkFuY2hvck1vZGUDAAAAAWAIAACaAAAAAAAAAAFhCAAAmgAAAAIAAAABYggAAJoAAAAEAAAAAcQEAAAkAAAACdMAAAAAAAAAAAAAAAHFBAAAJQAAAAljCAAAAgAAAAIAAAABxgQAAAkBAAAKWAIAAAFkCAAAjAEAAAIAAAABZQgAAI0BAAABAAAAAWYIAAAUAAAAaxlCQ27QnUFY6Q9ChKu0QQFnCAAAjwEAAAAAAAAAAKBAAAFoCAAAIAAAAJYWVEMwJvhBAWkIAACaAAAAAAAAAAAAAAAAAAAAAAlqCAAAAAAAAAlrCAAAAAAAAWwIAACjAAAAAAAAAAFtCAAAbAAAAAAA2EEAAHBBAW4IAAAUAAAAEztHQ07sxEHE971BiZ04QRKDvj8GbwgAAAMxMyUKCXAIAAAJmAEAADQDAAD/////AQEKCXEIAAABAAoBAccEAAAbAAAAAXIIAAAgAAAAaxk/Q/k9NUIBcwgAACAAAADBE2lDbtCFQQl0CAAACXUIAAAAAAAACgF2CAAAbAAAAAAAAAAAAAAAAXcIAABsAAAAAAAAAAAAAAAAAAAAAXgIAAAUAAAAAAAAAAAAAAAAAAAAAAAAAKQBAAD/////AQEKCXkIAAABAAoBB8gEAAAAAQAAAAIAAAAEGkFwbG9yaXMuQmFzZS5VSS5WaXN1YWxMaW5lAwAAAAoKB8kEAAAAAQAAAAMAAAAEFVN5c3RlbS5EcmF3aW5nLlBvaW50RgQAAAABeggAACAAAACWFlRDMCb4QQF7CAAAIAAAAGsZPEMwJvhBAXwIAAAgAAAAwRNsQzAm+EEHygQAAAABAAAAAwAAAAQXQXBsb3Jpcy5CYXNlLkFuY2hvck1vZGUDAAAAAX0IAACaAAAAAAAAAAF+CAAAmgAAAAIAAAABfwgAAJoAAAAEAAAAAcsEAAAkAAAACdMAAAAAAAAAAAAAAAHMBAAAJQAAAAmACAAAAgAAAAIAAAABzQQAAAkBAAAKWAIAAAGBCAAAjAEAAAIAAAABgggAAI0BAAABAAAAAYMIAAAUAAAAx6GCQ8WZn0Fg6Q9CWHGsQAGECAAAjwEAAAAAAAAAAKBAAAGFCAAAIAAAAF2gi0PwJ7VBAYYIAACaAAAAAAAAAAAAAAAAAAAAAAmHCAAAAAAAAAmICAAAAQAAAYkIAACjAAAAAAAAAAGKCAAAbAAAAAAAmEEAAHBBAYsIAAAUAAAAiZ2GQxM7gUGxvIxBiZ04QRKDvj8GjAgAAAI1JQoJjQgAAAmYAQAANAMAAP////8BAQoJjggAAAEACgEBzgQAABsAAAABjwgAACAAAADHIYFDG7biQQGQCAAAIAAAAPMelkPFmYdBCZEIAAAJkggAAAAAAAAKAZMIAABsAAAAAAAAAAAAAAABlAgAAGwAAAAAAAAAAAAAAAAAAAABlQgAABQAAAAAAAAAAAAAAAAAAAAAAAAApAEAAP////8BAQoJlggAAAEACgEHzwQAAAABAAAAAgAAAAQaQXBsb3Jpcy5CYXNlLlVJLlZpc3VhbExpbmUDAAAACgoH0AQAAAABAAAAAwAAAAQVU3lzdGVtLkRyYXdpbmcuUG9pbnRGBAAAAAGXCAAAIAAAAF2gi0PwJ7VBAZgIAAAgAAAAj0N/Q/AntUEBmQgAACAAAADznpdD8Ce1QQfRBAAAAAEAAAADAAAABBdBcGxvcmlzLkJhc2UuQW5jaG9yTW9kZQMAAAABmggAAJoAAAAAAAAAAZsIAACaAAAAAgAAAAGcCAAAmgAAAAQAAAAB0gQAACQAAAAJ0wAAAAAAAAAAAAAAAdMEAAAlAAAACZ0IAAACAAAAAgAAAAHUBAAACQEAAApYAgAAAZ4IAACMAQAAAgAAAAGfCAAAjQEAAAEAAAABoAgAABQAAADaNqRDbtCdQWDpD0KylItBAaEIAACPAQAAAAAAAAAAoEAAAaIIAAAgAAAAcDWtQ8ea40EBowgAAJoAAAAAAAAAAAAAAAAAAAAACaQIAAAAAAAACaUIAAAAAAABpggAAKMAAAAAAAAAAacIAABsAAAAAADYQQAAcEEBqAgAABQAAABO7KZDxE6sQcT3vUGJnThBEoO+PwapCAAAAzExJQoJqggAAAmYAQAANAMAAP////8BAQoJqwgAAAEACgEB1QQAABsAAAABrAgAACAAAADatqJDkLIgQgGtCAAAIAAAAAa0t0Nu0IVBCa4IAAAJrwgAAAAAAAAKAbAIAABsAAAAAAAAAAAAAAABsQgAAGwAAAAAAAAAAAAAAAAAAAABsggAABQAAAAAAAAAAAAAAAAAAAAAAAAApAEAAP////8BAQoJswgAAAEACgEH1gQAAAABAAAAAgAAAAQaQXBsb3Jpcy5CYXNlLlVJLlZpc3VhbExpbmUDAAAACgoH1wQAAAABAAAAAwAAAAQVU3lzdGVtLkRyYXdpbmcuUG9pbnRGBAAAAAG0CAAAIAAAAHA1rUPHmuNBAbUIAAAgAAAA2jahQ8ea40EBtggAACAAAAAGNLlDx5rjQQfYBAAAAAEAAAADAAAABBdBcGxvcmlzLkJhc2UuQW5jaG9yTW9kZQMAAAABtwgAAJoAAAAAAAAAAbgIAACaAAAAAgAAAAG5CAAAmgAAAAQAAAAB2QQAACQAAAAJ0wAAAAAAAAAAAAAAAdoEAAAlAAAACboIAAACAAAAAgAAAAHbBAAACQEAAApYAgAAAbsIAACMAQAAAgAAAAG8CAAAjQEAAAEAAAABvQgAABQAAADsy8VDbtCdQWDpD0K0lrNAAb4IAACPAQAAAAAAAAAAoEAAAb8IAAAgAAAAgsrOQ0RDtEEBwAgAAJoAAAAAAAAAAAAAAAAAAAAACcEIAAAAAAAACcIIAAAAAAABwwgAAKMAAAAAAAAAAcQIAABsAAAAAACYQQAAcEEBxQgAABQAAABO7MlDYid2QbG8jEGJnThBEoO+PwbGCAAAAjUlCgnHCAAACZgBAAA0AwAA/////wEBCgnICAAAAQAKAQHcBAAAGwAAAAHJCAAAIAAAAOxLxEMbtuJBAcoIAAAgAAAAGEnZQ27QhUEJywgAAAnMCAAAAAAAAAoBzQgAAGwAAAAAAAAAAAAAAAHOCAAAbAAAAAAAAAAAAAAAAAAAAAHPCAAAFAAAAAAAAAAAAAAAAAAAAAAAAACkAQAA/////wEBCgnQCAAAAQAKAQfdBAAAAAEAAAACAAAABBpBcGxvcmlzLkJhc2UuVUkuVmlzdWFsTGluZQMAAAAKCgfeBAAAAAEAAAADAAAABBVTeXN0ZW0uRHJhd2luZy5Qb2ludEYEAAAAAdEIAAAgAAAAgsrOQ0RDtEEB0ggAACAAAADsy8JDREO0QQHTCAAAIAAAABjJ2kNEQ7RBB98EAAAAAQAAAAMAAAAEF0FwbG9yaXMuQmFzZS5BbmNob3JNb2RlAwAAAAHUCAAAmgAAAAAAAAAB1QgAAJoAAAACAAAAAdYIAACaAAAABAAAAAHgBAAAJAAAAAnTAAAAAAAAAAAAAAAB4QQAACUAAAAJ1wgAAAIAAAACAAAAAeIEAAAJAQAAClgCAAAB2AgAAIwBAAACAAAAAdkIAACNAQAAAQAAAAHaCAAAFAAAAP5g50Nu0J1BYOkPQmrfmUEB2wgAAI8BAAAAAAAAAACgQAAB3AgAACAAAACUX/BDI8DqQQHdCAAAmgAAAAAAAAAAAAAAAAAAAAAJ3ggAAAAAAAAJ3wgAAAAAAAHgCAAAowAAAAAAAAAB4QgAAGwAAAAAANhBAABwQQHiCAAAFAAAAJ3Y6UMndrJBxPe9QYmdOEESg74/BuMIAAADMTElCgnkCAAACZgBAAA0AwAA/////wEBCgnlCAAAAQAKAQHjBAAAGwAAAAHmCAAAIAAAAP7g5UPs1ydCAecIAAAgAAAAKt76Q27QhUEJ6AgAAAnpCAAAAAAAAAoB6ggAAGwAAAAAAAAAAAAAAAHrCAAAbAAAAAAAAAAAAAAAAAAAAAHsCAAAFAAAAAAAAAAAAAAAAAAAAAAAAACkAQAA/////wEBCgntCAAAAQAKAQfkBAAAAAEAAAACAAAABBpBcGxvcmlzLkJhc2UuVUkuVmlzdWFsTGluZQMAAAAKCgflBAAAAAEAAAADAAAABBVTeXN0ZW0uRHJhd2luZy5Qb2ludEYEAAAAAe4IAAAgAAAAlF/wQyPA6kEB7wgAACAAAAD+YORDI8DqQQHwCAAAIAAAACpe/EMjwOpBB+YEAAAAAQAAAAMAAAAEF0FwbG9yaXMuQmFzZS5BbmNob3JNb2RlAwAAAAHxCAAAmgAAAAAAAAAB8ggAAJoAAAACAAAAAfMIAACaAAAABAAAAAHnBAAAJAAAAAnTAAAAAAAAAAAAAAAB6AQAACUAAAAJ9AgAAAIAAAACAAAAAekEAAAJAQAAClgCAAAB9QgAAIwBAAACAAAAAfYIAACNAQAAAQAAAAH3CAAAFAAAAAh7BERu0J1BYOkPQrKUi0EB+AgAAI8BAAAAAAAAAACgQAAB+QgAACAAAABT+ghEx5rjQQH6CAAAmgAAAAAAAAAAAAAAAAAAAAAJ+wgAAAAAAAAJ/AgAAAAAAAH9CAAAowAAAAAAAAAB/ggAAGwAAAAAANhBAABwQQH/CAAAFAAAAJ3YBUTETqxBxPe9QYmdOEESg74/BgAJAAADMTElCgkBCQAACZgBAAA0AwAA/////wEBCgkCCQAAAQAKAQHqBAAAGwAAAAEDCQAAIAAAAAi7A0SQsiBCAQQJAAAgAAAAnjkORG7QhUEJBQkAAAkGCQAAAAAAAAoBBwkAAGwAAAAAAAAAAAAAAAEICQAAbAAAAAAAAAAAAAAAAAAAAAEJCQAAFAAAAAAAAAAAAAAAAAAAAAAAAACkAQAA/////wEBCgkKCQAAAQAKAQfrBAAAAAEAAAACAAAABBpBcGxvcmlzLkJhc2UuVUkuVmlzdWFsTGluZQMAAAAKCgfsBAAAAAEAAAADAAAABBVTeXN0ZW0uRHJhd2luZy5Qb2ludEYEAAAAAQsJAAAgAAAAU/oIRMea40EBDAkAACAAAAAI+wJEx5rjQQENCQAAIAAAAJ75DkTHmuNBB+0EAAAAAQAAAAMAAAAEF0FwbG9yaXMuQmFzZS5BbmNob3JNb2RlAwAAAAEOCQAAmgAAAAAAAAABDwkAAJoAAAACAAAAARAJAACaAAAABAAAAAHuBAAAJAAAAAnTAAAAAAAAAAAAAAAB7wQAACUAAAAJEQkAAAIAAAAGAAAAAfAEAAAJAQAAClgCAAABEgkAAIwBAAACAAAAARMJAACNAQAAAQAAAAEUCQAAFAAAAJFFFURu0J1BYOkPQvic1kEBFQkAAI8BAAAAAAAAAACgQAABFgkAACAAAADcxBlEdY8EQgEXCQAAmgAAAAAAAAAAAAAAAAAAAAAJGAkAAAAAAAAJGQkAAAAAAAEaCQAAowAAAAAAAAABGwkAAGwAAAAAANhBAABwQQEcCQAAFAAAALGTFkQTO9FBxPe9QYmdOEESg74/Bh0JAAADMTUlCgkeCQAACZgBAAA0AwAA/////wEBCgkfCQAAAQAKAQHxBAAAGwAAAAEgCQAAIAAAAJGFFESzNkZCASEJAAAgAAAAJwQfRG7QhUEJIgkAAAkjCQAAAAAAAAoBJAkAAGwAAAAAAAAAAAAAAAElCQAAbAAAAAAAAAAAAAAAAAAAAAEmCQAAFAAAAAAAAAAAAAAAAAAAAAAAAACkAQAA/////wEBCgknCQAAAQAKAQfyBAAAAAEAAAACAAAABBpBcGxvcmlzLkJhc2UuVUkuVmlzdWFsTGluZQMAAAAKCgfzBAAAAAEAAAADAAAABBVTeXN0ZW0uRHJhd2luZy5Qb2ludEYEAAAAASgJAAAgAAAA3MQZRHWPBEIBKQkAACAAAACRxRNEdY8EQgEqCQAAIAAAACfEH0R1jwRCB/QEAAAAAQAAAAMAAAAEF0FwbG9yaXMuQmFzZS5BbmNob3JNb2RlAwAAAAErCQAAmgAAAAAAAAABLAkAAJoAAAACAAAAAS0JAACaAAAABAAAAAH1BAAAJAAAAAnTAAAAAAAAAAAAAAAB9gQAACUAAAAJLgkAAAIAAAAGAAAAASEFAAAiAAAACgoAAAAAAChBCXAAAAAJcQAAAAkvCQAAAAAJMAkAAAEiBQAAcgAAAAoKAAAAADZshwAFAAAAAAEBJwUAAKcAAAAJMQkAAAEAAAADAAAAASgFAABvAAAACTIJAAAKASsFAABqAAAACgoAAABAPwkzCQAACTQJAAABAAAA/v///wAAAAABAAAAAAAAAAAAAAABAAAAAAAAAAAAAAEsBQAAawAAAAoKCTUJAAAJNgkAAAEAAAD+////AAAAAP////8BAAEwBQAAbwAAAAk3CQAACgc3BQAAAAEAAAAEAAAABBxBcGxvcmlzLkJhc2UuVUkuVmlzdWFsT2JqZWN0AwAAAAn8AwAACfsDAAAKCgE+BQAAIgAAAAoKAAAAAAAoQQlwAAAACXEAAAAJOAkAAAAACTkJAAABPwUAAHIAAAAKCgAAAAA2bIcABQAAAAABAUQFAACnAAAACToJAAABAAAAAwAAAAFFBQAAbwAAAAk7CQAACgFIBQAAagAAAAoKAAAAQD8JPAkAAAk9CQAAAQAAAP7///8AAAAAAQAAAAAAAAAAAAAAAQAAAAAAAAAAAAABSQUAAGsAAAAKCgk+CQAACT8JAAABAAAA/v///wAAAAD/////AQABTQUAAG8AAAAJQAkAAAoHVAUAAAABAAAABAAAAAQcQXBsb3Jpcy5CYXNlLlVJLlZpc3VhbE9iamVjdAMAAAAJAwQAAAkCBAAACgoBWwUAACIAAAAKCgAAAAAAKEEJcAAAAAlxAAAACUEJAAAAAAlCCQAAAVwFAAByAAAACgoAAAAANmyHAAUAAAAAAQFhBQAApwAAAAlDCQAAAQAAAAMAAAABYgUAAG8AAAAJRAkAAAoBZQUAAGoAAAAKCgAAAEA/CUUJAAAJRgkAAAEAAAD+////AAAAAAEAAAAAAAAAAAAAAAEAAAAAAAAAAAAAAWYFAABrAAAACgoJRwkAAAlICQAAAQAAAP7///8AAAAA/////wEAAWoFAABvAAAACUkJAAAKB3EFAAAAAQAAAAQAAAAEHEFwbG9yaXMuQmFzZS5VSS5WaXN1YWxPYmplY3QDAAAACQoEAAAJCQQAAAoKAXgFAAAiAAAACgoAAAAAAChBCXAAAAAJcQAAAAlKCQAAAAAJSwkAAAF5BQAAcgAAAAoKAAAAADZshwAFAAAAAAEBfgUAAKcAAAAJTAkAAAEAAAADAAAAAX8FAABvAAAACU0JAAAKAYIFAABqAAAACgoAAABAPwlOCQAACU8JAAABAAAA/v///wAAAAABAAAAAAAAAAAAAAABAAAAAAAAAAAAAAGDBQAAawAAAAoKCVAJAAAJUQkAAAEAAAD+////AAAAAP////8BAAGHBQAAbwAAAAlSCQAACgeOBQAAAAEAAAAEAAAABBxBcGxvcmlzLkJhc2UuVUkuVmlzdWFsT2JqZWN0AwAAAAkRBAAACRAEAAAKCgGVBQAAIgAAAAoKAAAAAAAoQQlwAAAACXEAAAAJUwkAAAAACVQJAAABlgUAAHIAAAAKCgAAAAA2bIcABQAAAAABAZsFAACnAAAACVUJAAABAAAAAwAAAAGcBQAAbwAAAAlWCQAACgGfBQAAagAAAAoKAAAAQD8JVwkAAAlYCQAAAQAAAP7///8AAAAAAQAAAAAAAAAAAAAAAQAAAAAAAAAAAAABoAUAAGsAAAAKCglZCQAACVoJAAABAAAA/v///wAAAAD/////AQABpAUAAG8AAAAJWwkAAAoHqwUAAAABAAAABAAAAAQcQXBsb3Jpcy5CYXNlLlVJLlZpc3VhbE9iamVjdAMAAAAJGAQAAAkXBAAACgoBsgUAACIAAAAKCgAAAAAAKEEJcAAAAAlxAAAACVwJAAAAAAldCQAAAbMFAAByAAAACgoAAAAANmyHAAUAAAAAAQG4BQAApwAAAAleCQAAAQAAAAMAAAABuQUAAG8AAAAJXwkAAAoBvAUAAGoAAAAKCgAAAEA/CWAJAAAJYQkAAAEAAAD+////AAAAAAEAAAAAAAAAAAAAAAEAAAAAAAAAAAAAAb0FAABrAAAACgoJYgkAAAljCQAAAQAAAP7///8AAAAA/////wEAAcEFAABvAAAACWQJAAAKB8gFAAAAAQAAAAQAAAAEHEFwbG9yaXMuQmFzZS5VSS5WaXN1YWxPYmplY3QDAAAACR8EAAAJHgQAAAoKAc8FAAAiAAAACgoAAAAAAChBCXAAAAAJcQAAAAllCQAAAAAJZgkAAAHQBQAAcgAAAAoKAAAAADZshwAFAAAAAAEB1QUAAKcAAAAJZwkAAAEAAAADAAAAAdYFAABvAAAACWgJAAAKAdkFAABqAAAACgoAAABAPwlpCQAACWoJAAABAAAA/v///wAAAAABAAAAAAAAAAAAAAABAAAAAAAAAAAAAAHaBQAAawAAAAoKCWsJAAAJbAkAAAEAAAD+////AAAAAP////8BAAHeBQAAbwAAAAltCQAACgflBQAAAAEAAAAEAAAABBxBcGxvcmlzLkJhc2UuVUkuVmlzdWFsT2JqZWN0AwAAAAkmBAAACSUEAAAKCgHsBQAAIgAAAAoKAAAAAAAoQQlwAAAACXEAAAAJbgkAAAAACW8JAAAB7QUAAHIAAAAKCgAAAAA2bIcABQAAAAABAfIFAACnAAAACXAJAAABAAAAAwAAAAHzBQAAbwAAAAlxCQAACgH2BQAAagAAAAoKAAAAQD8JcgkAAAlzCQAAAQAAAP7///8AAAAAAQAAAAAAAAAAAAAAAQAAAAAAAAAAAAAB9wUAAGsAAAAKCgl0CQAACXUJAAABAAAA/v///wAAAAD/////AQAB+wUAAG8AAAAJdgkAAAoHAgYAAAABAAAABAAAAAQcQXBsb3Jpcy5CYXNlLlVJLlZpc3VhbE9iamVjdAMAAAAJLQQAAAksBAAACgoBCQYAACIAAAAKCgAAAAAAKEEJcAAAAAlxAAAACXcJAAAAAAl4CQAAAQoGAAByAAAACgoAAAAANmyHAAUAAAAAAQEPBgAApwAAAAl5CQAAAQAAAAMAAAABEAYAAG8AAAAJegkAAAoBEwYAAGoAAAAKCgAAAEA/CXsJAAAJfAkAAAEAAAD+////AAAAAAEAAAAAAAAAAAAAAAEAAAAAAAAAAAAAARQGAABrAAAACgoJfQkAAAl+CQAAAQAAAP7///8AAAAA/////wEAARgGAABvAAAACX8JAAAKBx8GAAAAAQAAAAQAAAAEHEFwbG9yaXMuQmFzZS5VSS5WaXN1YWxPYmplY3QDAAAACTQEAAAJMwQAAAoKASYGAAAiAAAACgoAAAAAAChBCXAAAAAJcQAAAAmACQAAAAAJgQkAAAEnBgAAcgAAAAoKAAAAAHKEjAAGAAAAAAEBLAYAAKcAAAAJggkAAAEAAAADAAAAAS0GAABvAAAACYMJAAAKATAGAABqAAAACgoAAABAPwmECQAACYUJAAABAAAA/v///wAAAAABAAAAAAAAAAAAAAABAAAAAAAAAAAAAAExBgAAawAAAAoKCYYJAAAJhwkAAAEAAAD+////AAAAAP////8BAAE1BgAAbwAAAAmICQAACgc8BgAAAAEAAAAEAAAABBxBcGxvcmlzLkJhc2UuVUkuVmlzdWFsT2JqZWN0AwAAAAk7BAAACToEAAAKCgFDBgAAIgAAAAoKAAAAAAAoQQlwAAAACXEAAAAJiQkAAAAACYoJAAABRAYAAHIAAAAKCgAAAAByhIwABgAAAAABAUkGAACnAAAACYsJAAABAAAAAwAAAAFKBgAAbwAAAAmMCQAACgFNBgAAagAAAAoKAAAAQD8JjQkAAAmOCQAAAQAAAP7///8AAAAAAQAAAAAAAAAAAAAAAQAAAAAAAAAAAAABTgYAAGsAAAAKCgmPCQAACZAJAAABAAAA/v///wAAAAD/////AQABUgYAAG8AAAAJkQkAAAoHWQYAAAABAAAABAAAAAQcQXBsb3Jpcy5CYXNlLlVJLlZpc3VhbE9iamVjdAMAAAAJQgQAAAlBBAAACgoBYAYAACIAAAAKCgAAAAAAKEEJcAAAAAlxAAAACZIJAAAAAAmTCQAAAWEGAAByAAAACgoAAAAAcoSMAAYAAAAAAQFmBgAApwAAAAmUCQAAAQAAAAMAAAABZwYAAG8AAAAJlQkAAAoBagYAAGoAAAAKCgAAAEA/CZYJAAAJlwkAAAEAAAD+////AAAAAAEAAAAAAAAAAAAAAAEAAAAAAAAAAAAAAWsGAABrAAAACgoJmAkAAAmZCQAAAQAAAP7///8AAAAA/////wEAAW8GAABvAAAACZoJAAAKB3YGAAAAAQAAAAQAAAAEHEFwbG9yaXMuQmFzZS5VSS5WaXN1YWxPYmplY3QDAAAACUkEAAAJSAQAAAoKAX0GAAAiAAAACgoAAAAAAChBCXAAAAAJcQAAAAmbCQAAAAAJnAkAAAF+BgAAcgAAAAoKAAAAAHKEjAAGAAAAAAEBgwYAAKcAAAAJnQkAAAEAAAADAAAAAYQGAABvAAAACZ4JAAAKAYcGAABqAAAACgoAAABAPwmfCQAACaAJAAABAAAA/v///wAAAAABAAAAAAAAAAAAAAABAAAAAAAAAAAAAAGIBgAAawAAAAoKCaEJAAAJogkAAAEAAAD+////AAAAAP////8BAAGMBgAAbwAAAAmjCQAACgeTBgAAAAEAAAAEAAAABBxBcGxvcmlzLkJhc2UuVUkuVmlzdWFsT2JqZWN0AwAAAAlQBAAACU8EAAAKCgGaBgAAIgAAAAoKAAAAAAAoQQlwAAAACXEAAAAJpAkAAAAACaUJAAABmwYAAHIAAAAKCgAAAAByhIwABgAAAAABAaAGAACnAAAACaYJAAABAAAAAwAAAAGhBgAAbwAAAAmnCQAACgGkBgAAagAAAAoKAAAAQD8JqAkAAAmpCQAAAQAAAP7///8AAAAAAQAAAAAAAAAAAAAAAQAAAAAAAAAAAAABpQYAAGsAAAAKCgmqCQAACasJAAABAAAA/v///wAAAAD/////AQABqQYAAG8AAAAJrAkAAAoHsAYAAAABAAAABAAAAAQcQXBsb3Jpcy5CYXNlLlVJLlZpc3VhbE9iamVjdAMAAAAJVwQAAAlWBAAACgoBtwYAACIAAAAKCgAAAAAAKEEJcAAAAAlxAAAACa0JAAAAAAmuCQAAAbgGAAByAAAACgoAAAAAcoSMAAYAAAAAAQG9BgAApwAAAAmvCQAAAQAAAAMAAAABvgYAAG8AAAAJsAkAAAoBwQYAAGoAAAAKCgAAAEA/CbEJAAAJsgkAAAEAAAD+////AAAAAAEAAAAAAAAAAAAAAAEAAAAAAAAAAAAAAcIGAABrAAAACgoJswkAAAm0CQAAAQAAAP7///8AAAAA/////wEAAcYGAABvAAAACbUJAAAKB80GAAAAAQAAAAQAAAAEHEFwbG9yaXMuQmFzZS5VSS5WaXN1YWxPYmplY3QDAAAACV4EAAAJXQQAAAoKAdQGAAAiAAAACgoAAAAAAChBCXAAAAAJcQAAAAm2CQAAAAAJtwkAAAHVBgAAcgAAAAoKAAAAAHKEjAAGAAAAAAEB2gYAAKcAAAAJuAkAAAEAAAADAAAAAdsGAABvAAAACbkJAAAKAd4GAABqAAAACgoAAABAPwm6CQAACbsJAAABAAAA/v///wAAAAABAAAAAAAAAAAAAAABAAAAAAAAAAAAAAHfBgAAawAAAAoKCbwJAAAJvQkAAAEAAAD+////AAAAAP////8BAAHjBgAAbwAAAAm+CQAACgfqBgAAAAEAAAAEAAAABBxBcGxvcmlzLkJhc2UuVUkuVmlzdWFsT2JqZWN0AwAAAAllBAAACWQEAAAKCgHxBgAAIgAAAAoKAAAAAAAoQQlwAAAACXEAAAAJvwkAAAAACcAJAAAB8gYAAHIAAAAKCgAAAAByhIwABgAAAAABAfcGAACnAAAACcEJAAABAAAAAwAAAAH4BgAAbwAAAAnCCQAACgH7BgAAagAAAAoKAAAAQD8JwwkAAAnECQAAAQAAAP7///8AAAAAAQAAAAAAAAAAAAAAAQAAAAAAAAAAAAAB/AYAAGsAAAAKCgnFCQAACcYJAAABAAAA/v///wAAAAD/////AQABAAcAAG8AAAAJxwkAAAoHBwcAAAABAAAABAAAAAQcQXBsb3Jpcy5CYXNlLlVJLlZpc3VhbE9iamVjdAMAAAAJbAQAAAlrBAAACgoBDgcAACIAAAAKCgAAAAAAKEEJcAAAAAlxAAAACcgJAAAAAAnJCQAAAQ8HAAByAAAACgoAAAAAcoSMAAYAAAAAAQEUBwAApwAAAAnKCQAAAQAAAAMAAAABFQcAAG8AAAAJywkAAAoBGAcAAGoAAAAKCgAAAEA/CcwJAAAJzQkAAAEAAAD+////AAAAAAEAAAAAAAAAAAAAAAEAAAAAAAAAAAAAARkHAABrAAAACgoJzgkAAAnPCQAAAQAAAP7///8AAAAA/////wEAAR0HAABvAAAACdAJAAAKByQHAAAAAQAAAAQAAAAEHEFwbG9yaXMuQmFzZS5VSS5WaXN1YWxPYmplY3QDAAAACXMEAAAJcgQAAAoKASsHAAAiAAAACgoAAAAAAChBCXAAAAAJcQAAAAnRCQAAAAAJ0gkAAAEsBwAAcgAAAAoKAAAAAO0hJQAHAAAAAAEBMQcAAKcAAAAJ0wkAAAEAAAADAAAAATIHAABvAAAACdQJAAAKATUHAABqAAAACgoAAABAPwnVCQAACdYJAAABAAAA/v///wAAAAABAAAAAAAAAAAAAAABAAAAAAAAAAAAAAE2BwAAawAAAAoKCdcJAAAJ2AkAAAEAAAD+////AAAAAP////8BAAE6BwAAbwAAAAnZCQAACgdBBwAAAAEAAAAEAAAABBxBcGxvcmlzLkJhc2UuVUkuVmlzdWFsT2JqZWN0AwAAAAl6BAAACXkEAAAKCgFIBwAAIgAAAAoKAAAAAAAoQQlwAAAACXEAAAAJ2gkAAAAACdsJAAABSQcAAHIAAAAKCgAAAADtISUABwAAAAABAU4HAACnAAAACdwJAAABAAAAAwAAAAFPBwAAbwAAAAndCQAACgFSBwAAagAAAAoKAAAAQD8J3gkAAAnfCQAAAQAAAP7///8AAAAAAQAAAAAAAAAAAAAAAQAAAAAAAAAAAAABUwcAAGsAAAAKCgngCQAACeEJAAABAAAA/v///wAAAAD/////AQABVwcAAG8AAAAJ4gkAAAoHXgcAAAABAAAABAAAAAQcQXBsb3Jpcy5CYXNlLlVJLlZpc3VhbE9iamVjdAMAAAAJgQQAAAmABAAACgoBZQcAACIAAAAKCgAAAAAAKEEJcAAAAAlxAAAACeMJAAAAAAnkCQAAAWYHAAByAAAACgoAAAAA7SElAAcAAAAAAQFrBwAApwAAAAnlCQAAAQAAAAMAAAABbAcAAG8AAAAJ5gkAAAoBbwcAAGoAAAAKCgAAAEA/CecJAAAJ6AkAAAEAAAD+////AAAAAAEAAAAAAAAAAAAAAAEAAAAAAAAAAAAAAXAHAABrAAAACgoJ6QkAAAnqCQAAAQAAAP7///8AAAAA/////wEAAXQHAABvAAAACesJAAAKB3sHAAAAAQAAAAQAAAAEHEFwbG9yaXMuQmFzZS5VSS5WaXN1YWxPYmplY3QDAAAACYgEAAAJhwQAAAoKAYIHAAAiAAAACgoAAAAAAChBCXAAAAAJcQAAAAnsCQAAAAAJ7QkAAAGDBwAAcgAAAAoKAAAAAO0hJQAHAAAAAAEBiAcAAKcAAAAJ7gkAAAEAAAADAAAAAYkHAABvAAAACe8JAAAKAYwHAABqAAAACgoAAABAPwnwCQAACfEJAAABAAAA/v///wAAAAABAAAAAAAAAAAAAAABAAAAAAAAAAAAAAGNBwAAawAAAAoKCfIJAAAJ8wkAAAEAAAD+////AAAAAP////8BAAGRBwAAbwAAAAn0CQAACgeYBwAAAAEAAAAEAAAABBxBcGxvcmlzLkJhc2UuVUkuVmlzdWFsT2JqZWN0AwAAAAmPBAAACY4EAAAKCgGfBwAAIgAAAAoKAAAAAAAoQQlwAAAACXEAAAAJ9QkAAAAACfYJAAABoAcAAHIAAAAKCgAAAADtISUABwAAAAABAaUHAACnAAAACfcJAAABAAAAAwAAAAGmBwAAbwAAAAn4CQAACgGpBwAAagAAAAoKAAAAQD8J+QkAAAn6CQAAAQAAAP7///8AAAAAAQAAAAAAAAAAAAAAAQAAAAAAAAAAAAABqgcAAGsAAAAKCgn7CQAACfwJAAABAAAA/v///wAAAAD/////AQABrgcAAG8AAAAJ/QkAAAoHtQcAAAABAAAABAAAAAQcQXBsb3Jpcy5CYXNlLlVJLlZpc3VhbE9iamVjdAMAAAAJlgQAAAmVBAAACgoBvAcAACIAAAAKCgAAAAAAKEEJcAAAAAlxAAAACf4JAAAAAAn/CQAAAb0HAAByAAAACgoAAAAA7SElAAcAAAAAAQHCBwAApwAAAAkACgAAAQAAAAMAAAABwwcAAG8AAAAJAQoAAAoBxgcAAGoAAAAKCgAAAEA/CQIKAAAJAwoAAAEAAAD+////AAAAAAEAAAAAAAAAAAAAAAEAAAAAAAAAAAAAAccHAABrAAAACgoJBAoAAAkFCgAAAQAAAP7///8AAAAA/////wEAAcsHAABvAAAACQYKAAAKB9IHAAAAAQAAAAQAAAAEHEFwbG9yaXMuQmFzZS5VSS5WaXN1YWxPYmplY3QDAAAACZ0EAAAJnAQAAAoKAdkHAAAiAAAACgoAAAAAAChBCXAAAAAJcQAAAAkHCgAAAAAJCAoAAAHaBwAAcgAAAAoKAAAAAO0hJQAHAAAAAAEB3wcAAKcAAAAJCQoAAAEAAAADAAAAAeAHAABvAAAACQoKAAAKAeMHAABqAAAACgoAAABAPwkLCgAACQwKAAABAAAA/v///wAAAAABAAAAAAAAAAAAAAABAAAAAAAAAAAAAAHkBwAAawAAAAoKCQ0KAAAJDgoAAAEAAAD+////AAAAAP////8BAAHoBwAAbwAAAAkPCgAACgfvBwAAAAEAAAAEAAAABBxBcGxvcmlzLkJhc2UuVUkuVmlzdWFsT2JqZWN0AwAAAAmkBAAACaMEAAAKCgH2BwAAIgAAAAoKAAAAAAAoQQlwAAAACXEAAAAJEAoAAAAACREKAAAB9wcAAHIAAAAKCgAAAADtISUABwAAAAABAfwHAACnAAAACRIKAAABAAAAAwAAAAH9BwAAbwAAAAkTCgAACgEACAAAagAAAAoKAAAAQD8JFAoAAAkVCgAAAQAAAP7///8AAAAAAQAAAAAAAAAAAAAAAQAAAAAAAAAAAAABAQgAAGsAAAAKCgkWCgAACRcKAAABAAAA/v///wAAAAD/////AQABBQgAAG8AAAAJGAoAAAoHDAgAAAABAAAABAAAAAQcQXBsb3Jpcy5CYXNlLlVJLlZpc3VhbE9iamVjdAMAAAAJqwQAAAmqBAAACgoBEwgAACIAAAAKCgAAAAAAKEEJcAAAAAlxAAAACRkKAAAAAAkaCgAAARQIAAByAAAACgoAAAAA7SElAAcAAAAAAQEZCAAApwAAAAkbCgAAAQAAAAMAAAABGggAAG8AAAAJHAoAAAoBHQgAAGoAAAAKCgAAAEA/CR0KAAAJHgoAAAEAAAD+////AAAAAAEAAAAAAAAAAAAAAAEAAAAAAAAAAAAAAR4IAABrAAAACgoJHwoAAAkgCgAAAQAAAP7///8AAAAA/////wEAASIIAABvAAAACSEKAAAKBykIAAAAAQAAAAQAAAAEHEFwbG9yaXMuQmFzZS5VSS5WaXN1YWxPYmplY3QDAAAACbIEAAAJsQQAAAoKATAIAAAiAAAACgoAAAAAAChBCXAAAAAJcQAAAAkiCgAAAAAJIwoAAAExCAAAcgAAAAoKAAAAAEY7NAAIAAAAAAABNggAAKcAAAAJJAoAAAEAAAABAAAAATcIAABvAAAACSUKAAAKAToIAABqAAAACgoAAABAPwkmCgAACScKAAABAAAA/v///wAAAAABAAAAAAAAAAAAAAABAAAAAAAAAAAAAAE7CAAAawAAAAoKCSgKAAAJKQoAAAEAAAD+////AAAAAP////8BAAE/CAAAbwAAAAkqCgAACgdGCAAAAAEAAAAEAAAABBxBcGxvcmlzLkJhc2UuVUkuVmlzdWFsT2JqZWN0AwAAAAm5BAAACbgEAAAKCgFNCAAAIgAAAAoKAAAAAAAoQQlwAAAACXEAAAAJKwoAAAAACSwKAAABTggAAHIAAAAKCgAAAABGOzQACAAAAAAAAVMIAACnAAAACS0KAAABAAAAAwAAAAFUCAAAbwAAAAkuCgAACgFXCAAAagAAAAoKAAAAQD8JLwoAAAkwCgAAAQAAAP7///8AAAAAAQAAAAAAAAAAAAAAAQAAAAAAAAAAAAABWAgAAGsAAAAKCgkxCgAACTIKAAABAAAA/v///wAAAAD/////AQABXAgAAG8AAAAJMwoAAAoHYwgAAAABAAAABAAAAAQcQXBsb3Jpcy5CYXNlLlVJLlZpc3VhbE9iamVjdAMAAAAJwAQAAAm/BAAACgoBaggAACIAAAAKCgAAAAAAKEEJcAAAAAlxAAAACTQKAAAAAAk1CgAAAWsIAAByAAAACgoAAAAARjs0AAgAAAAAAQFwCAAApwAAAAk2CgAAAQAAAAMAAAABcQgAAG8AAAAJNwoAAAoBdAgAAGoAAAAKCgAAAEA/CTgKAAAJOQoAAAEAAAD+////AAAAAAEAAAAAAAAAAAAAAAEAAAAAAAAAAAAAAXUIAABrAAAACgoJOgoAAAk7CgAAAQAAAP7///8AAAAA/////wEAAXkIAABvAAAACTwKAAAKB4AIAAAAAQAAAAQAAAAEHEFwbG9yaXMuQmFzZS5VSS5WaXN1YWxPYmplY3QDAAAACccEAAAJxgQAAAoKAYcIAAAiAAAACgoAAAAAAChBCXAAAAAJcQAAAAk9CgAAAAAJPgoAAAGICAAAcgAAAAoKAAAAAEY7NAAIAAAAAAABjQgAAKcAAAAJPwoAAAEAAAADAAAAAY4IAABvAAAACUAKAAAKAZEIAABqAAAACgoAAABAPwlBCgAACUIKAAABAAAA/v///wAAAAABAAAAAAAAAAAAAAABAAAAAAAAAAAAAAGSCAAAawAAAAoKCUMKAAAJRAoAAAEAAAD+////AAAAAP////8BAAGWCAAAbwAAAAlFCgAACgedCAAAAAEAAAAEAAAABBxBcGxvcmlzLkJhc2UuVUkuVmlzdWFsT2JqZWN0AwAAAAnOBAAACc0EAAAKCgGkCAAAIgAAAAoKAAAAAAAoQQlwAAAACXEAAAAJRgoAAAAACUcKAAABpQgAAHIAAAAKCgAAAABGOzQACAAAAAABAaoIAACnAAAACUgKAAABAAAAAwAAAAGrCAAAbwAAAAlJCgAACgGuCAAAagAAAAoKAAAAQD8JSgoAAAlLCgAAAQAAAP7///8AAAAAAQAAAAAAAAAAAAAAAQAAAAAAAAAAAAABrwgAAGsAAAAKCglMCgAACU0KAAABAAAA/v///wAAAAD/////AQABswgAAG8AAAAJTgoAAAoHuggAAAABAAAABAAAAAQcQXBsb3Jpcy5CYXNlLlVJLlZpc3VhbE9iamVjdAMAAAAJ1QQAAAnUBAAACgoBwQgAACIAAAAKCgAAAAAAKEEJcAAAAAlxAAAACU8KAAAAAAlQCgAAAcIIAAByAAAACgoAAAAARjs0AAgAAAAAAQHHCAAApwAAAAlRCgAAAQAAAAMAAAAByAgAAG8AAAAJUgoAAAoBywgAAGoAAAAKCgAAAEA/CVMKAAAJVAoAAAEAAAD+////AAAAAAEAAAAAAAAAAAAAAAEAAAAAAAAAAAAAAcwIAABrAAAACgoJVQoAAAlWCgAAAQAAAP7///8AAAAA/////wEAAdAIAABvAAAACVcKAAAKB9cIAAAAAQAAAAQAAAAEHEFwbG9yaXMuQmFzZS5VSS5WaXN1YWxPYmplY3QDAAAACdwEAAAJ2wQAAAoKAd4IAAAiAAAACgoAAAAAAChBCXAAAAAJcQAAAAlYCgAAAAAJWQoAAAHfCAAAcgAAAAoKAAAAAEY7NAAIAAAAAAEB5AgAAKcAAAAJWgoAAAEAAAADAAAAAeUIAABvAAAACVsKAAAKAegIAABqAAAACgoAAABAPwlcCgAACV0KAAABAAAA/v///wAAAAABAAAAAAAAAAAAAAABAAAAAAAAAAAAAAHpCAAAawAAAAoKCV4KAAAJXwoAAAEAAAD+////AAAAAP////8BAAHtCAAAbwAAAAlgCgAACgf0CAAAAAEAAAAEAAAABBxBcGxvcmlzLkJhc2UuVUkuVmlzdWFsT2JqZWN0AwAAAAnjBAAACeIEAAAKCgH7CAAAIgAAAAoKAAAAAAAoQQlwAAAACXEAAAAJYQoAAAAACWIKAAAB/AgAAHIAAAAKCgAAAABGOzQACAAAAAABAQEJAACnAAAACWMKAAABAAAAAwAAAAECCQAAbwAAAAlkCgAACgEFCQAAagAAAAoKAAAAQD8JZQoAAAlmCgAAAQAAAP7///8AAAAAAQAAAAAAAAAAAAAAAQAAAAAAAAAAAAABBgkAAGsAAAAKCglnCgAACWgKAAABAAAA/v///wAAAAD/////AQABCgkAAG8AAAAJaQoAAAoHEQkAAAABAAAABAAAAAQcQXBsb3Jpcy5CYXNlLlVJLlZpc3VhbE9iamVjdAMAAAAJ6gQAAAnpBAAACgoBGAkAACIAAAAKCgAAAAAAKEEJcAAAAAlxAAAACWoKAAAAAAlrCgAAARkJAAByAAAACgoAAAAARjs0AAgAAAAAAQEeCQAApwAAAAlsCgAAAQAAAAMAAAABHwkAAG8AAAAJbQoAAAoBIgkAAGoAAAAKCgAAAEA/CW4KAAAJbwoAAAEAAAD+////AAAAAAEAAAAAAAAAAAAAAAEAAAAAAAAAAAAAASMJAABrAAAACgoJcAoAAAlxCgAAAQAAAP7///8AAAAA/////wEAAScJAABvAAAACXIKAAAKBy4JAAAAAQAAAAQAAAAEHEFwbG9yaXMuQmFzZS5VSS5WaXN1YWxPYmplY3QDAAAACfEEAAAJ8AQAAAoKAS8JAAByAAAACgoAAAAA////AA4AAAAAAAEwCQAAcgAAAAoKAAAAAP///wAOAAAAAAEHMQkAAAABAAAABAAAAAQdQXBsb3Jpcy5CYXNlLk9iamVjdHMuVmFyaWFibGUDAAAAAXMKAABwAwAAAQAAAAAAAAABdAoAAHADAAAAAAAAAAAAAAF1CgAAcAMAAAAAAAAAAAAAAXYKAABwAwAAAAAAAAAAAAAPMgkAAAEAAAAIVQAAAAUzCQAAGkFwbG9yaXMuQmFzZS5PYmplY3RzLkNvbG9yBwAAABJEYXRhT2JqZWN0K21QYXJlbnQVRGF0YU9iamVjdCttQ29udGFpbmVyBW1UeXBlBG1SR0IQbVRoZW1lQ29sb3JJbmRleAxtQXV0b1VwZGF0ZWQJbU1vZGlmaWVkBAIAAAAAAB9BcGxvcmlzLkJhc2UuT2JqZWN0cy5MaW5lRm9ybWF0AwAAAAgICAEBAwAAAAkrBQAACgAAAAD///8ADgAAAAAABTQJAAAaQXBsb3Jpcy5CYXNlLk9iamVjdHMuQ29sb3IHAAAAEkRhdGFPYmplY3QrbVBhcmVudBVEYXRhT2JqZWN0K21Db250YWluZXIFbVR5cGUEbVJHQhBtVGhlbWVDb2xvckluZGV4DG1BdXRvVXBkYXRlZAltTW9kaWZpZWQEAgAAAAAAH0FwbG9yaXMuQmFzZS5PYmplY3RzLkxpbmVGb3JtYXQDAAAACAgIAQEDAAAACSsFAAAKAQAAAAAAAAD/////AAEBNQkAAHIAAAAKCgAAAAA2bIcABQAAAAAAATYJAAByAAAACgoBAAAA////AP////8AAA83CQAAAQAAAAgYAAAAATgJAAByAAAACgoAAAAA////AA4AAAAAAAE5CQAAcgAAAAoKAAAAAP///wAOAAAAAAEHOgkAAAABAAAABAAAAAQdQXBsb3Jpcy5CYXNlLk9iamVjdHMuVmFyaWFibGUDAAAAAXcKAABwAwAAAQAAAAAAAAABeAoAAHADAAAAAAAAAAAAAAF5CgAAcAMAAAAAAAAAAAAAAXoKAABwAwAAAAAAAAAAAAAPOwkAAAEAAAAIVAAAAAU8CQAAGkFwbG9yaXMuQmFzZS5PYmplY3RzLkNvbG9yBwAAABJEYXRhT2JqZWN0K21QYXJlbnQVRGF0YU9iamVjdCttQ29udGFpbmVyBW1UeXBlBG1SR0IQbVRoZW1lQ29sb3JJbmRleAxtQXV0b1VwZGF0ZWQJbU1vZGlmaWVkBAIAAAAAAB9BcGxvcmlzLkJhc2UuT2JqZWN0cy5MaW5lRm9ybWF0AwAAAAgICAEBAwAAAAlIBQAACgAAAAD///8ADgAAAAAABT0JAAAaQXBsb3Jpcy5CYXNlLk9iamVjdHMuQ29sb3IHAAAAEkRhdGFPYmplY3QrbVBhcmVudBVEYXRhT2JqZWN0K21Db250YWluZXIFbVR5cGUEbVJHQhBtVGhlbWVDb2xvckluZGV4DG1BdXRvVXBkYXRlZAltTW9kaWZpZWQEAgAAAAAAH0FwbG9yaXMuQmFzZS5PYmplY3RzLkxpbmVGb3JtYXQDAAAACAgIAQEDAAAACUgFAAAKAQAAAAAAAAD/////AAEBPgkAAHIAAAAKCgAAAAA2bIcABQAAAAAAAT8JAAByAAAACgoBAAAA////AP////8AAA9ACQAAAQAAAAgPAAAAAUEJAAByAAAACgoAAAAA////AA4AAAAAAAFCCQAAcgAAAAoKAAAAAP///wAOAAAAAAEHQwkAAAABAAAABAAAAAQdQXBsb3Jpcy5CYXNlLk9iamVjdHMuVmFyaWFibGUDAAAAAXsKAABwAwAAAQAAAAAAAAABfAoAAHADAAAAAAAAAAAAAAF9CgAAcAMAAAAAAAAAAAAAAX4KAABwAwAAAAAAAAAAAAAPRAkAAAEAAAAIQAAAAAVFCQAAGkFwbG9yaXMuQmFzZS5PYmplY3RzLkNvbG9yBwAAABJEYXRhT2JqZWN0K21QYXJlbnQVRGF0YU9iamVjdCttQ29udGFpbmVyBW1UeXBlBG1SR0IQbVRoZW1lQ29sb3JJbmRleAxtQXV0b1VwZGF0ZWQJbU1vZGlmaWVkBAIAAAAAAB9BcGxvcmlzLkJhc2UuT2JqZWN0cy5MaW5lRm9ybWF0AwAAAAgICAEBAwAAAAllBQAACgAAAAD///8ADgAAAAAABUYJAAAaQXBsb3Jpcy5CYXNlLk9iamVjdHMuQ29sb3IHAAAAEkRhdGFPYmplY3QrbVBhcmVudBVEYXRhT2JqZWN0K21Db250YWluZXIFbVR5cGUEbVJHQhBtVGhlbWVDb2xvckluZGV4DG1BdXRvVXBkYXRlZAltTW9kaWZpZWQEAgAAAAAAH0FwbG9yaXMuQmFzZS5PYmplY3RzLkxpbmVGb3JtYXQDAAAACAgIAQEDAAAACWUFAAAKAQAAAAAAAAD/////AAEBRwkAAHIAAAAKCgAAAAA2bIcABQAAAAAAAUgJAAByAAAACgoBAAAA////AP////8AAA9JCQAAAQAAAAgQAAAAAUoJAAByAAAACgoAAAAA////AA4AAAAAAAFLCQAAcgAAAAoKAAAAAP///wAOAAAAAAEHTAkAAAABAAAABAAAAAQdQXBsb3Jpcy5CYXNlLk9iamVjdHMuVmFyaWFibGUDAAAAAX8KAABwAwAAAQAAAAAAAAABgAoAAHADAAAAAAAAAAAAAAGBCgAAcAMAAAAAAAAAAAAAAYIKAABwAwAAAAAAAAAAAAAPTQkAAAEAAAAIWQAAAAVOCQAAGkFwbG9yaXMuQmFzZS5PYmplY3RzLkNvbG9yBwAAABJEYXRhT2JqZWN0K21QYXJlbnQVRGF0YU9iamVjdCttQ29udGFpbmVyBW1UeXBlBG1SR0IQbVRoZW1lQ29sb3JJbmRleAxtQXV0b1VwZGF0ZWQJbU1vZGlmaWVkBAIAAAAAAB9BcGxvcmlzLkJhc2UuT2JqZWN0cy5MaW5lRm9ybWF0AwAAAAgICAEBAwAAAAmCBQAACgAAAAD///8ADgAAAAAABU8JAAAaQXBsb3Jpcy5CYXNlLk9iamVjdHMuQ29sb3IHAAAAEkRhdGFPYmplY3QrbVBhcmVudBVEYXRhT2JqZWN0K21Db250YWluZXIFbVR5cGUEbVJHQhBtVGhlbWVDb2xvckluZGV4DG1BdXRvVXBkYXRlZAltTW9kaWZpZWQEAgAAAAAAH0FwbG9yaXMuQmFzZS5PYmplY3RzLkxpbmVGb3JtYXQDAAAACAgIAQEDAAAACYIFAAAKAQAAAAAAAAD/////AAEBUAkAAHIAAAAKCgAAAAA2bIcABQAAAAAAAVEJAAByAAAACgoBAAAA////AP////8AAA9SCQAAAQAAAAgOAAAAAVMJAAByAAAACgoAAAAA////AA4AAAAAAAFUCQAAcgAAAAoKAAAAAP///wAOAAAAAAEHVQkAAAABAAAABAAAAAQdQXBsb3Jpcy5CYXNlLk9iamVjdHMuVmFyaWFibGUDAAAAAYMKAABwAwAAAQAAAAAAAAABhAoAAHADAAAAAAAAAAAAAAGFCgAAcAMAAAAAAAAAAAAAAYYKAABwAwAAAAAAAAAAAAAPVgkAAAEAAAAIWgAAAAVXCQAAGkFwbG9yaXMuQmFzZS5PYmplY3RzLkNvbG9yBwAAABJEYXRhT2JqZWN0K21QYXJlbnQVRGF0YU9iamVjdCttQ29udGFpbmVyBW1UeXBlBG1SR0IQbVRoZW1lQ29sb3JJbmRleAxtQXV0b1VwZGF0ZWQJbU1vZGlmaWVkBAIAAAAAAB9BcGxvcmlzLkJhc2UuT2JqZWN0cy5MaW5lRm9ybWF0AwAAAAgICAEBAwAAAAmfBQAACgAAAAD///8ADgAAAAAABVgJAAAaQXBsb3Jpcy5CYXNlLk9iamVjdHMuQ29sb3IHAAAAEkRhdGFPYmplY3QrbVBhcmVudBVEYXRhT2JqZWN0K21Db250YWluZXIFbVR5cGUEbVJHQhBtVGhlbWVDb2xvckluZGV4DG1BdXRvVXBkYXRlZAltTW9kaWZpZWQEAgAAAAAAH0FwbG9yaXMuQmFzZS5PYmplY3RzLkxpbmVGb3JtYXQDAAAACAgIAQEDAAAACZ8FAAAKAQAAAAAAAAD/////AAEBWQkAAHIAAAAKCgAAAAA2bIcABQAAAAAAAVoJAAByAAAACgoBAAAA////AP////8AAA9bCQAAAQAAAAgNAAAAAVwJAAByAAAACgoAAAAA////AA4AAAAAAAFdCQAAcgAAAAoKAAAAAP///wAOAAAAAAEHXgkAAAABAAAABAAAAAQdQXBsb3Jpcy5CYXNlLk9iamVjdHMuVmFyaWFibGUDAAAAAYcKAABwAwAAAQAAAAAAAAABiAoAAHADAAAAAAAAAAAAAAGJCgAAcAMAAAAAAAAAAAAAAYoKAABwAwAAAAAAAAAAAAAPXwkAAAEAAAAIWAAAAAVgCQAAGkFwbG9yaXMuQmFzZS5PYmplY3RzLkNvbG9yBwAAABJEYXRhT2JqZWN0K21QYXJlbnQVRGF0YU9iamVjdCttQ29udGFpbmVyBW1UeXBlBG1SR0IQbVRoZW1lQ29sb3JJbmRleAxtQXV0b1VwZGF0ZWQJbU1vZGlmaWVkBAIAAAAAAB9BcGxvcmlzLkJhc2UuT2JqZWN0cy5MaW5lRm9ybWF0AwAAAAgICAEBAwAAAAm8BQAACgAAAAD///8ADgAAAAAABWEJAAAaQXBsb3Jpcy5CYXNlLk9iamVjdHMuQ29sb3IHAAAAEkRhdGFPYmplY3QrbVBhcmVudBVEYXRhT2JqZWN0K21Db250YWluZXIFbVR5cGUEbVJHQhBtVGhlbWVDb2xvckluZGV4DG1BdXRvVXBkYXRlZAltTW9kaWZpZWQEAgAAAAAAH0FwbG9yaXMuQmFzZS5PYmplY3RzLkxpbmVGb3JtYXQDAAAACAgIAQEDAAAACbwFAAAKAQAAAAAAAAD/////AAEBYgkAAHIAAAAKCgAAAAA2bIcABQAAAAAAAWMJAAByAAAACgoBAAAA////AP////8AAA9kCQAAAQAAAAgRAAAAAWUJAAByAAAACgoAAAAA////AA4AAAAAAAFmCQAAcgAAAAoKAAAAAP///wAOAAAAAAEHZwkAAAABAAAABAAAAAQdQXBsb3Jpcy5CYXNlLk9iamVjdHMuVmFyaWFibGUDAAAAAYsKAABwAwAAAQAAAAAAAAABjAoAAHADAAAAAAAAAAAAAAGNCgAAcAMAAAAAAAAAAAAAAY4KAABwAwAAAAAAAAAAAAAPaAkAAAEAAAAIVwAAAAVpCQAAGkFwbG9yaXMuQmFzZS5PYmplY3RzLkNvbG9yBwAAABJEYXRhT2JqZWN0K21QYXJlbnQVRGF0YU9iamVjdCttQ29udGFpbmVyBW1UeXBlBG1SR0IQbVRoZW1lQ29sb3JJbmRleAxtQXV0b1VwZGF0ZWQJbU1vZGlmaWVkBAIAAAAAAB9BcGxvcmlzLkJhc2UuT2JqZWN0cy5MaW5lRm9ybWF0AwAAAAgICAEBAwAAAAnZBQAACgAAAAD///8ADgAAAAAABWoJAAAaQXBsb3Jpcy5CYXNlLk9iamVjdHMuQ29sb3IHAAAAEkRhdGFPYmplY3QrbVBhcmVudBVEYXRhT2JqZWN0K21Db250YWluZXIFbVR5cGUEbVJHQhBtVGhlbWVDb2xvckluZGV4DG1BdXRvVXBkYXRlZAltTW9kaWZpZWQEAgAAAAAAH0FwbG9yaXMuQmFzZS5PYmplY3RzLkxpbmVGb3JtYXQDAAAACAgIAQEDAAAACdkFAAAKAQAAAAAAAAD/////AAEBawkAAHIAAAAKCgAAAAA2bIcABQAAAAAAAWwJAAByAAAACgoBAAAA////AP////8AAA9tCQAAAQAAAAgSAAAAAW4JAAByAAAACgoAAAAA////AA4AAAAAAAFvCQAAcgAAAAoKAAAAAP///wAOAAAAAAEHcAkAAAABAAAABAAAAAQdQXBsb3Jpcy5CYXNlLk9iamVjdHMuVmFyaWFibGUDAAAAAY8KAABwAwAAAQAAAAAAAAABkAoAAHADAAAAAAAAAAAAAAGRCgAAcAMAAAAAAAAAAAAAAZIKAABwAwAAAAAAAAAAAAAPcQkAAAEAAAAIVgAAAAVyCQAAGkFwbG9yaXMuQmFzZS5PYmplY3RzLkNvbG9yBwAAABJEYXRhT2JqZWN0K21QYXJlbnQVRGF0YU9iamVjdCttQ29udGFpbmVyBW1UeXBlBG1SR0IQbVRoZW1lQ29sb3JJbmRleAxtQXV0b1VwZGF0ZWQJbU1vZGlmaWVkBAIAAAAAAB9BcGxvcmlzLkJhc2UuT2JqZWN0cy5MaW5lRm9ybWF0AwAAAAgICAEBAwAAAAn2BQAACgAAAAD///8ADgAAAAAABXMJAAAaQXBsb3Jpcy5CYXNlLk9iamVjdHMuQ29sb3IHAAAAEkRhdGFPYmplY3QrbVBhcmVudBVEYXRhT2JqZWN0K21Db250YWluZXIFbVR5cGUEbVJHQhBtVGhlbWVDb2xvckluZGV4DG1BdXRvVXBkYXRlZAltTW9kaWZpZWQEAgAAAAAAH0FwbG9yaXMuQmFzZS5PYmplY3RzLkxpbmVGb3JtYXQDAAAACAgIAQEDAAAACfYFAAAKAQAAAAAAAAD/////AAEBdAkAAHIAAAAKCgAAAAA2bIcABQAAAAAAAXUJAAByAAAACgoBAAAA////AP////8AAA92CQAAAQAAAAgXAAAAAXcJAAByAAAACgoAAAAA////AA4AAAAAAAF4CQAAcgAAAAoKAAAAAP///wAOAAAAAAEHeQkAAAABAAAABAAAAAQdQXBsb3Jpcy5CYXNlLk9iamVjdHMuVmFyaWFibGUDAAAAAZMKAABwAwAAAQAAAAAAAAABlAoAAHADAAAAAAAAAAAAAAGVCgAAcAMAAAAAAAAAAAAAAZYKAABwAwAAAAAAAAAAAAAPegkAAAEAAAAIUwAAAAV7CQAAGkFwbG9yaXMuQmFzZS5PYmplY3RzLkNvbG9yBwAAABJEYXRhT2JqZWN0K21QYXJlbnQVRGF0YU9iamVjdCttQ29udGFpbmVyBW1UeXBlBG1SR0IQbVRoZW1lQ29sb3JJbmRleAxtQXV0b1VwZGF0ZWQJbU1vZGlmaWVkBAIAAAAAAB9BcGxvcmlzLkJhc2UuT2JqZWN0cy5MaW5lRm9ybWF0AwAAAAgICAEBAwAAAAkTBgAACgAAAAD///8ADgAAAAAABXwJAAAaQXBsb3Jpcy5CYXNlLk9iamVjdHMuQ29sb3IHAAAAEkRhdGFPYmplY3QrbVBhcmVudBVEYXRhT2JqZWN0K21Db250YWluZXIFbVR5cGUEbVJHQhBtVGhlbWVDb2xvckluZGV4DG1BdXRvVXBkYXRlZAltTW9kaWZpZWQEAgAAAAAAH0FwbG9yaXMuQmFzZS5PYmplY3RzLkxpbmVGb3JtYXQDAAAACAgIAQEDAAAACRMGAAAKAQAAAAAAAAD/////AAEBfQkAAHIAAAAKCgAAAAA2bIcABQAAAAAAAX4JAAByAAAACgoBAAAA////AP////8AAA9/CQAAAQAAAAgWAAAAAYAJAAByAAAACgoAAAAA////AA4AAAAAAAGBCQAAcgAAAAoKAAAAAP///wAOAAAAAAEHggkAAAABAAAABAAAAAQdQXBsb3Jpcy5CYXNlLk9iamVjdHMuVmFyaWFibGUDAAAAAZcKAABwAwAAAQAAAAAAAAABmAoAAHADAAAAAAAAAAAAAAGZCgAAcAMAAAAAAAAAAAAAAZoKAABwAwAAAAAAAAAAAAAPgwkAAAEAAAAIXgAAAAWECQAAGkFwbG9yaXMuQmFzZS5PYmplY3RzLkNvbG9yBwAAABJEYXRhT2JqZWN0K21QYXJlbnQVRGF0YU9iamVjdCttQ29udGFpbmVyBW1UeXBlBG1SR0IQbVRoZW1lQ29sb3JJbmRleAxtQXV0b1VwZGF0ZWQJbU1vZGlmaWVkBAIAAAAAAB9BcGxvcmlzLkJhc2UuT2JqZWN0cy5MaW5lRm9ybWF0AwAAAAgICAEBAwAAAAkwBgAACgAAAAD///8ADgAAAAAABYUJAAAaQXBsb3Jpcy5CYXNlLk9iamVjdHMuQ29sb3IHAAAAEkRhdGFPYmplY3QrbVBhcmVudBVEYXRhT2JqZWN0K21Db250YWluZXIFbVR5cGUEbVJHQhBtVGhlbWVDb2xvckluZGV4DG1BdXRvVXBkYXRlZAltTW9kaWZpZWQEAgAAAAAAH0FwbG9yaXMuQmFzZS5PYmplY3RzLkxpbmVGb3JtYXQDAAAACAgIAQEDAAAACTAGAAAKAQAAAAAAAAD/////AAEBhgkAAHIAAAAKCgAAAAByhIwABgAAAAAAAYcJAAByAAAACgoBAAAA////AP////8AAA+ICQAAAQAAAAgDAAAAAYkJAAByAAAACgoAAAAA////AA4AAAAAAAGKCQAAcgAAAAoKAAAAAP///wAOAAAAAAEHiwkAAAABAAAABAAAAAQdQXBsb3Jpcy5CYXNlLk9iamVjdHMuVmFyaWFibGUDAAAAAZsKAABwAwAAAQAAAAAAAAABnAoAAHADAAAAAAAAAAAAAAGdCgAAcAMAAAAAAAAAAAAAAZ4KAABwAwAAAAAAAAAAAAAPjAkAAAEAAAAIXQAAAAWNCQAAGkFwbG9yaXMuQmFzZS5PYmplY3RzLkNvbG9yBwAAABJEYXRhT2JqZWN0K21QYXJlbnQVRGF0YU9iamVjdCttQ29udGFpbmVyBW1UeXBlBG1SR0IQbVRoZW1lQ29sb3JJbmRleAxtQXV0b1VwZGF0ZWQJbU1vZGlmaWVkBAIAAAAAAB9BcGxvcmlzLkJhc2UuT2JqZWN0cy5MaW5lRm9ybWF0AwAAAAgICAEBAwAAAAlNBgAACgAAAAD///8ADgAAAAAABY4JAAAaQXBsb3Jpcy5CYXNlLk9iamVjdHMuQ29sb3IHAAAAEkRhdGFPYmplY3QrbVBhcmVudBVEYXRhT2JqZWN0K21Db250YWluZXIFbVR5cGUEbVJHQhBtVGhlbWVDb2xvckluZGV4DG1BdXRvVXBkYXRlZAltTW9kaWZpZWQEAgAAAAAAH0FwbG9yaXMuQmFzZS5PYmplY3RzLkxpbmVGb3JtYXQDAAAACAgIAQEDAAAACU0GAAAKAQAAAAAAAAD/////AAEBjwkAAHIAAAAKCgAAAAByhIwABgAAAAAAAZAJAAByAAAACgoBAAAA////AP////8AAA+RCQAAAQAAAAgGAAAAAZIJAAByAAAACgoAAAAA////AA4AAAAAAAGTCQAAcgAAAAoKAAAAAP///wAOAAAAAAEHlAkAAAABAAAABAAAAAQdQXBsb3Jpcy5CYXNlLk9iamVjdHMuVmFyaWFibGUDAAAAAZ8KAABwAwAAAQAAAAAAAAABoAoAAHADAAAAAAAAAAAAAAGhCgAAcAMAAAAAAAAAAAAAAaIKAABwAwAAAAAAAAAAAAAPlQkAAAEAAAAIWwAAAAWWCQAAGkFwbG9yaXMuQmFzZS5PYmplY3RzLkNvbG9yBwAAABJEYXRhT2JqZWN0K21QYXJlbnQVRGF0YU9iamVjdCttQ29udGFpbmVyBW1UeXBlBG1SR0IQbVRoZW1lQ29sb3JJbmRleAxtQXV0b1VwZGF0ZWQJbU1vZGlmaWVkBAIAAAAAAB9BcGxvcmlzLkJhc2UuT2JqZWN0cy5MaW5lRm9ybWF0AwAAAAgICAEBAwAAAAlqBgAACgAAAAD///8ADgAAAAAABZcJAAAaQXBsb3Jpcy5CYXNlLk9iamVjdHMuQ29sb3IHAAAAEkRhdGFPYmplY3QrbVBhcmVudBVEYXRhT2JqZWN0K21Db250YWluZXIFbVR5cGUEbVJHQhBtVGhlbWVDb2xvckluZGV4DG1BdXRvVXBkYXRlZAltTW9kaWZpZWQEAgAAAAAAH0FwbG9yaXMuQmFzZS5PYmplY3RzLkxpbmVGb3JtYXQDAAAACAgIAQEDAAAACWoGAAAKAQAAAAAAAAD/////AAEBmAkAAHIAAAAKCgAAAAByhIwABgAAAAAAAZkJAAByAAAACgoBAAAA////AP////8AAA+aCQAAAQAAAAgTAAAAAZsJAAByAAAACgoAAAAA////AA4AAAAAAAGcCQAAcgAAAAoKAAAAAP///wAOAAAAAAEHnQkAAAABAAAABAAAAAQdQXBsb3Jpcy5CYXNlLk9iamVjdHMuVmFyaWFibGUDAAAAAaMKAABwAwAAAQAAAAAAAAABpAoAAHADAAAAAAAAAAAAAAGlCgAAcAMAAAAAAAAAAAAAAaYKAABwAwAAAAAAAAAAAAAPngkAAAEAAAAIYgAAAAWfCQAAGkFwbG9yaXMuQmFzZS5PYmplY3RzLkNvbG9yBwAAABJEYXRhT2JqZWN0K21QYXJlbnQVRGF0YU9iamVjdCttQ29udGFpbmVyBW1UeXBlBG1SR0IQbVRoZW1lQ29sb3JJbmRleAxtQXV0b1VwZGF0ZWQJbU1vZGlmaWVkBAIAAAAAAB9BcGxvcmlzLkJhc2UuT2JqZWN0cy5MaW5lRm9ybWF0AwAAAAgICAEBAwAAAAmHBgAACgAAAAD///8ADgAAAAAABaAJAAAaQXBsb3Jpcy5CYXNlLk9iamVjdHMuQ29sb3IHAAAAEkRhdGFPYmplY3QrbVBhcmVudBVEYXRhT2JqZWN0K21Db250YWluZXIFbVR5cGUEbVJHQhBtVGhlbWVDb2xvckluZGV4DG1BdXRvVXBkYXRlZAltTW9kaWZpZWQEAgAAAAAAH0FwbG9yaXMuQmFzZS5PYmplY3RzLkxpbmVGb3JtYXQDAAAACAgIAQEDAAAACYcGAAAKAQAAAAAAAAD/////AAEBoQkAAHIAAAAKCgAAAAByhIwABgAAAAAAAaIJAAByAAAACgoBAAAA////AP////8AAA+jCQAAAQAAAAgFAAAAAaQJAAByAAAACgoAAAAA////AA4AAAAAAAGlCQAAcgAAAAoKAAAAAP///wAOAAAAAAEHpgkAAAABAAAABAAAAAQdQXBsb3Jpcy5CYXNlLk9iamVjdHMuVmFyaWFibGUDAAAAAacKAABwAwAAAQAAAAAAAAABqAoAAHADAAAAAAAAAAAAAAGpCgAAcAMAAAAAAAAAAAAAAaoKAABwAwAAAAAAAAAAAAAPpwkAAAEAAAAIYwAAAAWoCQAAGkFwbG9yaXMuQmFzZS5PYmplY3RzLkNvbG9yBwAAABJEYXRhT2JqZWN0K21QYXJlbnQVRGF0YU9iamVjdCttQ29udGFpbmVyBW1UeXBlBG1SR0IQbVRoZW1lQ29sb3JJbmRleAxtQXV0b1VwZGF0ZWQJbU1vZGlmaWVkBAIAAAAAAB9BcGxvcmlzLkJhc2UuT2JqZWN0cy5MaW5lRm9ybWF0AwAAAAgICAEBAwAAAAmkBgAACgAAAAD///8ADgAAAAAABakJAAAaQXBsb3Jpcy5CYXNlLk9iamVjdHMuQ29sb3IHAAAAEkRhdGFPYmplY3QrbVBhcmVudBVEYXRhT2JqZWN0K21Db250YWluZXIFbVR5cGUEbVJHQhBtVGhlbWVDb2xvckluZGV4DG1BdXRvVXBkYXRlZAltTW9kaWZpZWQEAgAAAAAAH0FwbG9yaXMuQmFzZS5PYmplY3RzLkxpbmVGb3JtYXQDAAAACAgIAQEDAAAACaQGAAAKAQAAAAAAAAD/////AAEBqgkAAHIAAAAKCgAAAAByhIwABgAAAAAAAasJAAByAAAACgoBAAAA////AP////8AAA+sCQAAAQAAAAgEAAAAAa0JAAByAAAACgoAAAAA////AA4AAAAAAAGuCQAAcgAAAAoKAAAAAP///wAOAAAAAAEHrwkAAAABAAAABAAAAAQdQXBsb3Jpcy5CYXNlLk9iamVjdHMuVmFyaWFibGUDAAAAAasKAABwAwAAAQAAAAAAAAABrAoAAHADAAAAAAAAAAAAAAGtCgAAcAMAAAAAAAAAAAAAAa4KAABwAwAAAAAAAAAAAAAPsAkAAAEAAAAIYQAAAAWxCQAAGkFwbG9yaXMuQmFzZS5PYmplY3RzLkNvbG9yBwAAABJEYXRhT2JqZWN0K21QYXJlbnQVRGF0YU9iamVjdCttQ29udGFpbmVyBW1UeXBlBG1SR0IQbVRoZW1lQ29sb3JJbmRleAxtQXV0b1VwZGF0ZWQJbU1vZGlmaWVkBAIAAAAAAB9BcGxvcmlzLkJhc2UuT2JqZWN0cy5MaW5lRm9ybWF0AwAAAAgICAEBAwAAAAnBBgAACgAAAAD///8ADgAAAAAABbIJAAAaQXBsb3Jpcy5CYXNlLk9iamVjdHMuQ29sb3IHAAAAEkRhdGFPYmplY3QrbVBhcmVudBVEYXRhT2JqZWN0K21Db250YWluZXIFbVR5cGUEbVJHQhBtVGhlbWVDb2xvckluZGV4DG1BdXRvVXBkYXRlZAltTW9kaWZpZWQEAgAAAAAAH0FwbG9yaXMuQmFzZS5PYmplY3RzLkxpbmVGb3JtYXQDAAAACAgIAQEDAAAACcEGAAAKAQAAAAAAAAD/////AAEBswkAAHIAAAAKCgAAAAByhIwABgAAAAAAAbQJAAByAAAACgoBAAAA////AP////8AAA+1CQAAAQAAAAgUAAAAAbYJAAByAAAACgoAAAAA////AA4AAAAAAAG3CQAAcgAAAAoKAAAAAP///wAOAAAAAAEHuAkAAAABAAAABAAAAAQdQXBsb3Jpcy5CYXNlLk9iamVjdHMuVmFyaWFibGUDAAAAAa8KAABwAwAAAQAAAAAAAAABsAoAAHADAAAAAAAAAAAAAAGxCgAAcAMAAAAAAAAAAAAAAbIKAABwAwAAAAAAAAAAAAAPuQkAAAEAAAAIYAAAAAW6CQAAGkFwbG9yaXMuQmFzZS5PYmplY3RzLkNvbG9yBwAAABJEYXRhT2JqZWN0K21QYXJlbnQVRGF0YU9iamVjdCttQ29udGFpbmVyBW1UeXBlBG1SR0IQbVRoZW1lQ29sb3JJbmRleAxtQXV0b1VwZGF0ZWQJbU1vZGlmaWVkBAIAAAAAAB9BcGxvcmlzLkJhc2UuT2JqZWN0cy5MaW5lRm9ybWF0AwAAAAgICAEBAwAAAAneBgAACgAAAAD///8ADgAAAAAABbsJAAAaQXBsb3Jpcy5CYXNlLk9iamVjdHMuQ29sb3IHAAAAEkRhdGFPYmplY3QrbVBhcmVudBVEYXRhT2JqZWN0K21Db250YWluZXIFbVR5cGUEbVJHQhBtVGhlbWVDb2xvckluZGV4DG1BdXRvVXBkYXRlZAltTW9kaWZpZWQEAgAAAAAAH0FwbG9yaXMuQmFzZS5PYmplY3RzLkxpbmVGb3JtYXQDAAAACAgIAQEDAAAACd4GAAAKAQAAAAAAAAD/////AAEBvAkAAHIAAAAKCgAAAAByhIwABgAAAAAAAb0JAAByAAAACgoBAAAA////AP////8AAA++CQAAAQAAAAgVAAAAAb8JAAByAAAACgoAAAAA////AA4AAAAAAAHACQAAcgAAAAoKAAAAAP///wAOAAAAAAEHwQkAAAABAAAABAAAAAQdQXBsb3Jpcy5CYXNlLk9iamVjdHMuVmFyaWFibGUDAAAAAbMKAABwAwAAAQAAAAAAAAABtAoAAHADAAAAAAAAAAAAAAG1CgAAcAMAAAAAAAAAAAAAAbYKAABwAwAAAAAAAAAAAAAPwgkAAAEAAAAIXwAAAAXDCQAAGkFwbG9yaXMuQmFzZS5PYmplY3RzLkNvbG9yBwAAABJEYXRhT2JqZWN0K21QYXJlbnQVRGF0YU9iamVjdCttQ29udGFpbmVyBW1UeXBlBG1SR0IQbVRoZW1lQ29sb3JJbmRleAxtQXV0b1VwZGF0ZWQJbU1vZGlmaWVkBAIAAAAAAB9BcGxvcmlzLkJhc2UuT2JqZWN0cy5MaW5lRm9ybWF0AwAAAAgICAEBAwAAAAn7BgAACgAAAAD///8ADgAAAAAABcQJAAAaQXBsb3Jpcy5CYXNlLk9iamVjdHMuQ29sb3IHAAAAEkRhdGFPYmplY3QrbVBhcmVudBVEYXRhT2JqZWN0K21Db250YWluZXIFbVR5cGUEbVJHQhBtVGhlbWVDb2xvckluZGV4DG1BdXRvVXBkYXRlZAltTW9kaWZpZWQEAgAAAAAAH0FwbG9yaXMuQmFzZS5PYmplY3RzLkxpbmVGb3JtYXQDAAAACAgIAQEDAAAACfsGAAAKAQAAAAAAAAD/////AAEBxQkAAHIAAAAKCgAAAAByhIwABgAAAAAAAcYJAAByAAAACgoBAAAA////AP////8AAA/HCQAAAQAAAAgCAAAAAcgJAAByAAAACgoAAAAA////AA4AAAAAAAHJCQAAcgAAAAoKAAAAAP///wAOAAAAAAEHygkAAAABAAAABAAAAAQdQXBsb3Jpcy5CYXNlLk9iamVjdHMuVmFyaWFibGUDAAAAAbcKAABwAwAAAQAAAAAAAAABuAoAAHADAAAAAAAAAAAAAAG5CgAAcAMAAAAAAAAAAAAAAboKAABwAwAAAAAAAAAAAAAPywkAAAEAAAAIXAAAAAXMCQAAGkFwbG9yaXMuQmFzZS5PYmplY3RzLkNvbG9yBwAAABJEYXRhT2JqZWN0K21QYXJlbnQVRGF0YU9iamVjdCttQ29udGFpbmVyBW1UeXBlBG1SR0IQbVRoZW1lQ29sb3JJbmRleAxtQXV0b1VwZGF0ZWQJbU1vZGlmaWVkBAIAAAAAAB9BcGxvcmlzLkJhc2UuT2JqZWN0cy5MaW5lRm9ybWF0AwAAAAgICAEBAwAAAAkYBwAACgAAAAD///8ADgAAAAAABc0JAAAaQXBsb3Jpcy5CYXNlLk9iamVjdHMuQ29sb3IHAAAAEkRhdGFPYmplY3QrbVBhcmVudBVEYXRhT2JqZWN0K21Db250YWluZXIFbVR5cGUEbVJHQhBtVGhlbWVDb2xvckluZGV4DG1BdXRvVXBkYXRlZAltTW9kaWZpZWQEAgAAAAAAH0FwbG9yaXMuQmFzZS5PYmplY3RzLkxpbmVGb3JtYXQDAAAACAgIAQEDAAAACRgHAAAKAQAAAAAAAAD/////AAEBzgkAAHIAAAAKCgAAAAByhIwABgAAAAAAAc8JAAByAAAACgoBAAAA////AP////8AAA/QCQAAAQAAAAgBAAAAAdEJAAByAAAACgoAAAAA////AA4AAAAAAAHSCQAAcgAAAAoKAAAAAP///wAOAAAAAAEH0wkAAAABAAAABAAAAAQdQXBsb3Jpcy5CYXNlLk9iamVjdHMuVmFyaWFibGUDAAAAAbsKAABwAwAAAQAAAAAAAAABvAoAAHADAAAAAAAAAAAAAAG9CgAAcAMAAAAAAAAAAAAAAb4KAABwAwAAAAAAAAAAAAAP1AkAAAEAAAAIQwAAAAXVCQAAGkFwbG9yaXMuQmFzZS5PYmplY3RzLkNvbG9yBwAAABJEYXRhT2JqZWN0K21QYXJlbnQVRGF0YU9iamVjdCttQ29udGFpbmVyBW1UeXBlBG1SR0IQbVRoZW1lQ29sb3JJbmRleAxtQXV0b1VwZGF0ZWQJbU1vZGlmaWVkBAIAAAAAAB9BcGxvcmlzLkJhc2UuT2JqZWN0cy5MaW5lRm9ybWF0AwAAAAgICAEBAwAAAAk1BwAACgAAAAD///8ADgAAAAAABdYJAAAaQXBsb3Jpcy5CYXNlLk9iamVjdHMuQ29sb3IHAAAAEkRhdGFPYmplY3QrbVBhcmVudBVEYXRhT2JqZWN0K21Db250YWluZXIFbVR5cGUEbVJHQhBtVGhlbWVDb2xvckluZGV4DG1BdXRvVXBkYXRlZAltTW9kaWZpZWQEAgAAAAAAH0FwbG9yaXMuQmFzZS5PYmplY3RzLkxpbmVGb3JtYXQDAAAACAgIAQEDAAAACTUHAAAKAQAAAAAAAAD/////AAEB1wkAAHIAAAAKCgAAAADtISUABwAAAAAAAdgJAAByAAAACgoBAAAA////AP////8AAA/ZCQAAAQAAAAgcAAAAAdoJAAByAAAACgoAAAAA////AA4AAAAAAAHbCQAAcgAAAAoKAAAAAP///wAOAAAAAAEH3AkAAAABAAAABAAAAAQdQXBsb3Jpcy5CYXNlLk9iamVjdHMuVmFyaWFibGUDAAAAAb8KAABwAwAAAQAAAAAAAAABwAoAAHADAAAAAAAAAAAAAAHBCgAAcAMAAAAAAAAAAAAAAcIKAABwAwAAAAAAAAAAAAAP3QkAAAEAAAAIQgAAAAXeCQAAGkFwbG9yaXMuQmFzZS5PYmplY3RzLkNvbG9yBwAAABJEYXRhT2JqZWN0K21QYXJlbnQVRGF0YU9iamVjdCttQ29udGFpbmVyBW1UeXBlBG1SR0IQbVRoZW1lQ29sb3JJbmRleAxtQXV0b1VwZGF0ZWQJbU1vZGlmaWVkBAIAAAAAAB9BcGxvcmlzLkJhc2UuT2JqZWN0cy5MaW5lRm9ybWF0AwAAAAgICAEBAwAAAAlSBwAACgAAAAD///8ADgAAAAAABd8JAAAaQXBsb3Jpcy5CYXNlLk9iamVjdHMuQ29sb3IHAAAAEkRhdGFPYmplY3QrbVBhcmVudBVEYXRhT2JqZWN0K21Db250YWluZXIFbVR5cGUEbVJHQhBtVGhlbWVDb2xvckluZGV4DG1BdXRvVXBkYXRlZAltTW9kaWZpZWQEAgAAAAAAH0FwbG9yaXMuQmFzZS5PYmplY3RzLkxpbmVGb3JtYXQDAAAACAgIAQEDAAAACVIHAAAKAQAAAAAAAAD/////AAEB4AkAAHIAAAAKCgAAAADtISUABwAAAAAAAeEJAAByAAAACgoBAAAA////AP////8AAA/iCQAAAQAAAAgJAAAAAeMJAAByAAAACgoAAAAA////AA4AAAAAAAHkCQAAcgAAAAoKAAAAAP///wAOAAAAAAEH5QkAAAABAAAABAAAAAQdQXBsb3Jpcy5CYXNlLk9iamVjdHMuVmFyaWFibGUDAAAAAcMKAABwAwAAAQAAAAAAAAABxAoAAHADAAAAAAAAAAAAAAHFCgAAcAMAAAAAAAAAAAAAAcYKAABwAwAAAAAAAAAAAAAP5gkAAAEAAAAIUgAAAAXnCQAAGkFwbG9yaXMuQmFzZS5PYmplY3RzLkNvbG9yBwAAABJEYXRhT2JqZWN0K21QYXJlbnQVRGF0YU9iamVjdCttQ29udGFpbmVyBW1UeXBlBG1SR0IQbVRoZW1lQ29sb3JJbmRleAxtQXV0b1VwZGF0ZWQJbU1vZGlmaWVkBAIAAAAAAB9BcGxvcmlzLkJhc2UuT2JqZWN0cy5MaW5lRm9ybWF0AwAAAAgICAEBAwAAAAlvBwAACgAAAAD///8ADgAAAAAABegJAAAaQXBsb3Jpcy5CYXNlLk9iamVjdHMuQ29sb3IHAAAAEkRhdGFPYmplY3QrbVBhcmVudBVEYXRhT2JqZWN0K21Db250YWluZXIFbVR5cGUEbVJHQhBtVGhlbWVDb2xvckluZGV4DG1BdXRvVXBkYXRlZAltTW9kaWZpZWQEAgAAAAAAH0FwbG9yaXMuQmFzZS5PYmplY3RzLkxpbmVGb3JtYXQDAAAACAgIAQEDAAAACW8HAAAKAQAAAAAAAAD/////AAEB6QkAAHIAAAAKCgAAAADtISUABwAAAAAAAeoJAAByAAAACgoBAAAA////AP////8AAA/rCQAAAQAAAAgKAAAAAewJAAByAAAACgoAAAAA////AA4AAAAAAAHtCQAAcgAAAAoKAAAAAP///wAOAAAAAAEH7gkAAAABAAAABAAAAAQdQXBsb3Jpcy5CYXNlLk9iamVjdHMuVmFyaWFibGUDAAAAAccKAABwAwAAAQAAAAAAAAAByAoAAHADAAAAAAAAAAAAAAHJCgAAcAMAAAAAAAAAAAAAAcoKAABwAwAAAAAAAAAAAAAP7wkAAAEAAAAIRwAAAAXwCQAAGkFwbG9yaXMuQmFzZS5PYmplY3RzLkNvbG9yBwAAABJEYXRhT2JqZWN0K21QYXJlbnQVRGF0YU9iamVjdCttQ29udGFpbmVyBW1UeXBlBG1SR0IQbVRoZW1lQ29sb3JJbmRleAxtQXV0b1VwZGF0ZWQJbU1vZGlmaWVkBAIAAAAAAB9BcGxvcmlzLkJhc2UuT2JqZWN0cy5MaW5lRm9ybWF0AwAAAAgICAEBAwAAAAmMBwAACgAAAAD///8ADgAAAAAABfEJAAAaQXBsb3Jpcy5CYXNlLk9iamVjdHMuQ29sb3IHAAAAEkRhdGFPYmplY3QrbVBhcmVudBVEYXRhT2JqZWN0K21Db250YWluZXIFbVR5cGUEbVJHQhBtVGhlbWVDb2xvckluZGV4DG1BdXRvVXBkYXRlZAltTW9kaWZpZWQEAgAAAAAAH0FwbG9yaXMuQmFzZS5PYmplY3RzLkxpbmVGb3JtYXQDAAAACAgIAQEDAAAACYwHAAAKAQAAAAAAAAD/////AAEB8gkAAHIAAAAKCgAAAADtISUABwAAAAAAAfMJAAByAAAACgoBAAAA////AP////8AAA/0CQAAAQAAAAgIAAAAAfUJAAByAAAACgoAAAAA////AA4AAAAAAAH2CQAAcgAAAAoKAAAAAP///wAOAAAAAAEH9wkAAAABAAAABAAAAAQdQXBsb3Jpcy5CYXNlLk9iamVjdHMuVmFyaWFibGUDAAAAAcsKAABwAwAAAQAAAAAAAAABzAoAAHADAAAAAAAAAAAAAAHNCgAAcAMAAAAAAAAAAAAAAc4KAABwAwAAAAAAAAAAAAAP+AkAAAEAAAAISAAAAAX5CQAAGkFwbG9yaXMuQmFzZS5PYmplY3RzLkNvbG9yBwAAABJEYXRhT2JqZWN0K21QYXJlbnQVRGF0YU9iamVjdCttQ29udGFpbmVyBW1UeXBlBG1SR0IQbVRoZW1lQ29sb3JJbmRleAxtQXV0b1VwZGF0ZWQJbU1vZGlmaWVkBAIAAAAAAB9BcGxvcmlzLkJhc2UuT2JqZWN0cy5MaW5lRm9ybWF0AwAAAAgICAEBAwAAAAmpBwAACgAAAAD///8ADgAAAAAABfoJAAAaQXBsb3Jpcy5CYXNlLk9iamVjdHMuQ29sb3IHAAAAEkRhdGFPYmplY3QrbVBhcmVudBVEYXRhT2JqZWN0K21Db250YWluZXIFbVR5cGUEbVJHQhBtVGhlbWVDb2xvckluZGV4DG1BdXRvVXBkYXRlZAltTW9kaWZpZWQEAgAAAAAAH0FwbG9yaXMuQmFzZS5PYmplY3RzLkxpbmVGb3JtYXQDAAAACAgIAQEDAAAACakHAAAKAQAAAAAAAAD/////AAEB+wkAAHIAAAAKCgAAAADtISUABwAAAAAAAfwJAAByAAAACgoBAAAA////AP////8AAA/9CQAAAQAAAAgHAAAAAf4JAAByAAAACgoAAAAA////AA4AAAAAAAH/CQAAcgAAAAoKAAAAAP///wAOAAAAAAEHAAoAAAABAAAABAAAAAQdQXBsb3Jpcy5CYXNlLk9iamVjdHMuVmFyaWFibGUDAAAAAc8KAABwAwAAAQAAAAAAAAAB0AoAAHADAAAAAAAAAAAAAAHRCgAAcAMAAAAAAAAAAAAAAdIKAABwAwAAAAAAAAAAAAAPAQoAAAEAAAAIRgAAAAUCCgAAGkFwbG9yaXMuQmFzZS5PYmplY3RzLkNvbG9yBwAAABJEYXRhT2JqZWN0K21QYXJlbnQVRGF0YU9iamVjdCttQ29udGFpbmVyBW1UeXBlBG1SR0IQbVRoZW1lQ29sb3JJbmRleAxtQXV0b1VwZGF0ZWQJbU1vZGlmaWVkBAIAAAAAAB9BcGxvcmlzLkJhc2UuT2JqZWN0cy5MaW5lRm9ybWF0AwAAAAgICAEBAwAAAAnGBwAACgAAAAD///8ADgAAAAAABQMKAAAaQXBsb3Jpcy5CYXNlLk9iamVjdHMuQ29sb3IHAAAAEkRhdGFPYmplY3QrbVBhcmVudBVEYXRhT2JqZWN0K21Db250YWluZXIFbVR5cGUEbVJHQhBtVGhlbWVDb2xvckluZGV4DG1BdXRvVXBkYXRlZAltTW9kaWZpZWQEAgAAAAAAH0FwbG9yaXMuQmFzZS5PYmplY3RzLkxpbmVGb3JtYXQDAAAACAgIAQEDAAAACcYHAAAKAQAAAAAAAAD/////AAEBBAoAAHIAAAAKCgAAAADtISUABwAAAAAAAQUKAAByAAAACgoBAAAA////AP////8AAA8GCgAAAQAAAAgLAAAAAQcKAAByAAAACgoAAAAA////AA4AAAAAAAEICgAAcgAAAAoKAAAAAP///wAOAAAAAAEHCQoAAAABAAAABAAAAAQdQXBsb3Jpcy5CYXNlLk9iamVjdHMuVmFyaWFibGUDAAAAAdMKAABwAwAAAQAAAAAAAAAB1AoAAHADAAAAAAAAAAAAAAHVCgAAcAMAAAAAAAAAAAAAAdYKAABwAwAAAAAAAAAAAAAPCgoAAAEAAAAIRQAAAAULCgAAGkFwbG9yaXMuQmFzZS5PYmplY3RzLkNvbG9yBwAAABJEYXRhT2JqZWN0K21QYXJlbnQVRGF0YU9iamVjdCttQ29udGFpbmVyBW1UeXBlBG1SR0IQbVRoZW1lQ29sb3JJbmRleAxtQXV0b1VwZGF0ZWQJbU1vZGlmaWVkBAIAAAAAAB9BcGxvcmlzLkJhc2UuT2JqZWN0cy5MaW5lRm9ybWF0AwAAAAgICAEBAwAAAAnjBwAACgAAAAD///8ADgAAAAAABQwKAAAaQXBsb3Jpcy5CYXNlLk9iamVjdHMuQ29sb3IHAAAAEkRhdGFPYmplY3QrbVBhcmVudBVEYXRhT2JqZWN0K21Db250YWluZXIFbVR5cGUEbVJHQhBtVGhlbWVDb2xvckluZGV4DG1BdXRvVXBkYXRlZAltTW9kaWZpZWQEAgAAAAAAH0FwbG9yaXMuQmFzZS5PYmplY3RzLkxpbmVGb3JtYXQDAAAACAgIAQEDAAAACeMHAAAKAQAAAAAAAAD/////AAEBDQoAAHIAAAAKCgAAAADtISUABwAAAAAAAQ4KAAByAAAACgoBAAAA////AP////8AAA8PCgAAAQAAAAgMAAAAARAKAAByAAAACgoAAAAA////AA4AAAAAAAERCgAAcgAAAAoKAAAAAP///wAOAAAAAAEHEgoAAAABAAAABAAAAAQdQXBsb3Jpcy5CYXNlLk9iamVjdHMuVmFyaWFibGUDAAAAAdcKAABwAwAAAQAAAAAAAAAB2AoAAHADAAAAAAAAAAAAAAHZCgAAcAMAAAAAAAAAAAAAAdoKAABwAwAAAAAAAAAAAAAPEwoAAAEAAAAIRAAAAAUUCgAAGkFwbG9yaXMuQmFzZS5PYmplY3RzLkNvbG9yBwAAABJEYXRhT2JqZWN0K21QYXJlbnQVRGF0YU9iamVjdCttQ29udGFpbmVyBW1UeXBlBG1SR0IQbVRoZW1lQ29sb3JJbmRleAxtQXV0b1VwZGF0ZWQJbU1vZGlmaWVkBAIAAAAAAB9BcGxvcmlzLkJhc2UuT2JqZWN0cy5MaW5lRm9ybWF0AwAAAAgICAEBAwAAAAkACAAACgAAAAD///8ADgAAAAAABRUKAAAaQXBsb3Jpcy5CYXNlLk9iamVjdHMuQ29sb3IHAAAAEkRhdGFPYmplY3QrbVBhcmVudBVEYXRhT2JqZWN0K21Db250YWluZXIFbVR5cGUEbVJHQhBtVGhlbWVDb2xvckluZGV4DG1BdXRvVXBkYXRlZAltTW9kaWZpZWQEAgAAAAAAH0FwbG9yaXMuQmFzZS5PYmplY3RzLkxpbmVGb3JtYXQDAAAACAgIAQEDAAAACQAIAAAKAQAAAAAAAAD/////AAEBFgoAAHIAAAAKCgAAAADtISUABwAAAAAAARcKAAByAAAACgoBAAAA////AP////8AAA8YCgAAAQAAAAggAAAAARkKAAByAAAACgoAAAAA////AA4AAAAAAAEaCgAAcgAAAAoKAAAAAP///wAOAAAAAAEHGwoAAAABAAAABAAAAAQdQXBsb3Jpcy5CYXNlLk9iamVjdHMuVmFyaWFibGUDAAAAAdsKAABwAwAAAQAAAAAAAAAB3AoAAHADAAAAAAAAAAAAAAHdCgAAcAMAAAAAAAAAAAAAAd4KAABwAwAAAAAAAAAAAAAPHAoAAAEAAAAIQQAAAAUdCgAAGkFwbG9yaXMuQmFzZS5PYmplY3RzLkNvbG9yBwAAABJEYXRhT2JqZWN0K21QYXJlbnQVRGF0YU9iamVjdCttQ29udGFpbmVyBW1UeXBlBG1SR0IQbVRoZW1lQ29sb3JJbmRleAxtQXV0b1VwZGF0ZWQJbU1vZGlmaWVkBAIAAAAAAB9BcGxvcmlzLkJhc2UuT2JqZWN0cy5MaW5lRm9ybWF0AwAAAAgICAEBAwAAAAkdCAAACgAAAAD///8ADgAAAAAABR4KAAAaQXBsb3Jpcy5CYXNlLk9iamVjdHMuQ29sb3IHAAAAEkRhdGFPYmplY3QrbVBhcmVudBVEYXRhT2JqZWN0K21Db250YWluZXIFbVR5cGUEbVJHQhBtVGhlbWVDb2xvckluZGV4DG1BdXRvVXBkYXRlZAltTW9kaWZpZWQEAgAAAAAAH0FwbG9yaXMuQmFzZS5PYmplY3RzLkxpbmVGb3JtYXQDAAAACAgIAQEDAAAACR0IAAAKAQAAAAAAAAD/////AAEBHwoAAHIAAAAKCgAAAADtISUABwAAAAAAASAKAAByAAAACgoBAAAA////AP////8AAA8hCgAAAQAAAAgZAAAAASIKAAByAAAACgoAAAAA////AA4AAAAAAAEjCgAAcgAAAAoKAAAAAP///wAOAAAAAAEHJAoAAAABAAAABAAAAAQdQXBsb3Jpcy5CYXNlLk9iamVjdHMuVmFyaWFibGUDAAAAAd8KAABwAwAAAQAAAAAAAAAB4AoAAHADAAAAAAAAAAAAAAHhCgAAcAMAAAAAAAAAAAAAAeIKAABwAwAAAAAAAAAAAAAPJQoAAAEAAAAITAAAAAUmCgAAGkFwbG9yaXMuQmFzZS5PYmplY3RzLkNvbG9yBwAAABJEYXRhT2JqZWN0K21QYXJlbnQVRGF0YU9iamVjdCttQ29udGFpbmVyBW1UeXBlBG1SR0IQbVRoZW1lQ29sb3JJbmRleAxtQXV0b1VwZGF0ZWQJbU1vZGlmaWVkBAIAAAAAAB9BcGxvcmlzLkJhc2UuT2JqZWN0cy5MaW5lRm9ybWF0AwAAAAgICAEBAwAAAAk6CAAACgAAAAD///8ADgAAAAAABScKAAAaQXBsb3Jpcy5CYXNlLk9iamVjdHMuQ29sb3IHAAAAEkRhdGFPYmplY3QrbVBhcmVudBVEYXRhT2JqZWN0K21Db250YWluZXIFbVR5cGUEbVJHQhBtVGhlbWVDb2xvckluZGV4DG1BdXRvVXBkYXRlZAltTW9kaWZpZWQEAgAAAAAAH0FwbG9yaXMuQmFzZS5PYmplY3RzLkxpbmVGb3JtYXQDAAAACAgIAQEDAAAACToIAAAKAQAAAAAAAAD/////AAEBKAoAAHIAAAAKCgAAAABGOzQACAAAAAAAASkKAAByAAAACgoBAAAA////AP////8AAA8qCgAAAQAAAAgiAAAAASsKAAByAAAACgoAAAAA////AA4AAAAAAAEsCgAAcgAAAAoKAAAAAP///wAOAAAAAAEHLQoAAAABAAAABAAAAAQdQXBsb3Jpcy5CYXNlLk9iamVjdHMuVmFyaWFibGUDAAAAAeMKAABwAwAAAQAAAAAAAAAB5AoAAHADAAAAAAAAAAAAAAHlCgAAcAMAAAAAAAAAAAAAAeYKAABwAwAAAAAAAAAAAAAPLgoAAAEAAAAISwAAAAUvCgAAGkFwbG9yaXMuQmFzZS5PYmplY3RzLkNvbG9yBwAAABJEYXRhT2JqZWN0K21QYXJlbnQVRGF0YU9iamVjdCttQ29udGFpbmVyBW1UeXBlBG1SR0IQbVRoZW1lQ29sb3JJbmRleAxtQXV0b1VwZGF0ZWQJbU1vZGlmaWVkBAIAAAAAAB9BcGxvcmlzLkJhc2UuT2JqZWN0cy5MaW5lRm9ybWF0AwAAAAgICAEBAwAAAAlXCAAACgAAAAD///8ADgAAAAAABTAKAAAaQXBsb3Jpcy5CYXNlLk9iamVjdHMuQ29sb3IHAAAAEkRhdGFPYmplY3QrbVBhcmVudBVEYXRhT2JqZWN0K21Db250YWluZXIFbVR5cGUEbVJHQhBtVGhlbWVDb2xvckluZGV4DG1BdXRvVXBkYXRlZAltTW9kaWZpZWQEAgAAAAAAH0FwbG9yaXMuQmFzZS5PYmplY3RzLkxpbmVGb3JtYXQDAAAACAgIAQEDAAAACVcIAAAKAQAAAAAAAAD/////AAEBMQoAAHIAAAAKCgAAAABGOzQACAAAAAAAATIKAAByAAAACgoBAAAA////AP////8AAA8zCgAAAQAAAAgkAAAAATQKAAByAAAACgoAAAAA////AA4AAAAAAAE1CgAAcgAAAAoKAAAAAP///wAOAAAAAAEHNgoAAAABAAAABAAAAAQdQXBsb3Jpcy5CYXNlLk9iamVjdHMuVmFyaWFibGUDAAAAAecKAABwAwAAAQAAAAAAAAAB6AoAAHADAAAAAAAAAAAAAAHpCgAAcAMAAAAAAAAAAAAAAeoKAABwAwAAAAAAAAAAAAAPNwoAAAEAAAAISQAAAAU4CgAAGkFwbG9yaXMuQmFzZS5PYmplY3RzLkNvbG9yBwAAABJEYXRhT2JqZWN0K21QYXJlbnQVRGF0YU9iamVjdCttQ29udGFpbmVyBW1UeXBlBG1SR0IQbVRoZW1lQ29sb3JJbmRleAxtQXV0b1VwZGF0ZWQJbU1vZGlmaWVkBAIAAAAAAB9BcGxvcmlzLkJhc2UuT2JqZWN0cy5MaW5lRm9ybWF0AwAAAAgICAEBAwAAAAl0CAAACgAAAAD///8ADgAAAAAABTkKAAAaQXBsb3Jpcy5CYXNlLk9iamVjdHMuQ29sb3IHAAAAEkRhdGFPYmplY3QrbVBhcmVudBVEYXRhT2JqZWN0K21Db250YWluZXIFbVR5cGUEbVJHQhBtVGhlbWVDb2xvckluZGV4DG1BdXRvVXBkYXRlZAltTW9kaWZpZWQEAgAAAAAAH0FwbG9yaXMuQmFzZS5PYmplY3RzLkxpbmVGb3JtYXQDAAAACAgIAQEDAAAACXQIAAAKAQAAAAAAAAD/////AAEBOgoAAHIAAAAKCgAAAABGOzQACAAAAAAAATsKAAByAAAACgoBAAAA////AP////8AAA88CgAAAQAAAAgdAAAAAT0KAAByAAAACgoAAAAA////AA4AAAAAAAE+CgAAcgAAAAoKAAAAAP///wAOAAAAAAEHPwoAAAABAAAABAAAAAQdQXBsb3Jpcy5CYXNlLk9iamVjdHMuVmFyaWFibGUDAAAAAesKAABwAwAAAQAAAAAAAAAB7AoAAHADAAAAAAAAAAAAAAHtCgAAcAMAAAAAAAAAAAAAAe4KAABwAwAAAAAAAAAAAAAPQAoAAAEAAAAIUAAAAAVBCgAAGkFwbG9yaXMuQmFzZS5PYmplY3RzLkNvbG9yBwAAABJEYXRhT2JqZWN0K21QYXJlbnQVRGF0YU9iamVjdCttQ29udGFpbmVyBW1UeXBlBG1SR0IQbVRoZW1lQ29sb3JJbmRleAxtQXV0b1VwZGF0ZWQJbU1vZGlmaWVkBAIAAAAAAB9BcGxvcmlzLkJhc2UuT2JqZWN0cy5MaW5lRm9ybWF0AwAAAAgICAEBAwAAAAmRCAAACgAAAAD///8ADgAAAAAABUIKAAAaQXBsb3Jpcy5CYXNlLk9iamVjdHMuQ29sb3IHAAAAEkRhdGFPYmplY3QrbVBhcmVudBVEYXRhT2JqZWN0K21Db250YWluZXIFbVR5cGUEbVJHQhBtVGhlbWVDb2xvckluZGV4DG1BdXRvVXBkYXRlZAltTW9kaWZpZWQEAgAAAAAAH0FwbG9yaXMuQmFzZS5PYmplY3RzLkxpbmVGb3JtYXQDAAAACAgIAQEDAAAACZEIAAAKAQAAAAAAAAD/////AAEBQwoAAHIAAAAKCgAAAABGOzQACAAAAAAAAUQKAAByAAAACgoBAAAA////AP////8AAA9FCgAAAQAAAAgbAAAAAUYKAAByAAAACgoAAAAA////AA4AAAAAAAFHCgAAcgAAAAoKAAAAAP///wAOAAAAAAEHSAoAAAABAAAABAAAAAQdQXBsb3Jpcy5CYXNlLk9iamVjdHMuVmFyaWFibGUDAAAAAe8KAABwAwAAAQAAAAAAAAAB8AoAAHADAAAAAAAAAAAAAAHxCgAAcAMAAAAAAAAAAAAAAfIKAABwAwAAAAAAAAAAAAAPSQoAAAEAAAAIUQAAAAVKCgAAGkFwbG9yaXMuQmFzZS5PYmplY3RzLkNvbG9yBwAAABJEYXRhT2JqZWN0K21QYXJlbnQVRGF0YU9iamVjdCttQ29udGFpbmVyBW1UeXBlBG1SR0IQbVRoZW1lQ29sb3JJbmRleAxtQXV0b1VwZGF0ZWQJbU1vZGlmaWVkBAIAAAAAAB9BcGxvcmlzLkJhc2UuT2JqZWN0cy5MaW5lRm9ybWF0AwAAAAgICAEBAwAAAAmuCAAACgAAAAD///8ADgAAAAAABUsKAAAaQXBsb3Jpcy5CYXNlLk9iamVjdHMuQ29sb3IHAAAAEkRhdGFPYmplY3QrbVBhcmVudBVEYXRhT2JqZWN0K21Db250YWluZXIFbVR5cGUEbVJHQhBtVGhlbWVDb2xvckluZGV4DG1BdXRvVXBkYXRlZAltTW9kaWZpZWQEAgAAAAAAH0FwbG9yaXMuQmFzZS5PYmplY3RzLkxpbmVGb3JtYXQDAAAACAgIAQEDAAAACa4IAAAKAQAAAAAAAAD/////AAEBTAoAAHIAAAAKCgAAAABGOzQACAAAAAAAAU0KAAByAAAACgoBAAAA////AP////8AAA9OCgAAAQAAAAgaAAAAAU8KAAByAAAACgoAAAAA////AA4AAAAAAAFQCgAAcgAAAAoKAAAAAP///wAOAAAAAAEHUQoAAAABAAAABAAAAAQdQXBsb3Jpcy5CYXNlLk9iamVjdHMuVmFyaWFibGUDAAAAAfMKAABwAwAAAQAAAAAAAAAB9AoAAHADAAAAAAAAAAAAAAH1CgAAcAMAAAAAAAAAAAAAAfYKAABwAwAAAAAAAAAAAAAPUgoAAAEAAAAITwAAAAVTCgAAGkFwbG9yaXMuQmFzZS5PYmplY3RzLkNvbG9yBwAAABJEYXRhT2JqZWN0K21QYXJlbnQVRGF0YU9iamVjdCttQ29udGFpbmVyBW1UeXBlBG1SR0IQbVRoZW1lQ29sb3JJbmRleAxtQXV0b1VwZGF0ZWQJbU1vZGlmaWVkBAIAAAAAAB9BcGxvcmlzLkJhc2UuT2JqZWN0cy5MaW5lRm9ybWF0AwAAAAgICAEBAwAAAAnLCAAACgAAAAD///8ADgAAAAAABVQKAAAaQXBsb3Jpcy5CYXNlLk9iamVjdHMuQ29sb3IHAAAAEkRhdGFPYmplY3QrbVBhcmVudBVEYXRhT2JqZWN0K21Db250YWluZXIFbVR5cGUEbVJHQhBtVGhlbWVDb2xvckluZGV4DG1BdXRvVXBkYXRlZAltTW9kaWZpZWQEAgAAAAAAH0FwbG9yaXMuQmFzZS5PYmplY3RzLkxpbmVGb3JtYXQDAAAACAgIAQEDAAAACcsIAAAKAQAAAAAAAAD/////AAEBVQoAAHIAAAAKCgAAAABGOzQACAAAAAAAAVYKAAByAAAACgoBAAAA////AP////8AAA9XCgAAAQAAAAgeAAAAAVgKAAByAAAACgoAAAAA////AA4AAAAAAAFZCgAAcgAAAAoKAAAAAP///wAOAAAAAAEHWgoAAAABAAAABAAAAAQdQXBsb3Jpcy5CYXNlLk9iamVjdHMuVmFyaWFibGUDAAAAAfcKAABwAwAAAQAAAAAAAAAB+AoAAHADAAAAAAAAAAAAAAH5CgAAcAMAAAAAAAAAAAAAAfoKAABwAwAAAAAAAAAAAAAPWwoAAAEAAAAITgAAAAVcCgAAGkFwbG9yaXMuQmFzZS5PYmplY3RzLkNvbG9yBwAAABJEYXRhT2JqZWN0K21QYXJlbnQVRGF0YU9iamVjdCttQ29udGFpbmVyBW1UeXBlBG1SR0IQbVRoZW1lQ29sb3JJbmRleAxtQXV0b1VwZGF0ZWQJbU1vZGlmaWVkBAIAAAAAAB9BcGxvcmlzLkJhc2UuT2JqZWN0cy5MaW5lRm9ybWF0AwAAAAgICAEBAwAAAAnoCAAACgAAAAD///8ADgAAAAAABV0KAAAaQXBsb3Jpcy5CYXNlLk9iamVjdHMuQ29sb3IHAAAAEkRhdGFPYmplY3QrbVBhcmVudBVEYXRhT2JqZWN0K21Db250YWluZXIFbVR5cGUEbVJHQhBtVGhlbWVDb2xvckluZGV4DG1BdXRvVXBkYXRlZAltTW9kaWZpZWQEAgAAAAAAH0FwbG9yaXMuQmFzZS5PYmplY3RzLkxpbmVGb3JtYXQDAAAACAgIAQEDAAAACegIAAAKAQAAAAAAAAD/////AAEBXgoAAHIAAAAKCgAAAABGOzQACAAAAAAAAV8KAAByAAAACgoBAAAA////AP////8AAA9gCgAAAQAAAAgfAAAAAWEKAAByAAAACgoAAAAA////AA4AAAAAAAFiCgAAcgAAAAoKAAAAAP///wAOAAAAAAEHYwoAAAABAAAABAAAAAQdQXBsb3Jpcy5CYXNlLk9iamVjdHMuVmFyaWFibGUDAAAAAfsKAABwAwAAAQAAAAAAAAAB/AoAAHADAAAAAAAAAAAAAAH9CgAAcAMAAAAAAAAAAAAAAf4KAABwAwAAAAAAAAAAAAAPZAoAAAEAAAAITQAAAAVlCgAAGkFwbG9yaXMuQmFzZS5PYmplY3RzLkNvbG9yBwAAABJEYXRhT2JqZWN0K21QYXJlbnQVRGF0YU9iamVjdCttQ29udGFpbmVyBW1UeXBlBG1SR0IQbVRoZW1lQ29sb3JJbmRleAxtQXV0b1VwZGF0ZWQJbU1vZGlmaWVkBAIAAAAAAB9BcGxvcmlzLkJhc2UuT2JqZWN0cy5MaW5lRm9ybWF0AwAAAAgICAEBAwAAAAkFCQAACgAAAAD///8ADgAAAAAABWYKAAAaQXBsb3Jpcy5CYXNlLk9iamVjdHMuQ29sb3IHAAAAEkRhdGFPYmplY3QrbVBhcmVudBVEYXRhT2JqZWN0K21Db250YWluZXIFbVR5cGUEbVJHQhBtVGhlbWVDb2xvckluZGV4DG1BdXRvVXBkYXRlZAltTW9kaWZpZWQEAgAAAAAAH0FwbG9yaXMuQmFzZS5PYmplY3RzLkxpbmVGb3JtYXQDAAAACAgIAQEDAAAACQUJAAAKAQAAAAAAAAD/////AAEBZwoAAHIAAAAKCgAAAABGOzQACAAAAAAAAWgKAAByAAAACgoBAAAA////AP////8AAA9pCgAAAQAAAAghAAAAAWoKAAByAAAACgoAAAAA////AA4AAAAAAAFrCgAAcgAAAAoKAAAAAP///wAOAAAAAAEHbAoAAAABAAAABAAAAAQdQXBsb3Jpcy5CYXNlLk9iamVjdHMuVmFyaWFibGUDAAAAAf8KAABwAwAAAQAAAAAAAAABAAsAAHADAAAAAAAAAAAAAAEBCwAAcAMAAAAAAAAAAAAAAQILAABwAwAAAAAAAAAAAAAPbQoAAAEAAAAISgAAAAVuCgAAGkFwbG9yaXMuQmFzZS5PYmplY3RzLkNvbG9yBwAAABJEYXRhT2JqZWN0K21QYXJlbnQVRGF0YU9iamVjdCttQ29udGFpbmVyBW1UeXBlBG1SR0IQbVRoZW1lQ29sb3JJbmRleAxtQXV0b1VwZGF0ZWQJbU1vZGlmaWVkBAIAAAAAAB9BcGxvcmlzLkJhc2UuT2JqZWN0cy5MaW5lRm9ybWF0AwAAAAgICAEBAwAAAAkiCQAACgAAAAD///8ADgAAAAAABW8KAAAaQXBsb3Jpcy5CYXNlLk9iamVjdHMuQ29sb3IHAAAAEkRhdGFPYmplY3QrbVBhcmVudBVEYXRhT2JqZWN0K21Db250YWluZXIFbVR5cGUEbVJHQhBtVGhlbWVDb2xvckluZGV4DG1BdXRvVXBkYXRlZAltTW9kaWZpZWQEAgAAAAAAH0FwbG9yaXMuQmFzZS5PYmplY3RzLkxpbmVGb3JtYXQDAAAACAgIAQEDAAAACSIJAAAKAQAAAAAAAAD/////AAEBcAoAAHIAAAAKCgAAAABGOzQACAAAAAAAAXEKAAByAAAACgoBAAAA////AP////8AAA9yCgAAAQAAAAgjAAAACw=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4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4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7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2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3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4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6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7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8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9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2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2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3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4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5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6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7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8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29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2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3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5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36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49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2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P7/LUECAC5BUT+OQy3bjkMABB0AAAALU3lzdGVtLkd1aWQLAAAAAl9hAl9iAl9jAl9kAl9lAl9mAl9nAl9oAl9pAl9qAl9rAAAAAAAAAAAAAAAIBwcCAgICAgICAgAAAAAAAAAAAAAAAAAAAAAACgoJHgAAAAAKCgoBAAAAAAAAAP////8AAAEfAAAAFAAAABM7PUPYifFCtcyLQomduEGecSdC2kYJQ1EfmUPYiaFDBSAAAAAVU3lzdGVtLkRyYXdpbmcuUG9pbnRGAgAAAAF4AXkAAAsLBAAAAI7QnkJnXKhDBiEAAAAQbmFHVHdJQmlTR205SElBc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D+/y1BLUuUQwEuAAAAIAAAAFGvk0MtS5RDCS8AAAAJMAAAAAkxAAAACTIAAAAAAAAAAAAAAAAAAAAJMwAAAAAAAAAAAAk0AAAACQEAAAAJAQAAAAk1AAAAAQcAAAAGAAAACQEAAAABNgAAACYAAAAAAAAAzcxMPwAAAAgBAAkBAAAACTcAAAAJOAAAAAEAAAAAAAAAAAAAAAAAAADwPwCamZmZmZnJPwAAACBBAAAJOQAAAAoJOgAAAAk7AAAACTwAAAABPQAAACAAAAD+/y1BLUuUQwE+AAAAIAAAAP7/LUECAC5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AwAAAAgBAAAAAgAAAAM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/v8tQQIALkEBaQAAACAAAABRr5NDLUuUQwlqAAAACWsAAAAAAAAACgVsAAAAFFN5c3RlbS5EcmF3aW5nLlNpemVGAgAAAAV3aWR0aAZoZWlnaHQAAAsLBAAAAAAAAAAAAAAAAW0AAABsAAAAAAAAAAAAAAAAAAAAAW4AAAAUAAAAAAAAAAAAAAAAAAAAAAAAABQAAAD/////AQEKCW8AAAABAAoADx4AAAA6JwAAAlBLAwQUAAYACAAAACEAkleNNXI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8MwDL4j8R+qXFGbjQNCaN0ODI4wifEDQuKu0ZqH4uz173GzDSE0WtB2adQk38N27NFka5psDQG1syUbFgOWgZVOabso2fv8Ob9nGUZhlWichZLtANlkfH01mu88YEZoiyWrY/QPnKOswQgsnAdLJ5ULRkT6DQvuhVyKBfDbweCOS2cj2JjHloONR1OoxKqJ2dOWtvdOCM6yx/29VqpkwvtGSxHJKG9P+UncuhO3tuqHudxVlZagnFwZslQQfhrEhsL/RSBAgx3OTigcQi8ImdxjrT3eHEJ4pdwHrSCbiRBfhKFA+bbhGxeWH84ti+489MeDPoBQWANE0xRpLYzQ9g/66TLytAwvbKSNLxH3+Ij0oICn7/kWEk2PIMZdA3jptCfSPuVaBFBvMdDbu7iB79w9PqQzbSfgpUt+5O2SpzacBeeRJkSA/xfh2GktOvdEBCFq6Oy1L0UaL2dXHdr5pUCd0OZpXo4/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/uTt5/JoE2hdJdcDJ+Ev+8noe3uZxzEFybqg1dQFSUI9CbY3ncKPprXuycQxNpbPQSPCiYk2NW3N9s3HDTnT+T6SCK7eFLgmOOzlGQcjpqKENHnThvSqDnL1MmozUF3KDdl+SjT0gPqM0+xtwrS3t6DaKaYk//3Dm3bG3wJ5nNEzxciJPE05AFEo1OHrOBPF5kR5OX4h1XjnU5o3znl7S4pluVrMNWaMN8hHcgh8mkdxxLJuVNdg9msCcP5YPAEMks5v0cGeXZx9S8AAAD//wMAUEsDBBQABgAIAAAAIQB4x8mrogIAAE0FAAAPAAAAeGwvd29ya2Jvb2sueG1spFTZbpwwFH2v1H9AvBODWWbRQDSZRR2pqqIqTR4rjzGDFS/ENhnSqv/eC3QyafOStjzg64Xjc8+5l8VlJ4X3yIzlWuV+dBH6HlNUl1wdcv/LzTaY+p51RJVEaMVy/4lZ/7J4/25x1OZ+r/W9BwDK5n7tXDNHyNKaSWIvdMMU7FTaSOJgag7INoaR0taMOSkQDsMMScKVPyLMzVswdFVxytaatpIpN4IYJogD+rbmjT2hSfoWOEnMfdsEVMsGIPZccPc0gPqepPPdQWlD9gLS7qL0hAzhK2jJqdFWV+4CoNBI8lW+UYiiaEy5WFRcsNtRdo80zSci+1uE7wli3abkjpW5n8FUH9l5AUiYtrlquYBdPM16Vqh49uLa9DNgvhSOGUUcW2nlQKhfEv+vKAP2qtZggfeZPbTcMHC+16ZYwJvQOdnba+JqrzUi99EjMajSooQ80cMR4XqG62+0xHEUm6h8dIlq1NdwGsJzUOgGOdkkdLKfVNX0AmL0QnLy2s+/EJ3QQScE0oz0i0Uf/ylTsegr+pazoz2L2k+97o6rUh9zP8BxnEGTPJ0XoiiBheNw4I6XrgZrkkn4vPaB8UPtoLlSqPmRx4trhn6A64bRU0MdLBuhDbdr4gh0X98wO/A7AvPnHAKzKyEGp9HpY0oEBfP7YTiZpBmGI1Qr2hoDBbCCndwfb2ed+2hdsYARfOK5/30y26bJbJIF0XqZBkkWTYOrKJkEyWq9Sa5mabyMpz/OZiT/Vv/hDM1O5d9Fyfz0BwHiJatIK9xOkgNbN0ApxpNsMuYINH/jmuJ4k67jAKfbOFimmzCIshgHWbLFabLCOEnxM1fZvY2qJBSxjrLhtzQ9kZTdfGlovVt7W0EOUOn4BSM4P8qITnkUPwEAAP//AwBQSwMEFAAGAAgAAAAhAI9IddvKAAAAXAEAABQAAAB4bC9zaGFyZWRTdHJpbmdzLnhtbHyQQWsCMRCF74L/Icxds2qrRZJ4EAo9a39A2J26gc1kzcxK9dc3hZZSRY/vmze8eWM2n7FTJ8wcElmYTStQSHVqAh0svO9fJy+gWDw1vkuEFs7IsHHjkWEWVXaJLbQi/VprrluMnqepRyqTj5SjlyLzQXOf0TfcIkrs9Lyqljr6QKDqNJBYWIEaKBwH3P5qZzg4I26HOSCrmdHijP5m//j8Dl9c8zdiCTJIqek7tQsXfOzYn/sbx88tT3cyn/+4Lt9xXwAAAP//AwBQSwMEFAAGAAgAAAAhAOdldbjWAAAAuAEAACMAAAB4bC93b3Jrc2hlZXRzL19yZWxzL3NoZWV0MS54bWwucmVsc6yQyWoDMQxA74X+g9E91kwOoZR4cgmFXEP6AcLWLHS8YLlp8vd1KIUMBHrpUdvTk7a7i5/VmbNMMRhodQOKg41uCoOB99Pb6gWUFAqO5hjYwJUFdt3z0/bIM5U6JOOURFVKEANjKekVUezInkTHxKFW+pg9lRrmARPZDxoY102zwXzPgG7BVAdnIB9cC+p0TXXz3+zY95PlfbSfnkN5sALPft5n+qrHVSrlgYsBrdH95OSu3uraC/jYaf2fTjb6m64sjH6Tra7/u2ng4t/dNwAAAP//AwBQSwMEFAAGAAgAAAAhANwGB756BgAA2RsAABMAAAB4bC90aGVtZS90aGVtZTEueG1s7FnLbhs3FN0X6D8Qs0+sp2MZkQNLluw2dmLYStosqRE1w4gzHJCUHe36BQUKpEU3BbrropsA7TelaNOP6CU5kkiL8iN20FdswJY4h/de3sfhJefho1cZQ2dESMrzdlS9X4kQyWM+onnSjp4N+ve2IiQVzkeY8Zy0oxmR0aOdTz95iLdVSjKCYH4ut3E7SpUqtjc2ZAzDWN7nBcnh2ZiLDCv4KpKNkcDnIDdjG7VKZXMjwzSPUI4zEPt0PKYxQQMtMtqZC+8x+JorqQdiJk61aOLNMNjRpKoRcia7TKAzzNoR6Bnx8wF5pSLEsFTwoB1VzE+0sfNwA2+Xk5haM9eZ1zc/5bxywmhSMzpFMlworfYbrQd7C/kGwNQqrtfrdXvVhTwDwHEMK7W2uDIb/a1qZy7TAdmPq7K7lWal4eMd+fUVm1udTqfZKm2xQg3Ifmys4Lcqm43dmoc3IItvruAbnd1ud9PDG5DFb67g+w9amw0fb0Apo/lkBa0D2u+X0heQMWcHQfgWwLcqJXyJgmxYZJdWMea5WpdrGX7JRR8AGsiwojlSs4KMcQxZ3MXZUFAcoQLnXMJApVbpV+rwV/82zKeGVo+3CXbm2aFYrgxpS5CMBS1UO/ocpEYO5MUU7XOV0hgd0iRVVog34wDniTvj3U/f/PnDV+iPX3589/rbMF66+D2SJ19SnF+mAAps6YC337357dc3b7//+vefXwfk7wo8dOEDmhGJnpBzdMIzWJzxjL8CMhQ3mzFIMfVm4BRkB0T3wHUu8MkMsxCuA05wcc8FcEsIuD996dl6moqpogHNj9PMAx5xzjpcBB3wWOtyPDyY5klYuZi6uBOMz0K6uzj3QtybFkCqkLOrvu+mxDPzmOFc4YTkRCH9jE8ICUx7Qann1yMaCy75WKEXFHUwDbpkQIdeIi0nHdAM4jILGQih9nxz9Bx1OAuteo+c+UgoDMwCxg8I89y4j6cKZyGRA5wx1+GHWKUhI09nInZxPakg0glhHPVGRMrQnKcC1usE/TEGOguG/YjNMh8pFJ2EZB5izr3a5pNuirMiaDPNUxf7mZxAimJ0zFUIfsT9CtHfIQ7AG+vC/ZwSL9xXE8EzoDjXpGWC6CdTEYjlPuF+Pc7YGBPDMsD4HpFnNL+M1RkFWr/A6s0PzeofkM/Dom/D5Luw7YXq6eACf6/D/QtZew9P82MChbLKnB9J+yNpR/950l5Xy3dP1Ut2BuJeduemV8/WtupjytipmjFyKE23LmFPGvVh0BwjzFlycXQrUvhYHgw8XCKwmYMEV19QlZ6muIDGvmoOnoksRScSFVxCv2+GzRGYXJBtDrUU2nlzPm3qk4tlDonVER/Z4bp7Ql2IMefVxJyC54rqWsB1ldUf3E5Z1Vq11m3+0qrGNEOK3tIWS4YYri4NBhfehGYHQYsEXt6EiwJtO5yBMCMj7Xd7ep+HRau+0xDJFI9IGSO97tUYVU2Q5rkyT6NAjPRp84oYOdpaWuwttF0nSK66xhp18+jdJkrzI/YySrpuL5Qjy93iZDk6b0etZq0ZoRgX7WgMh2v4mBUQdan7S8wSuKGKlbBpf2Uxm3RdRrMVTssq3JdYv68s2OOBQki1h2VqU8M8KlOA5eYqwNhfa4Jb72oBNtPfw4r6FiTD32YF+NEPLRmPSazcYDsj5i7EAEoq5VNFxGk6OkdDNhUnGMKvUxXWM6ISbkEMI+gvcKGnvW0e+eRcFp17jWZwdhyzIsUl3eoSnVeyhZs6XthgvllrjXmwtqDtZnE3X4op+TtaipvG/7Ol6P0EbiXqIx2BGO6TBUa6XtsRFyrlwEIF3JL1BVymGe6AbIFLYXgMSQW32ua/IGf6v605K8OUtb5ZO6EJEhT2I5UKQo6Blkz2XSGsWu5dViQrBZmMcsyVhTV7SM4IG2gO3NR7e4RSSHXDJiUNGNzF/PO/lxU0THST80/tfGwx37Q90N2BbbHs/Gv2Ig2H9J2toBXc+0xPtaCDSzb2G261lrFWVlxrXnurLeBuCe6UFeRETEXM7CsSvaEO+AlwK4I3Hra9QpDV92zjgTRBWnocQuNkB20yaVG2YSm72ztvo+BevOx0F3qhSt+n072hsxfNma/Oq8XLu8+bObv0sOdrt9MNuBqK9mKJ6vZofpAxgTHv1tzXX3z4EgK9By8apkxJ+wrhFdwkwinDvqqA4rfBNVN3/gIAAP//AwBQSwMEFAAGAAgAAAAhADR8c2G+AgAAXQcAAA0AAAB4bC9zdHlsZXMueG1sxFXJbtswEL0X6D8IvDuyHTuxDEkBvAgIkBYF7AK9UhIlE+EikFRqtei/d0hJttI0yNJDffFwOHzvcWY4Cm+OnHkPRGkqRYQmF2PkEZHJnIoyQl/3yWiBPG2wyDGTgkSoIRrdxB8/hNo0jOwOhBgPIISO0MGYaun7OjsQjvWFrIiAnUIqjg0sVenrShGca3uIM386Hl/5HFOBWoQlz14DwrG6r6tRJnmFDU0po6ZxWMjj2fK2FFLhlIHU42SGsx7bLZ7Ac5opqWVhLgDOl0VBM/JUZeAHPiDFYSGF0V4ma2EiNAVoy7C8F/K7SOwWJLCLikP9w3vADDwT5PlxmEkmlWcgNaCsdQnMSRuzxoymirrAAnPKmtYPFHDUJbSL5BSu57y+FdNKisPUxXWMwYCQipwcSR6hxZ+ce3yQHD9D2YG7Pw0klLHTvWf2iuCIQ8i/IUoksPA6e99UcD8BrdKJdIEvhJcKN5Pp/A0ntGQ0tzrKtcurKtMIJfBbbzuctNs5JeBq1uIPRMeh3yp7Qd+zbNvrIHGob2JzpJDVVKocHl7fT7Z1WlccMlIYW1JFy4MzjKzsOpXGSG6tnOJSCsys7ffHOgOwM8LYzr7Qb8UjgmPhiZon3NxCT8Bbt03Um1CqzmzxuoUlGMK14APcOQh/B+6xOBP8x+O4qlhjW7h/lq/QAu/yUYpOV3kP2OWrwVwZIPGD8j4q7qlKnh0tEfpsRy+DMdVnOq0pM1T8rbAAmh/PvQKtAXU3dpC6NjrxwEZOClwzsz9tRuhsfyI5rTkkqIv6Qh+kcRAROtt3tq8nV46EHM2dhkkG/16taIR+blfXwWabTEeL8Woxml2S+SiYrzaj+Wy92mySYDwdr38NBvs/jHX3+YH2ncyWmsHwV91tO/W7sy9Cg0Wrvx0ooBteSH8L//xdjH8DAAD//wMAUEsDBBQABgAIAAAAIQC4Qugi2gIAAJwHAAAYAAAAeGwvd29ya3NoZWV0cy9zaGVldDEueG1sjJVLb+MgEMfvK+13QNzrR9614lRtstXmsNJqn2eCcYKKjRfI69vvALFrO1GVHBwMw39+Mwzj+dOpEOjAlOayTHEcRBixksqMl9sU//71+jDDSBtSZkTIkqX4zDR+Wnz+ND9K9aZ3jBkECqVO8c6YKglDTXesIDqQFSthJZeqIAZe1TbUlWIkc5sKEQ6iaBIWhJfYKyTqHg2Z55yylaT7gpXGiygmiAF+veOVrtVO2V16mSJHiLXmaSGu/EqjF4+u+ApOldQyNwGVRejRrqN8DB87cRb0nkALot721QMIVxDchgtuzi5cjAqarLelVGQj4ERO8YjQFiW5lr+fE5QW84xDbm1BIMXyFD/HyXKCUbiYu6P7w9lRt8bIkM1PJhg1LIMKwshWxkbKN2u4hqkIJLUzsJKEGn5gSyZEitcDMNf/nBc3Bh9h46Q9rh2+unL6rtCGaLaU4i/PzA68QtlmLCd7Yd4nZ8FsOIiG8WDcLP6Qx6+Mb3cGtsCsS12SnVdMU6gmQA0GLlAqBXiEJyq4vRaQc3LywXmHbW1tzvYcRvVOvweE3B74P14gR8FkMoomlofutZFFTe92ht6pC39FDFnMlTwiKGKbo4rYKxYnQxinGJ5ewKfDmdyMBWKwCs9WIsWX2OzMi58BIYhawwEdFsN5eICU08ue5bXFqLEIAa3hA9k234cg1talqnEbdd2+eIvYIUVB3KfqLg/elztINk2tlH2I5FMKp9cgxT0kb1EjjftI3eXh4+0sgYO7kaxtN0uDHpK3aLI06Z1dd3k4u40EdXg3krXtIo17SOP6yHrpW14WbjNAY7mbwdp2GXpxv0wcwzSIur/pl4deAqGh2Zp/Lz5fPr75+NtXkS37RtSWlxoJlrvuMMVI+fYRBTA2srI9YwrJ2UgDF7p+28F3jsE1iwIojlxK07xAhxNsS+j58nlBKuHQI9U6g/tm21/zXV38BwAA//8DAFBLAwQUAAYACAAAACEAOtCFH5sCAAA8BwAAGwAAAHhsL2RyYXdpbmdzL3ZtbERyYXdpbmcxLnZtbOxVy27bMBC8F+g/EMrBFxt6IDFSRjIQpMitLdD0cQxoibaYkFxBXMtyvr5LSnbsIi0C5NJDBUsid5fLmeEIznujGd3W8a6INq3lrqylEW5mVNmCgxXOSjC8Mzp6/26shL9VwmqlSsmH1/Oa/hVrZF/Ko20MIaoRGx7HRpQ/jL4L0L63KloQlhy4q0UjtdjBBlnHZY9FJCuFIe3zqjKiOcmwSqAoojSKQ4v4pMci74aWuGskU1UR3fcJXfeYJVnESoC2cupJFlGWzpNkGp4Rox4N7exrCBZrBNZFZJJposeSofDkmfRyRElbYguPkj2Asg53mtobhbIdIDLC5DuydSsqJS0GzvBYROh3LsFaWaIHXEQtjfbEjpgcaB1TcmmSXURsWHh2wnMAMWnAKVRguVg60BuUV56dEe1a2ZmWK+TzywavxgBCw9OE5ltVYc3T7JzGtVTrGnnm408zZSvZ8zS06ZRTS6UV7nitqkraK+Ngtm1FMwvbc/QrJ2yltC5BQ1tEZyu6ZOpZk1ASDVTEWWwQDkr6ajomKs+e68NJexlJuQq2DOyg3dKVm1bSIY+aHZT+TVULVj6fBZLLltCzUSSPulJeeFJqJjRyD2jizcVYXqluX+jXUV6tLffaTRZ5TNlQl8cdH9sO857faH/UH8mr7Mvygbp/Cwf8GXC0Dct7/gk6+VNhfSO1dgNLH74jh74QvrZlDe0AjKVTll5MWUIvurMpu/AR+n3I454fl1LDa2J0S8ouboV2MhTsIwPNnn+F7SL1GT/YB2/INcYuEh8fxz4Vpgd+w2c4uvWPTp2/0alplp5aNTtyqnfx3qk+vndq9t+p/4RT55fBqeTS8+BV8ukbbBrs+IJNg31fa9OY/jIXvwAAAP//AwBQSwMEFAAGAAgAAAAhACAThA8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zU7DMBCE70i8g+V74rgtFKwklQD1RAUSrUDcLHvTWsQ/sg1p3x43LaGoHFcz+2lmt5xtdYu+wAdlTYVpXmAERlipzLrCq+U8u8EoRG4kb62BCu8g4Fl9eVEKx4T18OytAx8VBJRIJjDhKryJ0TFCgtiA5iFPDpPExnrNYxr9mjguPvgayKgoromGyCWPnOyBmRuI+IiUYkC6T9/2ACkItKDBxEBoTsmvN4LX4d+FXjlxahV3LnU6xj1lS3EQB/c2qMHYdV3ejfsYKT8lb4vHl75qpsz+VgJwXUrBhAcera9Lcjqkw7U8xEW6caNA3u3qhRLeBttE9NQ0SgBaBfAlOTcmaN+B6eMySrHYocSP9Dq+f1jOcT0q6DSjRVbcLumEXU3ZpHjfB/kLSNnOHll/AwAA//8DAFBLAwQUAAYACAAAACEA31I7ohIBAAAtAgAAEAAAAHhsL2NvbW1lbnRzMS54bWzEUMtOwzAQvCPxD9beqdMeUEGxq3IoQuKARPkAE28aS35EXrdK+Xq2ScOBEzcky/KMZ2dGW2+G4MUJM7kUFSwXFQiMTbIuHhR87Hd3axBUTLTGp4gKzkiw0bc3dZNCwFhIsEEkBV0p/aOU1HQYDC1Sj5F/2pSDKQzzQVKf0VjqEEvwclVV9zIYF0HX5li6lGl+CKlr+cNdg14dFT2nioytgqcliEn2YhVUbFRwYFHm88bX58WIvsTJeAUPcEFN8ikLFy0OyDNrdmA271Isk2xvuhTMyLYmOH+e6NXIyNG26Oecjr2wSE12feHNUS05V3KmnCrIa+tfjbfs8y+N3zE7pD9WnstPK58R6W8AAAD//wMAUEsDBBQABgAIAAAAIQBepPUAiwEAAA0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W/bMAyG7wP2HwzdGzndB4ZAVlG0G3pYsQBJuzMn07FQRTJE1kj260fbaOqsO+3Gj1fko1cyV4d9KHrM5FOs1HJRqgKjS7WPu0o9bL9dfFEFMcQaQopYqSOSurLv35l1Th1m9kiFjIhUqZa5W2lNrsU90ELaUTpNyntgSfNOp6bxDm+Te95jZH1Zlp81HhhjjfVFdxqopomrnv93aJ3cwEeP22MnwNZcd13wDlhuae+9y4lSw8U9OB85UVt8PTgMRs9lRjg36J6z56MtjZ6nZuMg4I2ssA0EQqNfC+YOYbBvDT6TNT2venScckH+txh4qYpfQDiAVaqH7CGyAA6yKRnj0BFn+zPlJ2oRmYwWwVQcw7l2HvuPdjkKJDgXDgMmEGmcI249B6QfzRoy/4N4OSceGSbeCee6Cyl7ugWGN5DjvWXdXwu++/hED902ySF8MfC8aDYtZKzF85PBp4K5E+9yGIbctBB3WL9o3jaGh3+cfrddflqUH0p5yVnN6Nd/bP8AAAD//wMAUEsBAi0AFAAGAAgAAAAhAJJXjTVyAQAAcAUAABMAAAAAAAAAAAAAAAAAAAAAAFtDb250ZW50X1R5cGVzXS54bWxQSwECLQAUAAYACAAAACEAUHxOwfMAAABMAgAACwAAAAAAAAAAAAAAAACrAwAAX3JlbHMvLnJlbHNQSwECLQAUAAYACAAAACEAjJbFbvMAAAC6AgAAGgAAAAAAAAAAAAAAAADPBgAAeGwvX3JlbHMvd29ya2Jvb2sueG1sLnJlbHNQSwECLQAUAAYACAAAACEAeMfJq6ICAABNBQAADwAAAAAAAAAAAAAAAAACCQAAeGwvd29ya2Jvb2sueG1sUEsBAi0AFAAGAAgAAAAhAI9IddvKAAAAXAEAABQAAAAAAAAAAAAAAAAA0QsAAHhsL3NoYXJlZFN0cmluZ3MueG1sUEsBAi0AFAAGAAgAAAAhAOdldbjWAAAAuAEAACMAAAAAAAAAAAAAAAAAzQwAAHhsL3dvcmtzaGVldHMvX3JlbHMvc2hlZXQxLnhtbC5yZWxzUEsBAi0AFAAGAAgAAAAhANwGB756BgAA2RsAABMAAAAAAAAAAAAAAAAA5A0AAHhsL3RoZW1lL3RoZW1lMS54bWxQSwECLQAUAAYACAAAACEANHxzYb4CAABdBwAADQAAAAAAAAAAAAAAAACPFAAAeGwvc3R5bGVzLnhtbFBLAQItABQABgAIAAAAIQC4Qugi2gIAAJwHAAAYAAAAAAAAAAAAAAAAAHgXAAB4bC93b3Jrc2hlZXRzL3NoZWV0MS54bWxQSwECLQAUAAYACAAAACEAOtCFH5sCAAA8BwAAGwAAAAAAAAAAAAAAAACIGgAAeGwvZHJhd2luZ3Mvdm1sRHJhd2luZzEudm1sUEsBAi0AFAAGAAgAAAAhACAThA84AQAAFQIAABEAAAAAAAAAAAAAAAAAXB0AAGRvY1Byb3BzL2NvcmUueG1sUEsBAi0AFAAGAAgAAAAhAN9SO6ISAQAALQIAABAAAAAAAAAAAAAAAAAAyx8AAHhsL2NvbW1lbnRzMS54bWxQSwECLQAUAAYACAAAACEAXqT1AIsBAAANAwAAEAAAAAAAAAAAAAAAAAALIQAAZG9jUHJvcHMvYXBwLnhtbFBLBQYAAAAADQANAFgDAADMIw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KEEGcAAAAAVBcmlhbAZxAAAAFu+8re+8syDvvLDjgrTjgrfjg4Pjgq8JcgAAAAEACXMAAAAHIwAAAAABAAAAEQAAAAQUU3lzdGVtLkRyYXdpbmcuQ29sb3IEAAAABXQAAAAUU3lzdGVtLkRyYXdpbmcuQ29sb3IEAAAABXZhbHVlBXN0YXRlCmtub3duQ29sb3IEbmFtZQAAAAEJBwcEAAAAAAAAAAAAAAAAAAAACgF1AAAAdAAAAAAAAP//////AgAAAAoBdgAAAHQAAAD//////////wIAAAAKAXcAAAB0AAAATkEi//////8CAAAACgF4AAAAdAAAAN7c2///////AgAAAAoBeQAAAHQAAAB+aT///////wIAAAAKAXoAAAB0AAAAjIRy//////8CAAAACgF7AAAAdAAAACUh7f//////AgAAAAoBfAAAAHQAAAA0O0b//////wIAAAAKAX0AAAB0AAAAdJjD//////8CAAAACgF+AAAAdAAAAB6U9///////AgAAAAoBfwAAAHQAAAAelPf//////wIAAAAKAYAAAAB0AAAAJSHt//////8CAAAACgGBAAAAdAAAAAAAAP//////AgAAAAoBggAAAHQAAAD//////////wIAAAAKAYMAAAB0AAAATkEi//////8CAAAACgGEAAAAdAAAAN7c2///////AgAAAAoEJAAAAJgBU3lzdGVtLkNvbGxlY3Rpb25zLkdlbmVyaWMuTGlzdGAxW1tBcGxvcmlzLkJhc2UuT2JqZWN0cy5EYXRhT2JqZWN0LCBBcGxvcmlzLkJhc2UsIFZlcnNpb249NC4yLjAuMTkwOC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i4wLjE5MDg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i4wLjE5MDgsIEN1bHR1cmU9bmV1dHJhbCwgUHVibGljS2V5VG9rZW49MTZmYzEzYTIyNmMwZTk1MV1dAwAAAJEBU3lzdGVtLkNvbGxlY3Rpb25zLkdlbmVyaWMuTGlzdGAxW1tBcGxvcmlzLkNoYXJ0LlZhbHVlTGlu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HAAAACYgAAAAJBgAAAAkBAAAACYkAAAAFKAAAAJsBQXBsb3Jpcy5CYXNlLk9iamVjdHMuRGF0YU9iamVjdENvbGxlY3Rpb25gMVtbQXBsb3Jpcy5DaGFydC5BeGlzQnJlYWs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IuMC4xOTA4LCBDdWx0dXJlPW5ldXRyYWwsIFB1YmxpY0tleVRva2VuPTE2ZmMxM2EyMjZjMGU5NTFdXQMAAACRAVN5c3RlbS5Db2xsZWN0aW9ucy5HZW5lcmljLkxpc3RgMVtbQXBsb3Jpcy5DaGFydC5BeGlzQnJlYW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i4wLjE5MDgsIEN1bHR1cmU9bmV1dHJhbCwgUHVibGljS2V5VG9rZW49MTZmYzEzYTIyNmMwZTk1MV1dAwAAAJABU3lzdGVtLkNvbGxlY3Rpb25zLkdlbmVyaWMuTGlzdGAxW1tBcGxvcmlzLkNoYXJ0LlRpY2tNYXJ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/v8tQS1LlEMBkgAAACAAAABRr5NDLUuUQwmTAAAAuAEAAP////8BAQoJlAAAAAEACgAHMAAAAAABAAAABQAAAAQVU3lzdGVtLkRyYXdpbmcuUG9pbnRGBAAAAAGVAAAAIAAAAFEvlUMtS5RDAZYAAAAgAAAA/v8tQRmQnEMBlwAAACAAAABRHxlDGZCcQwGYAAAAIAAAAFGvk0MZkJxDAZkAAAAgAAAAUS+VQy3LlkMHMQAAAAABAAAABQAAAAQXQXBsb3Jpcy5CYXNlLkFuY2hvck1vZGUDAAAABZoAAAAXQXBsb3Jpcy5CYXNlLkFuY2hvck1vZGUBAAAAB3ZhbHVlX18ACAMAAAAEAAAAAZsAAACaAAAABQAAAAGcAAAAmgAAAAMAAAABnQAAAJoAAAAGAAAAAZ4AAACaAAAABQAAAA8yAAAABQAAAAEAAAAAAQUzAAAAFUFwbG9yaXMuQmFzZS5VSS5MYWJlbB0AAAAPbUFuY2hvclBvc2l0aW9uC21BbmNob3JNb2RlD21BZGRJbm5lck1hcmdpbhZtT2Zmc2V0RGlyZWN0aW9uQW5jaG9yF21PZmZzZXRPcnRob2dvbmFsQW5jaG9yC21UZXh0Rm9ybWF0CW1Sb3RhdGlvbgptQmFja0NvbG9yDW1Vc2VCYWNrQ29sb3IObVVzZUJhY2tncm91bmQRbUN1c3Rvb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AAAAABwIAAAM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AZ8AAAAgAAAAUS+VQy1LlEMBoAAAAJoAAAAEAAAAAAAAAAAAAAAACaEAAAAAAAAACaIAAAAAAAAFowAAACpBcGxvcmlzLkJhc2UuVUkuTGFiZWwrTGluZUFsaWdubWVudE9wdGlvbnMBAAAAB3ZhbHVlX18ACAMAAAAAAAAAAaQAAABsAAAAAAAAAAAAAAABpQAAABQAAAAAAAAAAAAAAAAAAAAAAAAAAAAAAAamAAAADUNhdGVnb3J5IGF4aXMKCacAAAAJpgAAAOQCAAD/////AAEKCagAAAABAAoA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BrEAAAABJQ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xAAAA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BPAAAACwAAAAKCbIAAAAJswAAAAkHAAAACQEAAAAJtAAAAAE/AAAALwAAAAG1AAAAIAAAAP7/LUEtS5RDAbYAAAAgAAAA/v8tQQIALkEJtwAAALgBAAD/////AAEKCbgAAAABAAoAB0AAAAAAAQAAAAUAAAAEFVN5c3RlbS5EcmF3aW5nLlBvaW50RgQAAAABuQAAACAAAAD+/y1BBAD8QAG6AAAAIAAAAPz/+0AtS5RDAbsAAAAgAAAA/P/7QC27GUMBvAAAACAAAAD8//tAAgAuQQG9AAAAIAAAAPz/+0AEAPxAB0EAAAAAAQAAAAUAAAAEF0FwbG9yaXMuQmFzZS5BbmNob3JNb2RlAwAAAAG+AAAAmgAAAAEAAAABvwAAAJoAAAAIAAAAAcAAAACaAAAAAgAAAAHBAAAAmgAAAAYAAAABwgAAAJoAAAAHAAAAD0IAAAAFAAAAAQAAAAABAUMAAAAzAAAAAcMAAAAgAAAA/v8tQQQA/EABxAAAAJoAAAABAAAAAAAAAAAAAAAACcUAAAAAAAAACcYAAAAAAAABxwAAAKMAAAAAAAAAAcgAAABsAAAAAAAAAAAAAAAByQAAABQAAAAAAAAAAAAAAAAAAAAAAAAAAAAAAAbKAAAAClZhbHVlIGF4aXMKCcsAAAAJygAAAOQCAAD/////AAEKCcwAAAABAAoAAUQAAAAkAAAACc0AAAAGAAAABgAAAAFFAAAAJQAAAAnOAAAAAgAAAAIAAAAHRgAAAAABAAAAAAAAAAQuQXBsb3Jpcy5DaGFydC5Db2x1bW5PcmllbnRlZENoYXJ0K1VudXNlZFNlcmllcwIAAAAERwAAAJcBU3lzdGVtLkNvbGxlY3Rpb25zLkdlbmVyaWMuTGlzdGAxW1tBcGxvcmlzLkNoYXJ0LkNoYXJ0RGF0YVNlcmllcywgQXBsb3Jpcy5DaGFydCwgVmVyc2lvbj00LjIuMC4xOTA4LCBDdWx0dXJlPW5ldXRyYWwsIFB1YmxpY0tleVRva2VuPTE2ZmMxM2EyMjZjMGU5NTFdXQMAAAAGX2l0ZW1zBV9zaXplCF92ZXJzaW9uBAAAH0FwbG9yaXMuQ2hhcnQuQ2hhcnREYXRhU2VyaWVzW10CAAAACAgJzwAAAAUAAAAVAAAAAUgAAAAkAAAACdAAAAAFAAAABQAAAAFJAAAAJQAAAAnRAAAAAAAAAAAAAAAESgAAAJwBU3lzdGVtLkNvbGxlY3Rpb25zLkdlbmVyaWMuTGlzdGAxW1tBcGxvcmlzLkNoYXJ0LkFubm90YXRpb25EYXRhU2VyaWVzLCBBcGxvcmlzLkNoYXJ0LCBWZXJzaW9uPTQuMi4wLjE5MDg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yLjAuMTkwOC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IuMC4xOTA4LCBDdWx0dXJlPW5ldXRyYWwsIFB1YmxpY0tleVRva2VuPTE2ZmMxM2EyMjZjMGU5NTFdXQMAAAAGX2l0ZW1zBV9zaXplCF92ZXJzaW9uBAAAHkFwbG9yaXMuQ2hhcnQuQ2hhcnREYXRhR3JvdXBbXQIAAAAICAnVAAAAAgAAAAQAAAABUQAAACQAAAAJ1gAAAAIAAAAEAAAAAVIAAAAlAAAACdEAAAAAAAAAAAAAAARTAAAAkAFTeXN0ZW0uQ29sbGVjdGlvbnMuR2VuZXJpYy5MaXN0YDFbW0FwbG9yaXMuQ2hhcnQuRGVsdGFCYXIsIEFwbG9yaXMuQ2hhcnQsIFZlcnNpb249NC4yLjAuMTkwOC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i4wLjE5MDg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IuMC4xOTA4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i4wLjE5MDg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IuMC4xOTA4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///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/////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IuMC4xOTA4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IuMC4xOTA4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i4wLjE5MDgsIEN1bHR1cmU9bmV1dHJhbCwgUHVibGljS2V5VG9rZW49MTZmYzEzYTIyNmMwZTk1MV1dAwAAAAZfaXRlbXMFX3NpemUIX3ZlcnNpb24EAAAYQXBsb3Jpcy5DaGFydC5UaWNrTWFya1tdAgAAAAgICeMAAAAAAAAAAAAAAAGPAAAAJAAAAAnTAAAAAAAAAAAAAAABkAAAACUAAAAJ0QAAAAAAAAAAAAAAAZMAAABqAAAACgoAAABAPwnkAAAACeUAAAABAAAA/v///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KEEJcAAAAAlxAAAACecAAAABAAnoAAAAAaIAAAByAAAACgoBAAAAAAAAAP////8AAQSn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AAAAALgAAAAGzAAAAJAAAAAnsAAAAAAAAAC4AAAABtAAAACUAAAAJ0QAAAAAAAAAAAAAAAbcAAABqAAAACgoAAABAPwntAAAACe4AAAABAAAA/v///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KEEJcAAAAAlxAAAACfAAAAABAAnxAAAAAcYAAAByAAAACgoBAAAAAAAAAP////8AAQHLAAAApwAAAAnpAAAAAAAAAAAAAAABzAAAAG8AAAAJ8gAAAAoHzQAAAAABAAAACAAAAAQfQXBsb3Jpcy5CYXNlLk9iamVjdHMuRGF0YU9iamVjdAMAAAAJOQAAAAk6AAAACTsAAAAJPAAAAAk3AAAACTgAAAAKCgfOAAAAAAEAAAAEAAAABBxBcGxvcmlzLkJhc2UuVUkuVmlzdWFsT2JqZWN0AwAAAAk/AAAACUMAAAAKCgfPAAAAAAEAAAAIAAAABB1BcGxvcmlzLkNoYXJ0LkNoYXJ0RGF0YVNlcmllcwIAAAAJ8wAAAAn0AAAACfUAAAAJ9gAAAAn3AAAADQMH0AAAAAABAAAACAAAAAQfQXBsb3Jpcy5CYXNlLk9iamVjdHMuRGF0YU9iamVjdAMAAAAJ8wAAAAn0AAAACfUAAAAJ9gAAAAn3AAAADQM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QAAAAEHEFwbG9yaXMuQ2hhcnQuQ2hhcnREYXRhR3JvdXACAAAACfgAAAAJ+QAAAAoKB9YAAAAAAQAAAAQAAAAEH0FwbG9yaXMuQmFzZS5PYmplY3RzLkRhdGFPYmplY3QDAAAACfgAAAAJ+QAAAAoKB9cAAAAAAQAAAAAAAAAEFkFwbG9yaXMuQ2hhcnQuRGVsdGFCYXICAAAAB9gAAAAAAQAAAAAAAAAEGUFwbG9yaXMuQ2hhcnQuRGVsdGFCcmlkZ2UCAAAAB9kAAAAAAQAAAAAAAAAEGUFwbG9yaXMuQ2hhcnQuR3Jvd3RoQXJyb3cCAAAAB9oAAAAAAQAAAAAAAAAEIEFwbG9yaXMuQ2hhcnQuV2F0ZXJmYWxsQ29ubmVjdG9yAgAAAAfbAAAAAAEAAAAAAAAABB5BcGxvcmlzLkNoYXJ0LkVsZW1lbnRDb25uZWN0b3ICAAAAAdwAAAByAAAACgoAAAAAAAAAAA0AAAAAAQHdAAAAcgAAAAoKAQAAAAAAAAD/////AAEB3gAAAHIAAAAKCgEAAAD///8A/////wABAd8AAAByAAAACgoBAAAAAAAAAP////8AAQ/gAAAAAQAAAAgAAAAAB+EAAAAAAQAAAAAAAAAEF0FwbG9yaXMuQ2hhcnQuVmFsdWVMaW5lAgAAAAfiAAAAAAEAAAAAAAAABBdBcGxvcmlzLkNoYXJ0LkF4aXNCcmVhawIAAAAH4wAAAAABAAAAAAAAAAQWQXBsb3Jpcy5DaGFydC5UaWNrTWFyawIAAAAF5AAAABpBcGxvcmlzLkJhc2UuT2JqZWN0cy5Db2xvcgcAAAASRGF0YU9iamVjdCttUGFyZW50FURhdGFPYmplY3QrbUNvbnRhaW5lcgVtVHlwZQRtUkdCEG1UaGVtZUNvbG9ySW5kZXgMbUF1dG9VcGRhdGVkCW1Nb2RpZmllZAQCAAAAAAAfQXBsb3Jpcy5CYXNlLk9iamVjdHMuTGluZUZvcm1hdAMAAAAICAgBAQMAAAAJkwAAAAoAAAAAAAAAAA0AAAAAAAXlAAAAGkFwbG9yaXMuQmFzZS5PYmplY3RzLkNvbG9yBwAAABJEYXRhT2JqZWN0K21QYXJlbnQVRGF0YU9iamVjdCttQ29udGFpbmVyBW1UeXBlBG1SR0IQbVRoZW1lQ29sb3JJbmRleAxtQXV0b1VwZGF0ZWQJbU1vZGlmaWVkBAIAAAAAAB9BcGxvcmlzLkJhc2UuT2JqZWN0cy5MaW5lRm9ybWF0AwAAAAgICAEBAwAAAAmTAAAACgEAAAAAAAAA/////wABD+YAAAABAAAACDwAAAAB5wAAAHIAAAAKCgAAAAAAAAAADQAAAAABAegAAAByAAAACgoBAAAAAAAAAP////8AAQfpAAAAAAEAAAAAAAAABB1BcGxvcmlzLkJhc2UuT2JqZWN0cy5WYXJpYWJsZQMAAAAP6gAAAAEAAAAIAAAAAAfrAAAAAAEAAAAQAAAABBZBcGxvcmlzLkNoYXJ0LlRpY2tNYXJrAgAAAA0QB+wAAAAAAQAAABAAAAAEH0FwbG9yaXMuQmFzZS5PYmplY3RzLkRhdGFPYmplY3QDAAAADRAF7QAAABpBcGxvcmlzLkJhc2UuT2JqZWN0cy5Db2xvcgcAAAASRGF0YU9iamVjdCttUGFyZW50FURhdGFPYmplY3QrbUNvbnRhaW5lcgVtVHlwZQRtUkdCEG1UaGVtZUNvbG9ySW5kZXgMbUF1dG9VcGRhdGVkCW1Nb2RpZmllZAQCAAAAAAAfQXBsb3Jpcy5CYXNlLk9iamVjdHMuTGluZUZvcm1hdAMAAAAICAgBAQMAAAAJtwAAAAoAAAAAAAAAAA0AAAAAAAXuAAAAGkFwbG9yaXMuQmFzZS5PYmplY3RzLkNvbG9yBwAAABJEYXRhT2JqZWN0K21QYXJlbnQVRGF0YU9iamVjdCttQ29udGFpbmVyBW1UeXBlBG1SR0IQbVRoZW1lQ29sb3JJbmRleAxtQXV0b1VwZGF0ZWQJbU1vZGlmaWVkBAIAAAAAAB9BcGxvcmlzLkJhc2UuT2JqZWN0cy5MaW5lRm9ybWF0AwAAAAgICAEBAwAAAAm3AAAACgEAAAAAAAAA/////wABD+8AAAABAAAACAAAAAAB8AAAAHIAAAAKCgAAAAAAAAAADQAAAAABAfEAAAByAAAACgoBAAAAAAAAAP////8AAQ/yAAAAAQAAAAg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yLjAuMTkwOC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H6AAAAEwAAAAAAAAACAAAA/////wkHAAAACfsAAAAG/AAAAAhTZXJpZXMgMQoKAAAAAAAAAAAAAAAACgoACf0AAAAJ/gAAAAn/AAAAAAAAAAAAAAAAAAAAAAAAAAAACQABAAAJAQAAAAkBAAAACQEBAAAB9AAAAPMAAAAJAQAAAAECAQAAEwAAAAAAAAADAAAA/////wkHAAAACQMBAAAGBAEAAAhTZXJpZXMgMgoKAAAAAAAAAAAAAAAACgoACQUBAAAJBgEAAAkHAQAAAAAAAAABAAAAAAAAAAAAAAAACQgBAAAJAQAAAAkBAAAACQkBAAAB9QAAAPMAAAAJAQAAAAEKAQAAEwAAAAAAAAAEAAAA/////wkHAAAACQsBAAAGDAEAAAhTZXJpZXMgMwoKAAAAAAAAAAAAAAAACgoACQ0BAAAJDgEAAAkPAQAAAAAAAAACAAAAAAAAAAAAAAAACRABAAAJAQAAAAkBAAAACREBAAAB9gAAAPMAAAAJAQAAAAESAQAAEwAAAAAAAAAFAAAA/////wkHAAAACRMBAAAGFAEAAAhTZXJpZXMgNAoKAAAAAAAAAAAAAAAACgoACRUBAAAJFgEAAAkXAQAAAAAAAAADAAAAAAAAAAAAAAAACRgBAAAJAQAAAAkBAAAACRkBAAAB9wAAAPMAAAAJAQAAAAEaAQAAEwAAAAAAAAAGAAAA/////wkHAAAACRsBAAAGHAEAAAhTZXJpZXMgNQoKAAAAAAAAAAAAAAAACgoACR0BAAAJHgEAAAkfAQAAAAAAAAAEAAAAAAAAAAAAAAAACSABAAAJAQAAAAkBAAAACSEBAAAF+A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YiAQAAEkluc3RpdHV0aW9uYWwgU2l6ZQAFIwEAAB5BcGxvcmlzLkNoYXJ0LkNoYXJ0R3JvdXBBbmNob3IBAAAAB3ZhbHVlX18ACAIAAAAAAAAACgAAAAABAAAAAQAAAAkkAQAACSUBAAAJJgEAAAoJBwAAAAknAQAACQEAAAAJAQAAAAkoAQAAAfkAAAD4AAAACQEAAAAGKQEAABJJbnN0aXR1dGlvbmFsIFR5cGUAASoBAAAjAQAAAAAAAAoAAAAAAQAAAAEAAAAJKwEAAAksAQAACS0BAAAKCQcAAAAJLgEAAAkBAAAACQEAAAAJLwEAAAX7AA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kwAQAACTEBAAAJ8wAAAAkBAAAACTIBAAAF/QA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UzAQAAK0FwbG9yaXMuQ2hhcnQuQ29ubmVjdGVkTGFiZWwrZUNvbm5lY3Rvck1vZGUBAAAAB3ZhbHVlX18ACAIAAAABAAAABTQBAAA2QXBsb3Jpcy5DaGFydC5Db25uZWN0ZWRMYWJlbCtlQW5nbGVkQ29ubmVjdG9yRGlyZWN0aW9uAQAAAAd2YWx1ZV9fAAgCAAAAAAAAAAE1AQAAFAAAADDLNkMCAF5BJM+lQvjabkIFNgEAAC1BcGxvcmlzLkNoYXJ0LkNvbm5lY3RlZExhYmVsK2VUYXJnZXRBcmVhU2hhcGUBAAAAB3ZhbHVlX18ACAIAAAAAAAAAAAAQQQEBNwEAACAAAABh2YhDfO0uQgE4AQAAmgAAAAQAAAAAAAAAAAAAAAAJOQEAAAAAAAAJOgEAAAAAAAE7AQAAowAAAAAAAAABPAEAAGwAAAAAAGRCAACIQQE9AQAAFAAAAAAAAAAAAAAAAAAAAAAAAABeutk/CfwAAAAKCT4BAAAGPwEAAAAgAwAA/////wABCglAAQAAAQAKAAf+AAAAAAEAAAACAAAABBVTeXN0ZW0uRHJhd2luZy5Qb2ludEYEAAAAAUEBAAAgAAAAYdmIQ3ztLkIBQgEAACAAAAB9LwJCBpLrQQf/AAAAAAEAAAACAAAABBdBcGxvcmlzLkJhc2UuQW5jaG9yTW9kZQMAAAABQwEAAJoAAAAEAAAAAUQBAACaAAAAAgAAAAEAAQAAJAAAAAlFAQAAAQAAAAEAAAABAQEAACUAAAAJRgEAAAEAAAABAAAAAQMBAAD7AAAACglHAQAACUgBAAAJ9AAAAAkBAAAACUkBAAABBQEAAP0AAAAKWAIAAAFKAQAAMwEAAAEAAAABSwEAADQBAAAAAAAAAUwBAAAUAAAAMMs2Q3wtn0Ikz6VCCNvSQgFNAQAANgEAAAAAAAAAABBBAQFOAQAAIAAAAGHZiEOATQRDAU8BAACaAAAABAAAAAAAAAAAAAAAAAlQAQAAAAAAAAlRAQAAAAAAAVIBAACjAAAAAAAAAAFTAQAAbAAAAAAAZEIAAIhBAVQBAAAUAAAAAAAAAAAAAAAAAAAAAAAAAF662T8JBAEAAAoJVQEAAAk/AQAAIAMAAP////8AAQoJVgEAAAEACgAHBgEAAAABAAAAAgAAAAQVU3lzdGVtLkRyYXdpbmcuUG9pbnRGBAAAAAFXAQAAIAAAAGHZiEOATQRDAVgBAAAgAAAAfS8CQnZ290IHBwEAAAABAAAAAgAAAAQXQXBsb3Jpcy5CYXNlLkFuY2hvck1vZGUDAAAAAVkBAACaAAAABAAAAAFaAQAAmgAAAAIAAAABCAEAACQAAAAJWwEAAAEAAAABAAAAAQkBAAAlAAAACVwBAAABAAAAAQAAAAELAQAA+wAAAAoJXQEAAAleAQAACfUAAAAJAQAAAAlfAQAAAQ0BAAD9AAAAClgCAAABYAEAADMBAAABAAAAAWEBAAA0AQAAAAAAAAFiAQAAFAAAADDLNkNCBD9DJM+lQjAkzUIBYwEAADYBAAAAAAAAAAAQQQEBZAEAACAAAABh2YhDTk1yQwFlAQAAmgAAAAQAAAAAAAAAAAAAAAAJZgEAAAAAAAAJZwEAAAAAAAFoAQAAowAAAAAAAAABaQEAAGwAAAAAAGRCAACIQQFqAQAAFAAAAAAAAAAAAAAAAAAAAAAAAABeutk/CQwBAAAKCWsBAAAJPwEAACADAAD/////AAEKCWwBAAABAAoABw4BAAAAAQAAAAIAAAAEFVN5c3RlbS5EcmF3aW5nLlBvaW50RgQAAAABbQEAACAAAABh2YhDTk1yQwFuAQAAIAAAAH0vAkJXTV5DBw8BAAAAAQAAAAIAAAAEF0FwbG9yaXMuQmFzZS5BbmNob3JNb2RlAwAAAAFvAQAAmgAAAAQAAAABcAEAAJoAAAACAAAAARABAAAkAAAACXEBAAABAAAAAQAAAAERAQAAJQAAAAlyAQAAAQAAAAEAAAABEwEAAPsAAAAKCXMBAAAJdAEAAAn2AAAACQEAAAAJdQEAAAEVAQAA/QAAAApYAgAAAXYBAAAzAQAAAQAAAAF3AQAANAEAAAAAAAABeAEAABQAAAAwyzZDLUuUQyTPpUIAAAAAAXkBAAA2AQAAAAAAAAAAEEEBAXoBAAAgAAAAYdmIQy1LlEMBewEAAJoAAAAEAAAAAAAAAAAAAAAACXwBAAAAAAAACX0BAAAAAAABfgEAAKMAAAAAAAAAAX8BAABsAAAAAABkQgAAiEEBgAEAABQAAAAAAAAAAAAAAAAAAAAAAAAAXrrZPwkUAQAACgmBAQAACT8BAAAgAwAA/////wABCgmCAQAAAQAKAAcWAQAAAAEAAAACAAAABBVTeXN0ZW0uRHJhd2luZy5Qb2ludEYEAAAAAYMBAAAgAAAAYdmIQy1LlEMBhAEAACAAAAB9LwJCyG+CQwcXAQAAAAEAAAACAAAABBdBcGxvcmlzLkJhc2UuQW5jaG9yTW9kZQMAAAABhQEAAJoAAAAEAAAAAYYBAACaAAAAAgAAAAEYAQAAJAAAAAmHAQAAAQAAAAEAAAABGQEAACUAAAAJiAEAAAEAAAABAAAAARsBAAD7AAAACgmJAQAACYoBAAAJ9wAAAAkBAAAACYsBAAABHQEAAP0AAAAKWAIAAAGMAQAAMwEAAAEAAAABjQEAADQBAAAAAAAAAY4BAAAUAAAAMMs2Qy1LlEMkz6VCAAAAAAGPAQAANgEAAAAAAAAAABBBAQGQAQAAIAAAAGHZiEMtS5RDAZEBAACaAAAABAAAAAAAAAAAAAAAAAmSAQAAAAAAAAmTAQAAAAAAAZQBAACjAAAAAAAAAAGVAQAAbAAAAAAAZEIAAIhBAZYBAAAUAAAAAAAAAAAAAAAAAAAAAAAAAF662T8JHAEAAAoJlwEAAAk/AQAAIAMAAP////8AAQoJmAEAAAEACgAHHgEAAAABAAAAAgAAAAQVU3lzdGVtLkRyYXdpbmcuUG9pbnRGBAAAAAGZAQAAIAAAAGHZiEMtS5RDAZoBAAAgAAAAfS8CQjBLj0MHHwEAAAABAAAAAgAAAAQXQXBsb3Jpcy5CYXNlLkFuY2hvck1vZGUDAAAAAZsBAACaAAAABAAAAAGcAQAAmgAAAAIAAAABIAEAACQAAAAJnQEAAAEAAAABAAAAASEBAAAlAAAACZ4BAAABAAAAAQAAAA8kAQAAAQAAAAgAAAAAByUBAAAAAQAAAAEAAAAEFUFwbG9yaXMuQmFzZS5VSS5MYWJlbAMAAAAJnwEAAAEmAQAAMwAAAAGgAQAAIAAAAFH/o0Ity5ZDAaEBAACaAAAAAwAAAAAAAAAAAAAAAAmiAQAAAAAAAAmjAQAAAAAAAaQBAACjAAAAAAAAAAGlAQAAbAAAAAAAxkIAAHBBAaYBAAAUAAAAEzspQuzElkPdQp5CiZ04QRKDvj8JIgEAAAoJpwEAAAk/AQAAIAMAAP////8BAQoJqAEAAAEACgABJwEAACQAAAAJ0wAAAAAAAAAAAAAAASgBAAAlAAAACakBAAACAAAAAgAAAA8rAQAAAQAAAAgAAAAABywBAAAAAQAAAAEAAAAEFUFwbG9yaXMuQmFzZS5VSS5MYWJlbAMAAAAJqgEAAAEtAQAAMwAAAAGrAQAAIAAAAPk+YEMty5ZDAawBAACaAAAAAwAAAAAAAAAAAAAAAAmtAQAAAAAAAAmuAQAAAAAAAa8BAACjAAAAAAAAAAGwAQAAbAAAAAAAzkIAAHBBAbEBAAAUAAAAsRM3Q+zElkM/aqRCiZ04QRKDvj8JKQEAAAoJsgEAAAk/AQAAIAMAAP////8BAQoJswEAAAEACgABLgEAACQAAAAJ0wAAAAAAAAAAAAAAAS8BAAAlAAAACbQBAAACAAAAAgAAAAQw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bUBAAACAAAABAAAAAExAQAAJAAAAAm2AQAAAgAAAAQAAAABMgEAACUAAAAJ0QAAAAAAAAAAAAAABTk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zAAAACgAAAAAAKEEJcAAAAAlxAAAACbcBAAABAAm4AQAAAToBAAByAAAACgoAAAAA////AA4AAAAAAQE+AQAApwAAAAm5AQAAAQAAAAEAAAABQAEAAG8AAAAJugEAAAoHRQEAAAABAAAABAAAAAQfQXBsb3Jpcy5CYXNlLk9iamVjdHMuRGF0YU9iamVjdAMAAAAJ+wAAAA0DB0YBAAAAAQAAAAQAAAAEHEFwbG9yaXMuQmFzZS5VSS5WaXN1YWxPYmplY3QDAAAACf0AAAANAwFHAQAAMAEAAAm7AQAAAgAAAAQAAAABSAEAACQAAAAJvAEAAAIAAAAEAAAAAUkBAAAlAAAACdEAAAAAAAAAAAAAAAV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AAAAAoAAAAAAChBCXAAAAAJcQAAAAm9AQAAAQAJvgEAAAFRAQAAcgAAAAoKAAAAAP///wAOAAAAAAEBVQEAAKcAAAAJvwEAAAEAAAABAAAAAVYBAABvAAAACcABAAAKB1sBAAAAAQAAAAQAAAAEH0FwbG9yaXMuQmFzZS5PYmplY3RzLkRhdGFPYmplY3QDAAAACQMBAAANAwdcAQAAAAEAAAAEAAAABBxBcGxvcmlzLkJhc2UuVUkuVmlzdWFsT2JqZWN0AwAAAAkFAQAADQMBXQEAADABAAAJwQEAAAIAAAAEAAAAAV4BAAAkAAAACcIBAAACAAAABAAAAAFfAQAAJQAAAAnRAAAAAAAAAAAAAAAFZ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UAAAAKAAAAAAAoQQlwAAAACXEAAAAJwwEAAAEACcQBAAABZwEAAHIAAAAKCgAAAAD///8ADgAAAAABAWsBAACnAAAACcUBAAABAAAAAQAAAAFsAQAAbwAAAAnGAQAACgdxAQAAAAEAAAAEAAAABB9BcGxvcmlzLkJhc2UuT2JqZWN0cy5EYXRhT2JqZWN0AwAAAAkLAQAADQMHcgEAAAABAAAABAAAAAQcQXBsb3Jpcy5CYXNlLlVJLlZpc3VhbE9iamVjdAMAAAAJDQEAAA0DAXMBAAAwAQAACccBAAACAAAAAgAAAAF0AQAAJAAAAAnIAQAAAgAAAAIAAAABdQEAACUAAAAJ0QAAAAAAAAAAAAAABXw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2AAAACgAAAAAAKEEJcAAAAAlxAAAACckBAAABAAnKAQAAAX0BAAByAAAACgoAAAAA////AA4AAAAAAQGBAQAApwAAAAnLAQAAAQAAAAEAAAABggEAAG8AAAAJzAEAAAoHhwEAAAABAAAABAAAAAQfQXBsb3Jpcy5CYXNlLk9iamVjdHMuRGF0YU9iamVjdAMAAAAJEwEAAA0DB4gBAAAAAQAAAAQAAAAEHEFwbG9yaXMuQmFzZS5VSS5WaXN1YWxPYmplY3QDAAAACRUBAAANAwGJAQAAMAEAAAnNAQAAAgAAAAIAAAABigEAACQAAAAJzgEAAAIAAAACAAAAAYsBAAAlAAAACdEAAAAAAAAAAAAAAAWS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wAAAAoAAAAAAChBCXAAAAAJcQAAAAnPAQAAAQAJ0AEAAAGTAQAAcgAAAAoKAAAAAP///wAOAAAAAAEBlwEAAKcAAAAJ0QEAAAEAAAABAAAAAZgBAABvAAAACdIBAAAKB50BAAAAAQAAAAQAAAAEH0FwbG9yaXMuQmFzZS5PYmplY3RzLkRhdGFPYmplY3QDAAAACRsBAAANAweeAQAAAAEAAAAEAAAABBxBcGxvcmlzLkJhc2UuVUkuVmlzdWFsT2JqZWN0AwAAAAkdAQAADQMBnwEAADMAAAAB0wEAACAAAABR/6NCBAD8QAHUAQAAmgAAAAEAAAAAAAAAAAAAAAAJ1QEAAAAAAAAJ1gEAAAAAAAHXAQAAowAAAAAAAAAB2AEAAGwAAAAAABxCAACIQQHZAQAAFAAAAAAAAAAAAAAAAAAAAAAAAABeutk/BtoBAAAEMTAwJQoJ2wEAAAk/AQAANAMAAP////8AAQoJ3AEAAAEACgABogEAACIAAAAKCgAAAAAAKEEJcAAAAAlxAAAACd0BAAAAAAneAQAAAaMBAAByAAAACgoAAAAA////AA4AAAAAAQGnAQAApwAAAAnfAQAAAQAAAAEAAAABqAEAAG8AAAAJ4AEAAAoHqQEAAAABAAAABAAAAAQcQXBsb3Jpcy5CYXNlLlVJLlZpc3VhbE9iamVjdAMAAAAJJgEAAAmfAQAACgoBqgEAADMAAAAB4QEAACAAAAD5PmBDBAD8QAHiAQAAmgAAAAEAAAAAAAAAAAAAAAAJ4wEAAAAAAAAJ5AEAAAAAAAHlAQAAowAAAAAAAAAB5gEAAGwAAAAAABxCAACIQQHnAQAAFAAAAAAAAAAAAAAAAAAAAAAAAABeutk/BugBAAAEMTAwJQoJ6QEAAAk/AQAANAMAAP////8AAQoJ6gEAAAEACgABrQEAACIAAAAKCgAAAAAAKEEJcAAAAAlxAAAACesBAAAAAAnsAQAAAa4BAAByAAAACgoAAAAA////AA4AAAAAAQGyAQAApwAAAAntAQAAAQAAAAEAAAABswEAAG8AAAAJ7gEAAAoHtAEAAAABAAAABAAAAAQcQXBsb3Jpcy5CYXNlLlVJLlZpc3VhbE9iamVjdAMAAAAJLQEAAAmqAQAACgoHtQEAAAABAAAABAAAAAQeQXBsb3Jpcy5DaGFydC5DaGFydERhdGFFbGVtZW50AgAAAAnvAQAACfABAAAKCge2AQAAAAEAAAAEAAAABB9BcGxvcmlzLkJhc2UuT2JqZWN0cy5EYXRhT2JqZWN0AwAAAAnvAQAACfABAAAKCgG3AQAAcgAAAAoKAAAAAAAAAAANAAAAAAEBuAEAAHIAAAAKCgEAAAAAAAAA/////wABB7kBAAAAAQAAAAQAAAAEHUFwbG9yaXMuQmFzZS5PYmplY3RzLlZhcmlhYmxlAwAAAAXxAQAAHUFwbG9yaXMuQmFzZS5PYmplY3RzLlZhcmlhYmxlAgAAAAZOdW1iZXIIUG9zaXRpb24AAAgIAwAAAAEAAAAAAAAAAfIBAADxAQAAAAAAAAAAAAAB8wEAAPEBAAAAAAAAAAAAAAH0AQAA8QEAAAAAAAAAAAAAD7oBAAABAAAACAAAAAAHuwEAAAABAAAABAAAAAQeQXBsb3Jpcy5DaGFydC5DaGFydERhdGFFbGVtZW50AgAAAAn1AQAACfYBAAAKCge8AQAAAAEAAAAEAAAABB9BcGxvcmlzLkJhc2UuT2JqZWN0cy5EYXRhT2JqZWN0AwAAAAn1AQAACfYBAAAKCgG9AQAAcgAAAAoKAAAAAAAAAAANAAAAAAEBvgEAAHIAAAAKCgEAAAAAAAAA/////wABB78BAAAAAQAAAAQAAAAEHUFwbG9yaXMuQmFzZS5PYmplY3RzLlZhcmlhYmxlAwAAAAH3AQAA8QEAAAEAAAAAAAAAAfgBAADxAQAAAAAAAAAAAAAB+QEAAPEBAAAAAAAAAAAAAAH6AQAA8QEAAAAAAAAAAAAAD8ABAAABAAAACAAAAAAHwQEAAAABAAAABAAAAAQeQXBsb3Jpcy5DaGFydC5DaGFydERhdGFFbGVtZW50AgAAAAn7AQAACfwBAAAKCgfCAQAAAAEAAAAEAAAABB9BcGxvcmlzLkJhc2UuT2JqZWN0cy5EYXRhT2JqZWN0AwAAAAn7AQAACfwBAAAKCgHDAQAAcgAAAAoKAAAAAAAAAAANAAAAAAEBxAEAAHIAAAAKCgEAAAAAAAAA/////wABB8UBAAAAAQAAAAQAAAAEHUFwbG9yaXMuQmFzZS5PYmplY3RzLlZhcmlhYmxlAwAAAAH9AQAA8QEAAAEAAAAAAAAAAf4BAADxAQAAAAAAAAAAAAAB/wEAAPEBAAAAAAAAAAAAAAEAAgAA8QEAAAAAAAAAAAAAD8YBAAABAAAACAAAAAAHxwEAAAABAAAABAAAAAQeQXBsb3Jpcy5DaGFydC5DaGFydERhdGFFbGVtZW50AgAAAAkBAgAACQICAAAKCgfIAQAAAAEAAAAEAAAABB9BcGxvcmlzLkJhc2UuT2JqZWN0cy5EYXRhT2JqZWN0AwAAAAkBAgAACQICAAAKCgHJAQAAcgAAAAoKAAAAAAAAAAANAAAAAAEBygEAAHIAAAAKCgEAAAAAAAAA/////wABB8sBAAAAAQAAAAQAAAAEHUFwbG9yaXMuQmFzZS5PYmplY3RzLlZhcmlhYmxlAwAAAAEDAgAA8QEAAAEAAAAAAAAAAQQCAADxAQAAAAAAAAAAAAABBQIAAPEBAAAAAAAAAAAAAAEGAgAA8QEAAAAAAAAAAAAAD8wBAAABAAAACAAAAAAHzQEAAAABAAAABAAAAAQeQXBsb3Jpcy5DaGFydC5DaGFydERhdGFFbGVtZW50AgAAAAkHAgAACQgCAAAKCgfOAQAAAAEAAAAEAAAABB9BcGxvcmlzLkJhc2UuT2JqZWN0cy5EYXRhT2JqZWN0AwAAAAkHAgAACQgCAAAKCgHPAQAAcgAAAAoKAAAAAAAAAAANAAAAAAEB0AEAAHIAAAAKCgEAAAAAAAAA/////wABB9EBAAAAAQAAAAQAAAAEHUFwbG9yaXMuQmFzZS5PYmplY3RzLlZhcmlhYmxlAwAAAAEJAgAA8QEAAAEAAAAAAAAAAQoCAADxAQAAAAAAAAAAAAABCwIAAPEBAAAAAAAAAAAAAAEMAgAA8QEAAAAAAAAAAAAAD9IBAAABAAAACAAAAAAF1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+AAAAAoAAAAAAChBCXAAAAAJcQAAAAkNAgAAAQAJDgIAAAHWAQAAcgAAAAoKAAAAAP///wAOAAAAAAEB2wEAAKcAAAAJDwIAAAEAAAABAAAAAdwBAABvAAAACRACAAAKAd0BAAByAAAACgoAAAAAAAAAAA0AAAAAAAHeAQAAcgAAAAoKAAAAAAAAAAANAAAAAAEH3wEAAAABAAAABAAAAAQdQXBsb3Jpcy5CYXNlLk9iamVjdHMuVmFyaWFibGUDAAAAARECAADxAQAAAQAAAAAAAAABEgIAAPEBAAAAAAAAAAAAAAETAgAA8QEAAAAAAAAAAAAAARQCAADxAQAAAAAAAAAAAAAP4AEAAAEAAAAIFwAAAAXj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5AAAACgAAAAAAKEEJcAAAAAlxAAAACRUCAAABAAkWAgAAAeQBAAByAAAACgoAAAAA////AA4AAAAAAQHpAQAApwAAAAkXAgAAAQAAAAMAAAAB6gEAAG8AAAAJGAIAAAoB6wEAAHIAAAAKCgAAAAAAAAAADQAAAAAAAewBAAByAAAACgoAAAAAAAAAAA0AAAAAAQftAQAAAAEAAAAEAAAABB1BcGxvcmlzLkJhc2UuT2JqZWN0cy5WYXJpYWJsZQMAAAABGQIAAPEBAAABAAAAAAAAAAEaAgAA8QEAAAAAAAAAAAAAARsCAADxAQAAAAAAAAAAAAABHAIAAPEBAAAAAAAAAAAAAA/uAQAAAQAAAAgYAAAABe8B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HQIAAAkeAgAACgkfAgAACgnzAAAACAakcD0K16PAPwoAAAAACSACAAAJIQIAAAAAAAAACSICAAAJ8wAAAAkBAAAACSMCAAAB8AEAAO8BAAAJJAIAAAklAgAACgkmAgAACgnzAAAACAZxPQrXo3DNPwoBAAAACScCAAAJKAIAAAAAAAAACSkCAAAJ8wAAAAkBAAAACSoCAAAB9QEAAO8BAAAJKwIAAAksAgAACgktAgAACgn0AAAACAb2KFyPwvXgPwoAAAAACS4CAAAJLwIAAAAAAAAACTACAAAJ9AAAAAkBAAAACTECAAAB9gEAAO8BAAAJMgIAAAkzAgAACgk0AgAACgn0AAAACAb2KFyPwvXYPwoBAAAACTUCAAAJNgIAAAAAAAAACTcCAAAJ9AAAAAkBAAAACTgCAAAB+wEAAO8BAAAJOQIAAAk6AgAACgk7AgAACgn1AAAACAZ7FK5H4XrEPwoAAAAACTwCAAAJPQIAAAAAAAAACT4CAAAJ9QAAAAkBAAAACT8CAAAB/AEAAO8BAAAJQAIAAAlBAgAACglCAgAACgn1AAAACAZSuB6F61HYPwoBAAAACUMCAAAJRAIAAAAAAAAACUUCAAAJ9QAAAAkBAAAACUYCAAABAQIAAO8BAAAJRwIAAAlIAgAACglJAgAACgn2AAAACAYpXI/C9Si8PwoAAAAACUoCAAAJSwIAAAAAAAAACUwCAAAJ9gAAAAkBAAAACU0CAAABAgIAAO8BAAAKCgoJTgIAAAoJ9gAAAAgGAAAAAAAAAAAKAQAAAAoKAAAAAAAJTwIAAAn2AAAACQEAAAAJUAIAAAEHAgAA7wEAAAlRAgAACVICAAAKCVMCAAAKCfcAAAAIBuxRuB6F67E/CgAAAAAJVAIAAAlVAgAAAAAAAAAJVgIAAAn3AAAACQEAAAAJVwIAAAEIAgAA7wEAAAoKCglYAgAACgn3AAAACAYAAAAAAAAAAAoBAAAACgoAAAAAAAlZAgAACfcAAAAJAQAAAAlaAgAAAQ0CAAByAAAACgoAAAAAAAAAAA0AAAAAAQEOAgAAcgAAAAoKAQAAAAAAAAD/////AAEHDwIAAAABAAAABAAAAAQdQXBsb3Jpcy5CYXNlLk9iamVjdHMuVmFyaWFibGUDAAAAAVsCAADxAQAAAQAAAAAAAAABXAIAAPEBAAAAAAAAAAAAAAFdAgAA8QEAAAAAAAAAAAAAAV4CAADxAQAAAAAAAAAAAAAPEAIAAAEAAAAIAAAAAAEVAgAAcgAAAAoKAAAAAAAAAAANAAAAAAEBFgIAAHIAAAAKCgEAAAAAAAAA/////wABBxcCAAAAAQAAAAQAAAAEHUFwbG9yaXMuQmFzZS5PYmplY3RzLlZhcmlhYmxlAwAAAAFfAgAA8QEAAAEAAAAAAAAAAWACAADxAQAAAAAAAAAAAAABYQIAAPEBAAAAAAAAAAAAAAFiAgAA8QEAAAAAAAAAAAAADxgCAAABAAAACAAAAAABHQIAAP0AAAAKWAIAAAFjAgAAMwEAAAIAAAABZAIAADQBAAABAAAAAWUCAAAUAAAAfS8iQgIAXkEmz6VCDCT5QQFmAgAANgEAAAAAAAAAAKBAAAFnAgAAIAAAAFH/o0IGkutBAWgCAACaAAAAAAAAAAAAAAAAAAAAAAlpAgAAAAAAAAlqAgAAAAAAAWsCAACjAAAAAAAAAAFsAgAAbAAAAAAAlkIAAPBBAW0CAAAUAAAAYidOQtiJjUEcrXJCiZ24QRKDvj8GbgIAABJVbmRlciAxLDAwMA0KKDEzJSkKCW8CAAAJbgIAADQDAAD/////AQEKCXACAAABAAoAAR4CAAAbAAAAAXECAAAgAAAAfS8WQgYSQEIBcgIAACAAAADk5vxCAgAuQQlzAgAACXQCAAAAAAAACgF1AgAAbAAAAAAAAAAAAAAAAXYCAABsAAAAAAAAAAAAAAAAAAAAAXcCAAAUAAAAAAAAAAAAAAAAAAAAAAAAAKQBAAD/////AQEKCXgCAAABAAoABx8CAAAAAQAAAAIAAAAEGkFwbG9yaXMuQmFzZS5VSS5WaXN1YWxMaW5lAwAAAAoKByACAAAAAQAAAAMAAAAEFVN5c3RlbS5EcmF3aW5nLlBvaW50RgQAAAABeQIAACAAAABR/6NCBpLrQQF6AgAAIAAAAH0vCkIGkutBAXsCAAAgAAAAcnMBQwaS60EHIQIAAAABAAAAAwAAAAQXQXBsb3Jpcy5CYXNlLkFuY2hvck1vZGUDAAAAAXwCAACaAAAAAAAAAAF9AgAAmgAAAAIAAAABfgIAAJoAAAAEAAAAASICAAAkAAAACdMAAAAAAAAAAAAAAAEjAgAAJQAAAAl/AgAAAgAAAAYAAAABJAIAAP0AAAAKWAIAAAGAAgAAMwEAAAIAAAABgQIAADQBAAABAAAAAYICAAAUAAAAMMs2QwIAXkEkz6VC+NpuQgGDAgAANgEAAAAAAAAAAKBAAAGEAgAAIAAAAPk+YEN87S5CAYUCAACaAAAAAAAAAAAAAAAAAAAAAAmGAgAAAAAAAAmHAgAAAAAAAYgCAACjAAAAAAAAAAGJAgAAbAAAAAAAokIAAPBBAYoCAAAUAAAA2Ik/QxM7AUKikYJCiZ24QRKDvj8GiwIAABQ0LVllYXIgUHVibGljDQooMjMlKQoJjAIAAAmLAgAANAMAAP////8BAQoJjQIAAAEACgABJQIAABsAAAABjgIAACAAAAAwyzNDfC2ZQgGPAgAAIAAAAGFZhkMCAC5BCZACAAAJkQIAAAAAAAAKAZICAABsAAAAAAAAAAAAAAABkwIAAGwAAAAAAAAAAAAAAAAAAAABlAIAABQAAAAAAAAAAAAAAAAAAAAAAAAApAEAAP////8BAQoJlQIAAAEACgAHJgIAAAABAAAAAgAAAAQaQXBsb3Jpcy5CYXNlLlVJLlZpc3VhbExpbmUDAAAACgoHJwIAAAABAAAAAwAAAAQVU3lzdGVtLkRyYXdpbmcuUG9pbnRGBAAAAAGWAgAAIAAAAPk+YEN87S5CAZcCAAAgAAAAMMswQ3ztLkIBmAIAACAAAABh2YdDfO0uQgcoAgAAAAEAAAADAAAABBdBcGxvcmlzLkJhc2UuQW5jaG9yTW9kZQMAAAABmQIAAJoAAAAAAAAAAZoCAACaAAAAAgAAAAGbAgAAmgAAAAQAAAABKQIAACQAAAAJ0wAAAAAAAAAAAAAAASoCAAAlAAAACZwCAAACAAAABgAAAAErAgAA/QAAAApYAgAAAZ0CAAAzAQAAAgAAAAGeAgAANAEAAAEAAAABnwIAABQAAAB9LyJCBhJMQibPpUJybRFDAaACAAA2AQAAAAAAAAAAoEAAAaECAAAgAAAAUf+jQnZ290IBogIAAJoAAAAAAAAAAAAAAAAAAAAACaMCAAAAAAAACaQCAAAAAAABpQIAAKMAAAAAAAAAAaYCAABsAAAAAACQQgAA8EEBpwIAABQAAADETlRCiZ3gQglyaUKJnbhBEoO+PwaoAgAAEjEsMDAwLTQsOTk5DQooNTMlKQoJqQIAAAmoAgAANAMAAP////8BAQoJqgIAAAEACgABLAIAABsAAAABqwIAACAAAAB9LxZC9HFHQwGsAgAAIAAAAOTm/EIGEkBCCa0CAAAJrgIAAAAAAAAKAa8CAABsAAAAAAAAAAAAAAABsAIAAGwAAAAAAAAAAAAAAAAAAAABsQIAABQAAAAAAAAAAAAAAAAAAAAAAAAApAEAAP////8BAQoJsgIAAAEACgAHLQIAAAABAAAAAgAAAAQaQXBsb3Jpcy5CYXNlLlVJLlZpc3VhbExpbmUDAAAACgoHLgIAAAABAAAAAwAAAAQVU3lzdGVtLkRyYXdpbmcuUG9pbnRGBAAAAAGzAgAAIAAAAFH/o0J2dvdCAbQCAAAgAAAAfS8KQnZ290IBtQIAACAAAABycwFDdnb3QgcvAgAAAAEAAAADAAAABBdBcGxvcmlzLkJhc2UuQW5jaG9yTW9kZQMAAAABtgIAAJoAAAAAAAAAAbcCAACaAAAAAgAAAAG4AgAAmgAAAAQAAAABMAIAACQAAAAJ0wAAAAAAAAAAAAAAATECAAAlAAAACbkCAAACAAAABgAAAAEyAgAA/QAAAApYAgAAAboCAAAzAQAAAgAAAAG7AgAANAEAAAEAAAABvAIAABQAAAAwyzZDfC2fQiTPpUII29JCAb0CAAA2AQAAAAAAAAAAoEAAAb4CAAAgAAAA+T5gQ4BNBEMBvwIAAJoAAAAAAAAAAAAAAAAAAAAACcACAAAAAAAACcECAAAAAAABwgIAAKMAAAAAAAAAAcMCAABsAAAAAACuQgAA8EEBxAIAABQAAAATOz1D2InxQrXMi0KJnbhBEoO+PwbFAgAAFTQtWWVhciBQcml2YXRlDQooMzklKQoJxgIAAAnFAgAANAMAAP////8BAQoJxwIAAAEACgABMwIAABsAAAAByAIAACAAAAAwyzNDQgQ8QwHJAgAAIAAAAGFZhkN8LZlCCcoCAAAJywIAAAAAAAAKAcwCAABsAAAAAAAAAAAAAAABzQIAAGwAAAAAAAAAAAAAAAAAAAABzgIAABQAAAAAAAAAAAAAAAAAAAAAAAAApAEAAP////8BAQoJzwIAAAEACgAHNAIAAAABAAAAAgAAAAQaQXBsb3Jpcy5CYXNlLlVJLlZpc3VhbExpbmUDAAAACgoHNQIAAAABAAAAAwAAAAQVU3lzdGVtLkRyYXdpbmcuUG9pbnRGBAAAAAHQAgAAIAAAAPk+YEOATQRDAdECAAAgAAAAMMswQ4BNBEMB0gIAACAAAABh2YdDgE0EQwc2AgAAAAEAAAADAAAABBdBcGxvcmlzLkJhc2UuQW5jaG9yTW9kZQMAAAAB0wIAAJoAAAAAAAAAAdQCAACaAAAAAgAAAAHVAgAAmgAAAAQAAAABNwIAACQAAAAJ0wAAAAAAAAAAAAAAATgCAAAlAAAACdYCAAACAAAABgAAAAE5AgAA/QAAAApYAgAAAdcCAAAzAQAAAgAAAAHYAgAANAEAAAEAAAAB2QIAABQAAAB9LyJC9HFKQybPpUIY2x5CAdoCAAA2AQAAAAAAAAAAoEAAAdsCAAAgAAAAUf+jQldNXkMB3AIAAJoAAAAAAAAAAAAAAAAAAAAACd0CAAAAAAAACd4CAAAAAAAB3wIAAKMAAAAAAAAAAeACAABsAAAAAACQQgAA8EEB4QIAABQAAADETlRC7MRSQwlyaUKJnbhBEoO+PwbiAgAAEjUsMDAwLTksOTk5DQooMTYlKQoJ4wIAAAniAgAANAMAAP////8BAQoJ5AIAAAEACgABOgIAABsAAAAB5QIAACAAAAB9LxZCuih1QwHmAgAAIAAAAOTm/EL0cUdDCecCAAAJ6AIAAAAAAAAKAekCAABsAAAAAAAAAAAAAAAB6gIAAGwAAAAAAAAAAAAAAAAAAAAB6wIAABQAAAAAAAAAAAAAAAAAAAAAAAAApAEAAP////8BAQoJ7AIAAAEACgAHOwIAAAABAAAAAgAAAAQaQXBsb3Jpcy5CYXNlLlVJLlZpc3VhbExpbmUDAAAACgoHPAIAAAABAAAAAwAAAAQVU3lzdGVtLkRyYXdpbmcuUG9pbnRGBAAAAAHtAgAAIAAAAFH/o0JXTV5DAe4CAAAgAAAAfS8KQldNXkMB7wIAACAAAABycwFDV01eQwc9AgAAAAEAAAADAAAABBdBcGxvcmlzLkJhc2UuQW5jaG9yTW9kZQMAAAAB8AIAAJoAAAAAAAAAAfECAACaAAAAAgAAAAHyAgAAmgAAAAQAAAABPgIAACQAAAAJ0wAAAAAAAAAAAAAAAT8CAAAlAAAACfMCAAACAAAABgAAAAFAAgAA/QAAAApYAgAAAfQCAAAzAQAAAgAAAAH1AgAANAEAAAEAAAAB9gIAABQAAAAwyzZDQgQ/QyTPpUIwJM1CAfcCAAA2AQAAAAAAAAAAoEAAAfgCAAAgAAAA+T5gQ05NckMB+QIAAJoAAAAAAAAAAAAAAAAAAAAACfoCAAAAAAAACfsCAAAAAAAB/AIAAKMAAAAAAAAAAf0CAABsAAAAAAAgQgAA8EEB/gIAABQAAAA6sU9D68RmQ+L7BkKJnbhBEoO+Pwb/AgAADTItWWVhcg0KKDM4JSkKCQADAAAJ/wIAADQDAAD/////AQEKCQEDAAABAAoAAUECAAAbAAAAAQIDAAAgAAAAMMszQy1LlEMBAwMAACAAAABhWYZDQgQ8QwkEAwAACQUDAAAAAAAACgEGAwAAbAAAAAAAAAAAAAAAAQcDAABsAAAAAAAAAAAAAAAAAAAAAQgDAAAUAAAAAAAAAAAAAAAAAAAAAAAAAKQBAAD/////AQEKCQkDAAABAAoAB0ICAAAAAQAAAAIAAAAEGkFwbG9yaXMuQmFzZS5VSS5WaXN1YWxMaW5lAwAAAAoKB0MCAAAAAQAAAAMAAAAEFVN5c3RlbS5EcmF3aW5nLlBvaW50RgQAAAABCgMAACAAAAD5PmBDTk1yQwELAwAAIAAAADDLMENOTXJDAQwDAAAgAAAAYdmHQ05NckMHRAIAAAABAAAAAwAAAAQXQXBsb3Jpcy5CYXNlLkFuY2hvck1vZGUDAAAAAQ0DAACaAAAAAAAAAAEOAwAAmgAAAAIAAAABDwMAAJoAAAAEAAAAAUUCAAAkAAAACdMAAAAAAAAAAAAAAAFGAgAAJQAAAAkQAwAAAgAAAAYAAAABRwIAAP0AAAAKWAIAAAERAwAAMwEAAAIAAAABEgMAADQBAAABAAAAARMDAAAUAAAAfS8iQrooeEMmz6VCUG3LQQEUAwAANgEAAAAAAAAAAKBAAAEVAwAAIAAAAFH/o0LIb4JDARYDAACaAAAAAAAAAAAAAAAAAAAAAAkXAwAAAAAAAAkYAwAAAAAAARkDAACjAAAAAAAAAAEaAwAAbAAAAAAAsEIAAPBBARsDAAAUAAAAOrE7QhM7eUOOVo1CiZ24QRKDvj8GHAMAABQxMCwwMDAtMTksOTk5DQooMTElKQoJHQMAAAkcAwAANAMAAP////8BAQoJHgMAAAEACgABSAIAABsAAAABHwMAACAAAAB9LxZCMkuKQwEgAwAAIAAAAOTm/EK6KHVDCSEDAAAJIgMAAAAAAAAKASMDAABsAAAAAAAAAAAAAAABJAMAAGwAAAAAAAAAAAAAAAAAAAABJQMAABQAAAAAAAAAAAAAAAAAAAAAAAAApAEAAP////8BAQoJJgMAAAEACgAHSQIAAAABAAAAAgAAAAQaQXBsb3Jpcy5CYXNlLlVJLlZpc3VhbExpbmUDAAAACgoHSgIAAAABAAAAAwAAAAQVU3lzdGVtLkRyYXdpbmcuUG9pbnRGBAAAAAEnAwAAIAAAAFH/o0LIb4JDASgDAAAgAAAAfS8KQshvgkMBKQMAACAAAABycwFDyG+CQwdLAgAAAAEAAAADAAAABBdBcGxvcmlzLkJhc2UuQW5jaG9yTW9kZQMAAAABKgMAAJoAAAAAAAAAASsDAACaAAAAAgAAAAEsAwAAmgAAAAQAAAABTAIAACQAAAAJ0wAAAAAAAAAAAAAAAU0CAAAlAAAACS0DAAACAAAAAgAAAAdOAgAAAAEAAAACAAAABBpBcGxvcmlzLkJhc2UuVUkuVmlzdWFsTGluZQMAAAAKCgFPAgAAJAAAAAnTAAAAAAAAAAAAAAABUAIAACUAAAAJ0QAAAAAAAAAAAAAAAVECAAD9AAAAClgCAAABLgMAADMBAAACAAAAAS8DAAA0AQAAAQAAAAEwAwAAFAAAAH0vIkIyy4tDJs+lQmD/X0EBMQMAADYBAAAAAAAAAACgQAABMgMAACAAAABR/6NCMEuPQwEzAwAAmgAAAAAAAAAAAAAAAAAAAAAJNAMAAAAAAAAJNQMAAAAAAAE2AwAAowAAAAAAAAABNwMAAGwAAAAAAKRCAABwQQE4AwAAFAAAAE7sREJ2YoxDehuEQomdOEESg74/BjkDAAAMMjAsMDAwKyAoNyUpCgk6AwAACTkDAAA0AwAA/////wEBCgk7AwAAAQAKAAFSAgAAGwAAAAE8AwAAIAAAAH0vFkItS5RDAT0DAAAgAAAA5Ob8QjJLikMJPgMAAAk/AwAAAAAAAAoBQAMAAGwAAAAAAAAAAAAAAAFBAwAAbAAAAAAAAAAAAAAAAAAAAAFCAwAAFAAAAAAAAAAAAAAAAAAAAAAAAACkAQAA/////wEBCglDAwAAAQAKAAdTAgAAAAEAAAACAAAABBpBcGxvcmlzLkJhc2UuVUkuVmlzdWFsTGluZQMAAAAKCgdUAgAAAAEAAAADAAAABBVTeXN0ZW0uRHJhd2luZy5Qb2ludEYEAAAAAUQDAAAgAAAAUf+jQjBLj0MBRQMAACAAAAB9LwpCMEuPQwFGAwAAIAAAAHJzAUMwS49DB1UCAAAAAQAAAAMAAAAEF0FwbG9yaXMuQmFzZS5BbmNob3JNb2RlAwAAAAFHAwAAmgAAAAAAAAABSAMAAJoAAAACAAAAAUkDAACaAAAABAAAAAFWAgAAJAAAAAnTAAAAAAAAAAAAAAABVwIAACUAAAAJSgMAAAIAAAACAAAAB1gCAAAAAQAAAAIAAAAEGkFwbG9yaXMuQmFzZS5VSS5WaXN1YWxMaW5lAwAAAAoKAVkCAAAkAAAACdMAAAAAAAAAAAAAAAFaAgAAJQAAAAnRAAAAAAAAAAAAAAABaQIAACIAAAAKCgAAAAAAKEEJcAAAAAlxAAAACUsDAAAAAAlMAwAAAWoCAAByAAAACgoAAAAANmyHAAUAAAAAAQFvAgAApwAAAAlNAwAAAAAAAAUAAAABcAIAAG8AAAAJTgMAAAoBcwIAAGoAAAAKCgAAAEA/CU8DAAAJUAMAAAEAAAD+////AAAAAAEAAAAAAAAAAAAAAAEAAAAAAAAAAAAAAXQCAABrAAAACgoJUQMAAAlSAwAAAQAAAP7///8AAAAA/////wEAAXgCAABvAAAACVMDAAAKB38CAAAAAQAAAAQAAAAEHEFwbG9yaXMuQmFzZS5VSS5WaXN1YWxPYmplY3QDAAAACR4CAAAJHQIAAAoKAYYCAAAiAAAACgoAAAAAAChBCXAAAAAJcQAAAAlUAwAAAAAJVQMAAAGHAgAAcgAAAAoKAAAAACJBTgAPAAAAAAEBjAIAAKcAAAAJVgMAAAAAAAAGAAAAAY0CAABvAAAACVcDAAAKAZACAABqAAAACgoAAABAPwlYAwAACVkDAAABAAAA/v///wAAAAABAAAAAAAAAAAAAAABAAAAAAAAAAAAAAGRAgAAawAAAAoKCVoDAAAJWwMAAAEAAAD+////AAAAAP////8AAAGVAgAAbwAAAAlcAwAACgecAgAAAAEAAAAEAAAABBxBcGxvcmlzLkJhc2UuVUkuVmlzdWFsT2JqZWN0AwAAAAklAgAACSQCAAAKCgGjAgAAIgAAAAoKAAAAAAAoQQlwAAAACXEAAAAJXQMAAAAACV4DAAABpAIAAHIAAAAKCgAAAAByhIwABgAAAAABAakCAACnAAAACV8DAAAAAAAABQAAAAGqAgAAbwAAAAlgAwAACgGtAgAAagAAAAoKAAAAQD8JYQMAAAliAwAAAQAAAP7///8AAAAAAQAAAAAAAAAAAAAAAQAAAAAAAAAAAAABrgIAAGsAAAAKCgljAwAACWQDAAABAAAA/v///wAAAAD/////AQABsgIAAG8AAAAJZQMAAAoHuQIAAAABAAAABAAAAAQcQXBsb3Jpcy5CYXNlLlVJLlZpc3VhbE9iamVjdAMAAAAJLAIAAAkrAgAACgoBwAIAACIAAAAKCgAAAAAAKEEJcAAAAAlxAAAACWYDAAAAAAlnAwAAAcECAAByAAAACgoAAAAA29zeABAAAAAAAQHGAgAApwAAAAloAwAAAAAAAAYAAAABxwIAAG8AAAAJaQMAAAoBygIAAGoAAAAKCgAAAEA/CWoDAAAJawMAAAEAAAD+////AAAAAAEAAAAAAAAAAAAAAAEAAAAAAAAAAAAAAcsCAABrAAAACgoJbAMAAAltAwAAAQAAAP7///8AAAAA/////wAAAc8CAABvAAAACW4DAAAKB9YCAAAAAQAAAAQAAAAEHEFwbG9yaXMuQmFzZS5VSS5WaXN1YWxPYmplY3QDAAAACTMCAAAJMgIAAAoKAd0CAAAiAAAACgoAAAAAAChBCXAAAAAJcQAAAAlvAwAAAAAJcAMAAAHeAgAAcgAAAAoKAAAAAO0hJQAHAAAAAAEB4wIAAKcAAAAJcQMAAAAAAAAFAAAAAeQCAABvAAAACXIDAAAKAecCAABqAAAACgoAAABAPwlzAwAACXQDAAABAAAA/v///wAAAAABAAAAAAAAAAAAAAABAAAAAAAAAAAAAAHoAgAAawAAAAoKCXUDAAAJdgMAAAEAAAD+////AAAAAP////8BAAHsAgAAbwAAAAl3AwAACgfzAgAAAAEAAAAEAAAABBxBcGxvcmlzLkJhc2UuVUkuVmlzdWFsT2JqZWN0AwAAAAk6AgAACTkCAAAKCgH6AgAAIgAAAAoKAAAAAAAoQQlwAAAACXEAAAAJeAMAAAAACXkDAAAB+wIAAHIAAAAKCgAAAAD3lB4ACgAAAAABAQADAACnAAAACXoDAAAAAAAABAAAAAEBAwAAbwAAAAl7AwAACgEEAwAAagAAAAoKAAAAQD8JfAMAAAl9AwAAAQAAAP7///8AAAAAAQAAAAAAAAAAAAAAAQAAAAAAAAAAAAABBQMAAGsAAAAKCgl+AwAACX8DAAABAAAA/v///wAAAAD/////AAABCQMAAG8AAAAJgAMAAAoHEAMAAAABAAAABAAAAAQcQXBsb3Jpcy5CYXNlLlVJLlZpc3VhbE9iamVjdAMAAAAJQQIAAAlAAgAACgoBFwMAACIAAAAKCgAAAAAAKEEJcAAAAAlxAAAACYEDAAAAAAmCAwAAARgDAAByAAAACgoAAAAARjs0AAgAAAAAAQEdAwAApwAAAAmDAwAAAAAAAAcAAAABHgMAAG8AAAAJhAMAAAoBIQMAAGoAAAAKCgAAAEA/CYUDAAAJhgMAAAEAAAD+////AAAAAAEAAAAAAAAAAAAAAAEAAAAAAAAAAAAAASIDAABrAAAACgoJhwMAAAmIAwAAAQAAAP7///8AAAAA/////wEAASYDAABvAAAACYkDAAAKBy0DAAAAAQAAAAQAAAAEHEFwbG9yaXMuQmFzZS5VSS5WaXN1YWxPYmplY3QDAAAACUgCAAAJRwIAAAoKATQDAAAiAAAACgoAAAAAAChBCXAAAAAJcQAAAAmKAwAAAAAJiwMAAAE1AwAAcgAAAAoKAAAAAMOYdAAJAAAAAAEBOgMAAKcAAAAJjAMAAAAAAAAGAAAAATsDAABvAAAACY0DAAAKAT4DAABqAAAACgoAAABAPwmOAwAACY8DAAABAAAA/v///wAAAAABAAAAAAAAAAAAAAABAAAAAAAAAAAAAAE/AwAAawAAAAoKCZADAAAJkQMAAAEAAAD+////AAAAAP////8BAAFDAwAAbwAAAAmSAwAACgdKAwAAAAEAAAAEAAAABBxBcGxvcmlzLkJhc2UuVUkuVmlzdWFsT2JqZWN0AwAAAAlSAgAACVECAAAKCgFLAwAAcgAAAAoKAAAAAP///wAOAAAAAAABTAMAAHIAAAAKCgAAAAD///8ADgAAAAABB00DAAAAAQAAAAQAAAAEHUFwbG9yaXMuQmFzZS5PYmplY3RzLlZhcmlhYmxlAwAAAAGTAwAA8QEAAAAAAAAAAAAAAZQDAADxAQAAAAAAAAAAAAABlQMAAPEBAAAAAAAAAAAAAAGWAwAA8QEAAAAAAAAAAAAAD04DAAABAAAACB8AAAAFTwMAABpBcGxvcmlzLkJhc2UuT2JqZWN0cy5Db2xvcgcAAAASRGF0YU9iamVjdCttUGFyZW50FURhdGFPYmplY3QrbUNvbnRhaW5lcgVtVHlwZQRtUkdCEG1UaGVtZUNvbG9ySW5kZXgMbUF1dG9VcGRhdGVkCW1Nb2RpZmllZAQCAAAAAAAfQXBsb3Jpcy5CYXNlLk9iamVjdHMuTGluZUZvcm1hdAMAAAAICAgBAQMAAAAJcwIAAAoAAAAA////AA4AAAAAAAVQAwAAGkFwbG9yaXMuQmFzZS5PYmplY3RzLkNvbG9yBwAAABJEYXRhT2JqZWN0K21QYXJlbnQVRGF0YU9iamVjdCttQ29udGFpbmVyBW1UeXBlBG1SR0IQbVRoZW1lQ29sb3JJbmRleAxtQXV0b1VwZGF0ZWQJbU1vZGlmaWVkBAIAAAAAAB9BcGxvcmlzLkJhc2UuT2JqZWN0cy5MaW5lRm9ybWF0AwAAAAgICAEBAwAAAAlzAgAACgEAAAAAAAAA/////wABAVEDAAByAAAACgoAAAAANmyHAAUAAAAAAAFSAwAAcgAAAAoKAQAAAP///wD/////AAAPUwMAAAEAAAAICAAAAAFUAwAAcgAAAAoKAAAAAP///wAOAAAAAAABVQMAAHIAAAAKCgAAAAD///8ADgAAAAABB1YDAAAAAQAAAAQAAAAEHUFwbG9yaXMuQmFzZS5PYmplY3RzLlZhcmlhYmxlAwAAAAGXAwAA8QEAAAAAAAAAAAAAAZgDAADxAQAAAAAAAAAAAAABmQMAAPEBAAAAAAAAAAAAAAGaAwAA8QEAAAAAAAAAAAAAD1cDAAABAAAACBoAAAAFWAMAABpBcGxvcmlzLkJhc2UuT2JqZWN0cy5Db2xvcgcAAAASRGF0YU9iamVjdCttUGFyZW50FURhdGFPYmplY3QrbUNvbnRhaW5lcgVtVHlwZQRtUkdCEG1UaGVtZUNvbG9ySW5kZXgMbUF1dG9VcGRhdGVkCW1Nb2RpZmllZAQCAAAAAAAfQXBsb3Jpcy5CYXNlLk9iamVjdHMuTGluZUZvcm1hdAMAAAAICAgBAQMAAAAJkAIAAAoAAAAA////AA4AAAAAAAVZAwAAGkFwbG9yaXMuQmFzZS5PYmplY3RzLkNvbG9yBwAAABJEYXRhT2JqZWN0K21QYXJlbnQVRGF0YU9iamVjdCttQ29udGFpbmVyBW1UeXBlBG1SR0IQbVRoZW1lQ29sb3JJbmRleAxtQXV0b1VwZGF0ZWQJbU1vZGlmaWVkBAIAAAAAAB9BcGxvcmlzLkJhc2UuT2JqZWN0cy5MaW5lRm9ybWF0AwAAAAgICAEBAwAAAAmQAgAACgEAAAAAAAAA/////wABAVoDAAByAAAACgoAAAAAIkFOAA8AAAAAAAFbAwAAcgAAAAoKAQAAAP///wD/////AAAPXAMAAAEAAAAIBwAAAAFdAwAAcgAAAAoKAAAAAP///wAOAAAAAAABXgMAAHIAAAAKCgAAAAD///8ADgAAAAABB18DAAAAAQAAAAQAAAAEHUFwbG9yaXMuQmFzZS5PYmplY3RzLlZhcmlhYmxlAwAAAAGbAwAA8QEAAAAAAAAAAAAAAZwDAADxAQAAAAAAAAAAAAABnQMAAPEBAAAAAAAAAAAAAAGeAwAA8QEAAAAAAAAAAAAAD2ADAAABAAAACBsAAAAFYQMAABpBcGxvcmlzLkJhc2UuT2JqZWN0cy5Db2xvcgcAAAASRGF0YU9iamVjdCttUGFyZW50FURhdGFPYmplY3QrbUNvbnRhaW5lcgVtVHlwZQRtUkdCEG1UaGVtZUNvbG9ySW5kZXgMbUF1dG9VcGRhdGVkCW1Nb2RpZmllZAQCAAAAAAAfQXBsb3Jpcy5CYXNlLk9iamVjdHMuTGluZUZvcm1hdAMAAAAICAgBAQMAAAAJrQIAAAoAAAAA////AA4AAAAAAAViAwAAGkFwbG9yaXMuQmFzZS5PYmplY3RzLkNvbG9yBwAAABJEYXRhT2JqZWN0K21QYXJlbnQVRGF0YU9iamVjdCttQ29udGFpbmVyBW1UeXBlBG1SR0IQbVRoZW1lQ29sb3JJbmRleAxtQXV0b1VwZGF0ZWQJbU1vZGlmaWVkBAIAAAAAAB9BcGxvcmlzLkJhc2UuT2JqZWN0cy5MaW5lRm9ybWF0AwAAAAgICAEBAwAAAAmtAgAACgEAAAAAAAAA/////wABAWMDAAByAAAACgoAAAAAcoSMAAYAAAAAAAFkAwAAcgAAAAoKAQAAAP///wD/////AAAPZQMAAAEAAAAIAwAAAAFmAwAAcgAAAAoKAAAAAAAAAAANAAAAAAABZwMAAHIAAAAKCgAAAAAAAAAADQAAAAABB2gDAAAAAQAAAAQAAAAEHUFwbG9yaXMuQmFzZS5PYmplY3RzLlZhcmlhYmxlAwAAAAGfAwAA8QEAAAAAAAAAAAAAAaADAADxAQAAAAAAAAAAAAABoQMAAPEBAAAAAAAAAAAAAAGiAwAA8QEAAAAAAAAAAAAAD2kDAAABAAAACBkAAAAFagMAABpBcGxvcmlzLkJhc2UuT2JqZWN0cy5Db2xvcgcAAAASRGF0YU9iamVjdCttUGFyZW50FURhdGFPYmplY3QrbUNvbnRhaW5lcgVtVHlwZQRtUkdCEG1UaGVtZUNvbG9ySW5kZXgMbUF1dG9VcGRhdGVkCW1Nb2RpZmllZAQCAAAAAAAfQXBsb3Jpcy5CYXNlLk9iamVjdHMuTGluZUZvcm1hdAMAAAAICAgBAQMAAAAJygIAAAoAAAAA////AA4AAAAAAAVrAwAAGkFwbG9yaXMuQmFzZS5PYmplY3RzLkNvbG9yBwAAABJEYXRhT2JqZWN0K21QYXJlbnQVRGF0YU9iamVjdCttQ29udGFpbmVyBW1UeXBlBG1SR0IQbVRoZW1lQ29sb3JJbmRleAxtQXV0b1VwZGF0ZWQJbU1vZGlmaWVkBAIAAAAAAB9BcGxvcmlzLkJhc2UuT2JqZWN0cy5MaW5lRm9ybWF0AwAAAAgICAEBAwAAAAnKAgAACgEAAAAAAAAA/////wABAWwDAAByAAAACgoAAAAA29zeABAAAAAAAAFtAwAAcgAAAAoKAQAAAP///wD/////AAAPbgMAAAEAAAAIAgAAAAFvAwAAcgAAAAoKAAAAAP///wAOAAAAAAABcAMAAHIAAAAKCgAAAAD///8ADgAAAAABB3EDAAAAAQAAAAQAAAAEHUFwbG9yaXMuQmFzZS5PYmplY3RzLlZhcmlhYmxlAwAAAAGjAwAA8QEAAAAAAAAAAAAAAaQDAADxAQAAAAAAAAAAAAABpQMAAPEBAAAAAAAAAAAAAAGmAwAA8QEAAAAAAAAAAAAAD3IDAAABAAAACBwAAAAFcwMAABpBcGxvcmlzLkJhc2UuT2JqZWN0cy5Db2xvcgcAAAASRGF0YU9iamVjdCttUGFyZW50FURhdGFPYmplY3QrbUNvbnRhaW5lcgVtVHlwZQRtUkdCEG1UaGVtZUNvbG9ySW5kZXgMbUF1dG9VcGRhdGVkCW1Nb2RpZmllZAQCAAAAAAAfQXBsb3Jpcy5CYXNlLk9iamVjdHMuTGluZUZvcm1hdAMAAAAICAgBAQMAAAAJ5wIAAAoAAAAA////AA4AAAAAAAV0AwAAGkFwbG9yaXMuQmFzZS5PYmplY3RzLkNvbG9yBwAAABJEYXRhT2JqZWN0K21QYXJlbnQVRGF0YU9iamVjdCttQ29udGFpbmVyBW1UeXBlBG1SR0IQbVRoZW1lQ29sb3JJbmRleAxtQXV0b1VwZGF0ZWQJbU1vZGlmaWVkBAIAAAAAAB9BcGxvcmlzLkJhc2UuT2JqZWN0cy5MaW5lRm9ybWF0AwAAAAgICAEBAwAAAAnnAgAACgEAAAAAAAAA/////wABAXUDAAByAAAACgoAAAAA7SElAAcAAAAAAAF2AwAAcgAAAAoKAQAAAP///wD/////AAAPdwMAAAEAAAAIAQAAAAF4AwAAcgAAAAoKAAAAAAAAAAANAAAAAAABeQMAAHIAAAAKCgAAAAAAAAAADQAAAAABB3oDAAAAAQAAAAQAAAAEHUFwbG9yaXMuQmFzZS5PYmplY3RzLlZhcmlhYmxlAwAAAAGnAwAA8QEAAAAAAAAAAAAAAagDAADxAQAAAAAAAAAAAAABqQMAAPEBAAAAAAAAAAAAAAGqAwAA8QEAAAAAAAAAAAAAD3sDAAABAAAACCAAAAAFfAMAABpBcGxvcmlzLkJhc2UuT2JqZWN0cy5Db2xvcgcAAAASRGF0YU9iamVjdCttUGFyZW50FURhdGFPYmplY3QrbUNvbnRhaW5lcgVtVHlwZQRtUkdCEG1UaGVtZUNvbG9ySW5kZXgMbUF1dG9VcGRhdGVkCW1Nb2RpZmllZAQCAAAAAAAfQXBsb3Jpcy5CYXNlLk9iamVjdHMuTGluZUZvcm1hdAMAAAAICAgBAQMAAAAJBAMAAAoAAAAA////AA4AAAAAAAV9AwAAGkFwbG9yaXMuQmFzZS5PYmplY3RzLkNvbG9yBwAAABJEYXRhT2JqZWN0K21QYXJlbnQVRGF0YU9iamVjdCttQ29udGFpbmVyBW1UeXBlBG1SR0IQbVRoZW1lQ29sb3JJbmRleAxtQXV0b1VwZGF0ZWQJbU1vZGlmaWVkBAIAAAAAAB9BcGxvcmlzLkJhc2UuT2JqZWN0cy5MaW5lRm9ybWF0AwAAAAgICAEBAwAAAAkEAwAACgEAAAAAAAAA/////wABAX4DAAByAAAACgoAAAAA95QeAAoAAAAAAAF/AwAAcgAAAAoKAQAAAP///wD/////AAAPgAMAAAEAAAAIBgAAAAGBAwAAcgAAAAoKAAAAAP///wAOAAAAAAABggMAAHIAAAAKCgAAAAD///8ADgAAAAABB4MDAAAAAQAAAAQAAAAEHUFwbG9yaXMuQmFzZS5PYmplY3RzLlZhcmlhYmxlAwAAAAGrAwAA8QEAAAAAAAAAAAAAAawDAADxAQAAAAAAAAAAAAABrQMAAPEBAAAAAAAAAAAAAAGuAwAA8QEAAAAAAAAAAAAAD4QDAAABAAAACB0AAAAFhQMAABpBcGxvcmlzLkJhc2UuT2JqZWN0cy5Db2xvcgcAAAASRGF0YU9iamVjdCttUGFyZW50FURhdGFPYmplY3QrbUNvbnRhaW5lcgVtVHlwZQRtUkdCEG1UaGVtZUNvbG9ySW5kZXgMbUF1dG9VcGRhdGVkCW1Nb2RpZmllZAQCAAAAAAAfQXBsb3Jpcy5CYXNlLk9iamVjdHMuTGluZUZvcm1hdAMAAAAICAgBAQMAAAAJIQMAAAoAAAAA////AA4AAAAAAAWGAwAAGkFwbG9yaXMuQmFzZS5PYmplY3RzLkNvbG9yBwAAABJEYXRhT2JqZWN0K21QYXJlbnQVRGF0YU9iamVjdCttQ29udGFpbmVyBW1UeXBlBG1SR0IQbVRoZW1lQ29sb3JJbmRleAxtQXV0b1VwZGF0ZWQJbU1vZGlmaWVkBAIAAAAAAB9BcGxvcmlzLkJhc2UuT2JqZWN0cy5MaW5lRm9ybWF0AwAAAAgICAEBAwAAAAkhAwAACgEAAAAAAAAA/////wABAYcDAAByAAAACgoAAAAARjs0AAgAAAAAAAGIAwAAcgAAAAoKAQAAAP///wD/////AAAPiQMAAAEAAAAIBQAAAAGKAwAAcgAAAAoKAAAAAAAAAAANAAAAAAABiwMAAHIAAAAKCgAAAAAAAAAADQAAAAABB4wDAAAAAQAAAAQAAAAEHUFwbG9yaXMuQmFzZS5PYmplY3RzLlZhcmlhYmxlAwAAAAGvAwAA8QEAAAAAAAAAAAAAAbADAADxAQAAAAAAAAAAAAABsQMAAPEBAAAAAAAAAAAAAAGyAwAA8QEAAAAAAAAAAAAAD40DAAABAAAACB4AAAAFjgMAABpBcGxvcmlzLkJhc2UuT2JqZWN0cy5Db2xvcgcAAAASRGF0YU9iamVjdCttUGFyZW50FURhdGFPYmplY3QrbUNvbnRhaW5lcgVtVHlwZQRtUkdCEG1UaGVtZUNvbG9ySW5kZXgMbUF1dG9VcGRhdGVkCW1Nb2RpZmllZAQCAAAAAAAfQXBsb3Jpcy5CYXNlLk9iamVjdHMuTGluZUZvcm1hdAMAAAAICAgBAQMAAAAJPgMAAAoAAAAA////AA4AAAAAAAWPAwAAGkFwbG9yaXMuQmFzZS5PYmplY3RzLkNvbG9yBwAAABJEYXRhT2JqZWN0K21QYXJlbnQVRGF0YU9iamVjdCttQ29udGFpbmVyBW1UeXBlBG1SR0IQbVRoZW1lQ29sb3JJbmRleAxtQXV0b1VwZGF0ZWQJbU1vZGlmaWVkBAIAAAAAAB9BcGxvcmlzLkJhc2UuT2JqZWN0cy5MaW5lRm9ybWF0AwAAAAgICAEBAwAAAAk+AwAACgEAAAAAAAAA/////wABAZADAAByAAAACgoAAAAAw5h0AAkAAAAAAAGRAwAAcgAAAAoKAQAAAP///wD/////AAAPkgMAAAEAAAAIBAAAAAs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4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5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156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45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46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47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48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49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1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2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3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4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5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6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7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8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59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0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8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2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3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4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5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6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7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8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69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2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2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3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4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5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6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7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8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79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3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2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3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4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5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6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7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8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89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2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3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4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5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6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7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8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aMaK2ppuDvOqmtjE.99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3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WQXBsb3Jpcy5DaGFydC5QaWVDaGFydDEAAAAPbVVudXNlZEVsZW1lbnRzE21VbnVzZWRFbGVtZW50c0xpc3QHbUxlZ2VuZBFtUmV2ZXJzZURpcmVjdGlvbg1tSGFzQ3VzdG9tU3VtEW1QaWVDaGFydEVsZW1lbnRzCm1DdXN0b21TdW0SbU1hZ25pdHVkZVByb3ZpZGVyEG1OdW1iZXJGb3JtYXRBYnMUbU51bWJlckZvcm1hdFBlcmNlbnQMbVN0YXJ0RGVncmVlEW1TaG93SW5zaWRlTGFiZWxzEm1TaG93T3V0c2lkZUxhYmVscwxtQ2VudGVyUG9pbnQHbVJhZGl1cxBDaGFydCttQ2hhcnRBcmVhEkNoYXJ0K21IYXNEYXRhTGluaxFDaGFydCttRGF0YUxpbmtJZBVDaGFydCttQXV0b0RhdGFVcGRhdGUaQ2hhcnQrbUF2YWlsYWJsZVVwZGF0ZUZpbGUTQ2hhcnQrbUxhc3RMaW5rRmlsZQxDaGFydCttU2hlZXQUQ2hhcnQrbVRyYW5zcG9zZURhdGEaQ2hhcnQrbVNlcmlhbGl6ZWREYXRhVGFibGUQQ2hhcnQrbUZpeGVkUm93cxNDaGFydCttRml4ZWRDb2x1bW5zG0NoYXJ0K21GaWxsQ29sb3JTY2hlbWVJbmRleBxDaGFydCttTGluZUZvcm1hdFNjaGVtZUluZGV4HkNoYXJ0K21NYXJrZXJGb3JtYXRTY2hlbWVJbmRleA5DaGFydCttVXBkYXRlZBZDaGFydCttUmVxdWlyZWRBcmVhU2V0E0NoYXJ0K21SZXF1aXJlZEFyZWEPQ29udGFpbmVyK21MZWZ0DkNvbnRhaW5lcittVG9wEENvbnRhaW5lcittV2lkdGgRQ29udGFpbmVyK21IZWlnaHQcQ29udGFpbmVyK21Db250YWluZXJTaGFwZVBvcw1Db250YWluZXIrbUlkEUNvbnRhaW5lcittVHlwZUlkFkNvbnRhaW5lcittRGVmYXVsdEZvbnQdQ29udGFpbmVyK21EZWZhdWx0Rm9udEZhckVhc3QcQ29udGFpbmVyK21EZWZhdWx0VGV4dEZvcm1hdBZDb250YWluZXIrbVRoZW1lQ29sb3JzEkNvbnRhaW5lcittQ2xvbmluZxNDb250YWluZXIrbVBlcnNEYXRhGERhdGFPYmplY3QrbUNoaWxkT2JqZWN0cxJEYXRhT2JqZWN0K21QYXJlbnQVRGF0YU9iamVjdCttQ29udGFpbmVyGURhdGFPYmplY3QrbVZpc3VhbE9iamVjdHMDAwQAAAQCBAQEAAAABAAEAAMAAQEHAAQHBwAAAAAABAAAAAAEAQABAQQEAAIDBAQDqAFTeXN0ZW0uQ29sbGVjdGlvbnMuT2JqZWN0TW9kZWwuQ29sbGVjdGlvbmAxW1tBcGxvcmlzLkNoYXJ0LlBpZUNoYXJ0K1VudXNlZEVsZW1lbnQsIEFwbG9yaXMuQ2hhcnQsIFZlcnNpb249NC4yLjAuMTkwOCwgQ3VsdHVyZT1uZXV0cmFsLCBQdWJsaWNLZXlUb2tlbj0xNmZjMTNhMjI2YzBlOTUxXV2eAVN5c3RlbS5Db2xsZWN0aW9ucy5HZW5lcmljLkxpc3RgMVtbQXBsb3Jpcy5DaGFydC5QaWVDaGFydCtVbnVzZWRFbGVtZW50LCBBcGxvcmlzLkNoYXJ0LCBWZXJzaW9uPTQuMi4wLjE5MDgsIEN1bHR1cmU9bmV1dHJhbCwgUHVibGljS2V5VG9rZW49MTZmYzEzYTIyNmMwZTk1MV1dHEFwbG9yaXMuQ2hhcnQuUGllQ2hhcnRMZWdlbmQCAAAAAQGhAUFwbG9yaXMuQmFzZS5PYmplY3RzLkRhdGFPYmplY3RDb2xsZWN0aW9uYDFbW0FwbG9yaXMuQ2hhcnQuUGllQ2hhcnRFbGVtZW50LCBBcGxvcmlzLkNoYXJ0LCBWZXJzaW9uPTQuMi4wLjE5MDgsIEN1bHR1cmU9bmV1dHJhbCwgUHVibGljS2V5VG9rZW49MTZmYzEzYTIyNmMwZTk1MV1dAwAAACdBcGxvcmlzLkNoYXJ0LlN0YW5kYXJkTWFnbml0dWRlUHJvdmlkZXICAAAAGkFwbG9yaXMuQ2hhcnQuTnVtYmVyRm9ybWF0AgAAABpBcGxvcmlzLkNoYXJ0Lk51bWJlckZvcm1hdAIAAAALAQEVU3lzdGVtLkRyYXdpbmcuUG9pbnRGBAAAAAs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KCQUAAAAKAAAJBgAAAAoJBwAAAAkIAAAACQkAAAAAAAAAAQEFCgAAABVTeXN0ZW0uRHJhd2luZy5Qb2ludEYCAAAAAXgBeQAACwsEAAAAn9iBQ+ukJkPsxBtDBQsAAAAZU3lzdGVtLkRyYXdpbmcuUmVjdGFuZ2xlRgQAAAABeAF5BXdpZHRoBmhlaWdodAAAAAALCwsLBAAAAGgnvkLw/y1Bip2kQ+zEm0MABAwAAAALU3lzdGVtLkd1aWQLAAAAAl9hAl9iAl9jAl9kAl9lAl9mAl9nAl9oAl9pAl9qAl9rAAAAAAAAAAAAAAAIBwcCAgICAgICAgAAAAAAAAAAAAAAAAAAAAAACgoJDQAAAAAKCgkOAAAAAQAAAAAAAAAAAAAAAQEBDwAAAAsAAAD//x9BdmKHQdfa2UN2YqBDsBPHQrIzBEPX2uRDnViuQwEQAAAACgAAACp2S0OxEw9DBhEAAAAQSXBaRndUR3dCaGM3VTZXQQAAAAAKCgkSAAAACRMAAAAACgkUAAAACgkBAAAACRUAAAAEBQAAAJ4BU3lzdGVtLkNvbGxlY3Rpb25zLkdlbmVyaWMuTGlzdGAxW1tBcGxvcmlzLkNoYXJ0LlBpZUNoYXJ0K1VudXNlZEVsZW1lbnQsIEFwbG9yaXMuQ2hhcnQsIFZlcnNpb249NC4yLjAuMTkwOCwgQ3VsdHVyZT1uZXV0cmFsLCBQdWJsaWNLZXlUb2tlbj0xNmZjMTNhMjI2YzBlOTUxXV0DAAAABl9pdGVtcwVfc2l6ZQhfdmVyc2lvbgQAACZBcGxvcmlzLkNoYXJ0LlBpZUNoYXJ0K1VudXNlZEVsZW1lbnRbXQIAAAAICAkWAAAAAAAAAAAAAAAFBgAAAKEBQXBsb3Jpcy5CYXNlLk9iamVjdHMuRGF0YU9iamVjdENvbGxlY3Rpb25gMVtbQXBsb3Jpcy5DaGFydC5QaWVDaGFydE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lBpZUNoYXJ0RWxlbWVudCwgQXBsb3Jpcy5DaGFydCwgVmVyc2lvbj00LjIuMC4xOTA4LCBDdWx0dXJlPW5ldXRyYWwsIFB1YmxpY0tleVRva2VuPTE2ZmMxM2EyMjZjMGU5NTFdXQMAAACXAVN5c3RlbS5Db2xsZWN0aW9ucy5HZW5lcmljLkxpc3RgMVtbQXBsb3Jpcy5DaGFydC5QaWVDaGFydE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FwAAAAkYAAAACQEAAAAJAQAAAAkZAAAABQcAAAAnQXBsb3Jpcy5DaGFydC5TdGFuZGFyZE1hZ25pdHVkZVByb3ZpZGVyBAAAABJtTWFnbml0dWRlQWJzb2x1dGURbU1hZ25pdHVkZVBlcmNlbnQSbUFic29sdXRlVmFyaWFibGVzEW1QZXJjZW50VmFyaWFibGVzAAAHBwgICAgCAAAAAAAAAAAAAAAJGgAAAAkbAAAABQ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BZBcGxvcmlzLkNoYXJ0LlBpZUNoYXJ0AgAAABZBcGxvcmlzLkNoYXJ0LlBpZUNoYXJ0AgAAAAgBCAgBCAgIAgAAAAkBAAAACQEAAAAAAAAAAAYcAAAAAS4DAAAABh0AAAABLAYeAAAAAS0GHwAAAAErAQAAAAAKCgYgAAAACE0vZC95eXl5AAAAAAoAAAAAAAAAAAUJ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WQXBsb3Jpcy5DaGFydC5QaWVDaGFydAIAAAAWQXBsb3Jpcy5DaGFydC5QaWVDaGFydAIAAAAIAQgIAQgICAIAAAAJAQAAAAkBAAAAAAAAAAAJHAAAAAMAAAAJHQAAAAkeAAAACR8AAAABAAAAAAoGIQAAAAElCSAAAAABAAAACgAAAAAAAAAADw0AAAAFLAAAAlBLAwQUAAYACAAAACEA0Cviz30BAACABg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FVbS8MwFH4X/A8lr9JmmyAi6/bg9FEHzh8Qk9O1rLmQk93+vafZFJHZOjbQl4Y2+S4np/kyHG90nazAY2VNzvpZjyVgpFWVmefsdfaY3rIEgzBK1NZAzraAbDy6vBjOtg4wIbTBnJUhuDvOUZagBWbWgaGZwnotAr36OXdCLsQc+KDXu+HSmgAmpKHhYKPhBAqxrEPysKHPOycEZ8n9bl0jlTPhXF1JEcgob2b5QdyqFbcy6pu51BZFJUFZudRkKSP8xIs1lf+DgIcaW5wdUNiXnhEyuseycni1L+GZ9t5XCpKp8OFJaCqUb2q+tn7xZu0ia9+H7nrQeRAKS4Cg6yyOmRaV+YV+XIw8Dv0zG2nqi8RH+hj8Ex/Xf+Qj0AEDHp+ntyTSdDQAw7YGPPdvGEm7lEvhQb0ET2fx7Aa+cnf4kFY3yYDnPgIfvG3yFEtTbx1SYno4vgkfydOgU0dE4EMFrdnzqUhxe3LXoclzBeqANo/3x+gd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oETvyAwEAANQ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8k89qwzAMxu+DvYPRfXGSbmWUOr2MQa9b9wAmVuLQxA6W9idvP5OxLoWSXUIvBkno+35I8nb31bXiAwM13inIkhQEutKbxtUK3g7Pd48giLUzuvUOFQxIsCtub7Yv2GqOTWSbnkRUcaTAMvcbKam02GlKfI8uViofOs0xDLXsdXnUNco8TdcyTDWgONMUe6Mg7M0KxGHoo/P/2r6qmhKffPneoeMLFvLThyNZRI6iOtTICk4pkmNllURikJdh7peE4Tgk/AMZQzm+2RzDw5IMxEMbN3qaxk88Z79e1N7qgOaVQzy3KcU0PQeTXfk4ZheTXxkm/52MPPuLxTcAAAD//wMAUEsDBBQABgAIAAAAIQAlYUGhtgIAAKYFAAAPAAAAeGwvd29ya2Jvb2sueG1spFTbjtMwEH1H4h+ivKfOvU3VZNXtRVRCaAXL7iNyHaex1pes42xTEP/OJKEXKA8L5CEej0fHZ87MeHbTCm69UF0zJVPbG7m2RSVROZO71P58v3YmtlUbLHPMlaSpfaC1fZO9fTPbK/20VerJAgBZp3ZpTDVFqCYlFbgeqYpKOCmUFtjAVu9QXWmK87qk1AiOfNeNkcBM2gPCVL8GQxUFI3SpSCOoNAOIphwboF+XrKqPaIK8Bk5g/dRUDlGiAogt48wcelDbEmS62Uml8ZZD2q0XHZHBvIIWjGhVq8KMAAoNJK/y9VzkeUPK2axgnD4Mslu4qj5g0d3CbYvj2qxyZmie2jFs1Z6eHUBCN9Vtwzic+pO4Y4WyUy3udLcD5nNuqJbY0IWSBoT6KfH/itJjL0oFJbA+0ueGaQqV77TJZvDHZIq39R02pdVontroBWtUKJ5Dnuh5j/wy8cuvJPcDL9Be/mJCWckv7sSFbyfRPTKiCqJomxdBMgIbXUiOr+v5F6Jj0uuEQJqBfjbr7N9lymZdRz8wuq/PonZbq31kMlf71Ha8MIphSA5nRxK44Nj3AY8sNyWUJgq7oMH3jrJdaWC4gjAEJ1QIXVzTzwNc16+W7PvgUzcjHgxet26g1GDrKQNDb3KwAeIq3L8IB/sUDvafwoOLcLBP4WB3BI+sCOYEuqpbeh6QvA8EiJKk0Ro6awEnqT2kRVvzvjbZDFZoAJba38bJOgqTcex4y3nkhLE3cW69cOyEi+UqvE2iYB5Mvp+rHP7bYLkJSo5z1Xrh9Pg0AfGcFrjhZiPwji4roBT443g85Ag0f+Ea+cEqWgaOH60DZx6tXMeLA9+JwzWUc+H7YeSfuIr2dVQFJoi2hPbv3eRIUrTTuSblZmmtOd7BCA1Fgkhg1P17GdExj+wH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lOwSK3oBAACnAgAAGAAAAHhsL3dvcmtzaGVldHMvc2hlZXQyLnhtbIySTU/DMAyG70j8hyh3mm7jY0zrEGJCcEBCiI9zmrpttCSuEo+xf4/baQNpl93i2H7i93Xmdz/eiW+IyWIo5CjLpYBgsLKhKeTH++PFVIpEOlTaYYBCbiHJu8X52XyDcZVaABJMCKmQLVE3UyqZFrxOGXYQOFNj9Jo4jI1KXQRdDU3eqXGeXyuvbZA7wiyewsC6tgaWaNYeAu0gEZwmnj+1tkt7mjen4LyOq3V3YdB3jCits7QdoFJ4M3tuAkZdOtb9M7rUZs8egiO8tyZiwpoyxqndoMeab9WtYtJiXllW0NsuItSFvB9JoRbzwZ1PC5v07yx6s0vEVZ94rgrJW+JadVT8OLj9GkWpEzyg+7IVtbxWrq+g1mtHf5fTbDoZ55PR+OqQfMPNE9imJW7h20HmrNouIRk2m5/Nxn9DLjXpfopON/CiY2NDEg7qoexGirjj5BmfCbu++YaZJRKh30ct/wfgvefZRIoakQ5BL+/wxRa/AAAA//8DAFBLAwQUAAYACAAAACEAlOwSK3oBAACnAgAAGAAAAHhsL3dvcmtzaGVldHMvc2hlZXQzLnhtbIySTU/DMAyG70j8hyh3mm7jY0zrEGJCcEBCiI9zmrpttCSuEo+xf4/baQNpl93i2H7i93Xmdz/eiW+IyWIo5CjLpYBgsLKhKeTH++PFVIpEOlTaYYBCbiHJu8X52XyDcZVaABJMCKmQLVE3UyqZFrxOGXYQOFNj9Jo4jI1KXQRdDU3eqXGeXyuvbZA7wiyewsC6tgaWaNYeAu0gEZwmnj+1tkt7mjen4LyOq3V3YdB3jCits7QdoFJ4M3tuAkZdOtb9M7rUZs8egiO8tyZiwpoyxqndoMeab9WtYtJiXllW0NsuItSFvB9JoRbzwZ1PC5v07yx6s0vEVZ94rgrJW+JadVT8OLj9GkWpEzyg+7IVtbxWrq+g1mtHf5fTbDoZ55PR+OqQfMPNE9imJW7h20HmrNouIRk2m5/Nxn9DLjXpfopON/CiY2NDEg7qoexGirjj5BmfCbu++YaZJRKh30ct/wfgvefZRIoakQ5BL+/wxRa/AAAA//8DAFBLAwQUAAYACAAAACEALtGgUMUCAAARBwAAGAAAAHhsL3dvcmtzaGVldHMvc2hlZXQxLnhtbIyVS2+jMBDH7yvtd7B8L2AgQFFI1TRbbQ8rVfs8O2DAKmDWdvP49jvGCXk0K3Gx/Bj/5zfjGZg/7NoGbZhUXHQZJo6HEetyUfCuyvCvn893CUZK066gjehYhvdM4YfF50/zrZBvqmZMI1DoVIZrrfvUdVVes5YqR/Ssg5NSyJZqWMrKVb1ktBgutY3re17ktpR32CqkcoqGKEues5XI31vWaSsiWUM18Kua9+qotism6RWSbiHWI88Z4sqejHok/MDX8lwKJUrt5KJ1LdrHKO/d+4s423xKoC2Vb+/9HQj3ENyaN1zvh3AxavP0peqEpOsGXmRHQpqfUdKP8tM5QWkxLzjk1hQEkqzM8CNJlxFG7mI+PN1vzrbqbI40Xf9gDcs1K6CCMDKVsRbizRi+wJYHkmowMJI013zDnljTZHjpQ3H9HZws/aMTd/SymJ/mR4/PQz29SrSmij2J5g8vdA1uoW4LVtL3Rp82EycJfC8g/mw8/C62Xxmvag1XYHfIXVrsV0zlUE7A6gASRJqLBjzCiFpu+gKSTnc2OuvwXFvpvXmI8HjT3gEheycKEjja/vceiINH17ocgl9RTRdzKbYIahiOVU9Nh5EUNG8iA6oxfTS2GQ4siNlZ2h0blAuKo6xJ/VRZY5thyBdkSMFrbhbe3N0Y5oPj4SEzHNszJwxnQRjHSZQQ4nskjEbrCwTgnIxgbDMMZTgikCsEa5EcEAiJZsH5cBsBHmYygrG9RPCvEKzFiJB4UZSEcRDMSOh5JLmNAGmdjGBsLxGCKwRrcUIgs5gk4xDfRoC0TkYwtpcI4RWCtbAIsTNLEi8+Df6Xu1PWbDXYJrc139OKfaOy4p1CDSuHjowxkrZlPQfmWvSmT2OIdC20Fu1xVcPPhUHNew6UQimEHhfQXg2raL4/fNORTDl8mORLcei98We2+AcAAP//AwBQSwMEFAAGAAgAAAAhALRTco+2AwAAEQ0AAA0AAAB4bC9zdHlsZXMueG1s1FdZj9s2EH4v0P8gcNFHryTfMiQFtXdVBEiDArsB+kpJlEyEhyDRWztB/3uHpK7djdfZJujhB5vH8JuZj5zD4ZsjZ84DqRsqRYT8aw85RGQyp6KM0If7ZLJGTqOwyDGTgkToRBr0Jv7xh7BRJ0bu9oQoByBEE6G9UtXGdZtsTzhurmVFBOwUsuZYwbQu3aaqCc4bfYgzd+p5S5djKpBF2PDsa0A4rj8eqkkmeYUVTSmj6mSwkMOzzdtSyBqnDEw9+nOcddhm8gye06yWjSzUNcC5sihoRp5bGbiBC0hxKA484apxMnkQCtjqlxy78zaHxeUcOdbpnczBjKurK+/a+wk5bhy6LUIcFlIMQHDC2Lf5KOQfItFbFl1LxWHzyXnADFZ8A5JJJmtHAcuAbpcE5sTK7DCjaU2NYIE5ZSe7PjUr5m5aSU6BKWuVVWO/U21npzEYKaQiJ0cCHq6f6rzHe8nxGZXuGPwf9eSLyuoyjVCSeOZjTB64+4Uy5txh0bzsivGogSsE8f4tzOEt6IU4hFepSC0SDdaO708VXJWAAGr5NoIXxMsan/zp4hUnGsloru0od+aJtL4mye62xUnbnf4u9WPV73JkNMysZRfsO6vtdhUkBvVV2oxSYDWVdQ7paBxjdikOGSmUtram5d4MlKz0PJVKSa5HOcWlFJgZn7pjbgsZhxlh7E7nrd+LXsECCDsWowCGDKifrI5lPYSraocWpp2AsnOnINT+16fcMU2WtBFfwd/j61hcJu4FuvvjuKrYaWveSJf8vuL24Eoe3d5jOB2qrwADM78f2OybwQDh3HOzbkK6NqzpumLctLPO6aeMmvnPjJaCk67KQVGxU2cva/oJgHQ90vGIdPOgaKbnEI42mxyL89Fx0Vy4q3/b3LaG2yRw0WAQMAa/P/CU1Inpd0Y8f2/WM7gVAoV74L1b0Yn8GfWv8wXKwX/LF5OMIP2Mkvej1N3nKkfX8Qi91/Qz6Ke6fJMeKFNUDNnn6QnTyPoLz5/6s+ViuV7rbsychosFSi/IB2t4sFbe1tKX5VczD2D7wLyIv5r5q07e9nBDegZS8uNQySAvAZzSza8pcj1PsJGTAh+Yuu83IzSMfyU5PXBAb6V+ow9SGYgIDeN3uur6S6OEHNW7BjpT+HUONY3Q59vtKri5TaaTtbddT+YzspgEi+3NZDHfbW9uksCbers/R834N7Ti5i8DJBh/vmkYNOx1621r/d2wFqHRxNpvExTYDbHSeeEO/2XivwAAAP//AwBQSwMEFAAGAAgAAAAhAKKCILxgAgAAkQQAABsAAAB4bC9kcmF3aW5ncy92bWxEcmF3aW5nMS52bWyMVE2L2zAQvRf6H4T2kIuNP+gWqtiGZcve2kI/j4tiK7F2JY2xJo6zv74j28kmpZQa4kgzT6P33kxSjNYw+jgvhpLveyd83SorfWx13YOHLcY1WDFYw9++WZDwLyRst7pWYv56PTP+xxk11uriGkuMWsROJImV9U9rvk3UfvSaV8SlAOFb2Skjj7BHNgg1YslVo3FKh7xurOyuMqyRKEue8WQqkVzVqIphLonHTjHdlPxxTOl5xDzNOasB+sbrF1XyPHufptH05oxqdHRzwBAt1klsS27TKDULZAZevdNRLSzpSuzhWbEn0M7j0VB5q1H1M0VGnEJFtutlo5XDSTM8lxzDzTU4p2oMhEve0+ok7ELJWdalJJ+l+S1n88GbK50ziVUHXqMGJ+TGg9mjWgd1VvY77WKjtiiyPOtwvUQQOpHT9qAbbEWu3bpVeteiyEP0JdauUaPIpiKD9nqjjcajaHXTKLe2HuJDL7t4ulxgOLliW21MDQb6kt9s6VFZ0Ew2KbTQkGK5Rzj7GNDUJILnr/ipz8FE8q2BAwM3O7fx9b5X1OLFsbPPf3jqwKnXTiDN2AZGtlgUWDc62E4+xdKgCIRWYbQYKxo9nIDhHOX1zong3KoqEspOuCIZxFJ23o/i3oRGf6RJZV82T1T9+9Tez4DL0LBiFJ9gUL80tvfKGD+rDOFvNJ9/Cd+5uoV+JsbyiGW3EUujsHoXsVvaZBH7UCSjuARSuTvS80C+Vg/SeDUBTpFZ5Ci+wqFKQyYsTsF7mhjrqizEl3VITduzuvknuEwqWUL/Q9VvAAAA//8DAFBLAwQUAAYACAAAACEA1W0nstkAAAA3AQAAFAAAAHhsL3NoYXJlZFN0cmluZ3MueG1sXI9BSwQxDIXvgv+h5KQHt6OgiLRdFkXw5B7WH1A6cVto09kmM+i/t4uIMLe8970kPLP9Klkt2DhVsnC7GUAhhTomOlr4OLzePIJi8TT6XAktfCPD1l1eGGZRfZfYQhSZnrTmELF43tQJqZPP2oqXLttR89TQjxwRpWR9NwwPuvhEoEKdSSzcg5opnWZ8/tPOcHJG3L4hh5YmSQsaLc7os//LXnDBXKeCJD6v4W5cEvcWyrM6oA+xz+vMG0mbuV9WV/tWfTg/uV6H3iVi+zd1L+5+AAAA//8DAFBLAwQUAAYACAAAACEAr6YrnzkBAAAV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T8IwFMXfTfwOTd+3boMgNNtI1PAk0USIxremvYPG9U/a6uDbWwZMDD7enHN/Oefecr5TLfoG56XRFc7TDCPQ3AipNxVerxbJFCMfmBasNRoqvAeP5/XtTckt5cbBizMWXJDgUSRpT7mt8DYESwnxfAuK+TQ6dBQb4xQLcXQbYhn/ZBsgRZZNiILABAuMHICJHYj4hBR8QNov1/YAwQm0oEAHT/I0J7/eAE75fxd65cKpZNjb2OkU95It+FEc3DsvB2PXdWk36mPE/Dl5Xz699lUTqQ+34oDrUnDKHbBgXF2SyyEermU+LOONGwnifl8vJXfGmyag56aRHNDagyvJtTFC+w5UnZZRjEWPJc7S2+jhcbXAdZHld0k2S4rJKp/S8YwW449DkL+AmO3qkfUPAAAA//8DAFBLAwQUAAYACAAAACEAY/PjYwIBAACAAQAAEAAAAHhsL2NvbW1lbnRzMS54bWxUj8FqwzAMhu+DvYPRfXXaw+hGnEIPhcEOPXQP4CVKY7DlYDkl3dNPSZrBwBj/v+Tvl8rDGLy6YWIXycB2U4BCqmPj6Grg63J62YPibKmxPhIauCPDoXp+KusYAlJmJQBiA13O/bvWXHcYLG9ijySVNqZgs8h01dwntA13iDl4vSuKVx2sI6hKO+QuJl4fSlel/vMeQZ+Oc7WmqoStgeMW1NL20RgoBJRxlKYk5yzX9wTiH3Wz3sAbTKqOPiblqMER5c9eCOKmU6S8tF1sF4Od3dYG5++LvZsdPWNzdXao0OO0/1QeUAl3CFRqSdeSrJdB9GN2Mf5tsSqufgEAAP//AwBQSwMEFAAGAAgAAAAhABUuMW+TAQAAPg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NPT+MwEMXvK/EdIt+p0xbQqnKMVvwRBxCVWtiz15k0Fq4deYao5dMzSURJd5cLt5l5Ty8/jx11udv6rIWELoZCTCe5yCDYWLqwKcTT+vb0p8iQTCiNjwEKsQcUl/rkh1qm2EAiB5hxRMBC1ETNQkq0NWwNTlgOrFQxbQ1xmzYyVpWzcB3t6xYCyVmeX0jYEYQSytPmECiGxEVL3w0to+348Hm9bxhYq19N4501xKfUD86miLGi7MFYFyhind3sLHglxzbFnCuwr8nRXudKjlu1ssbDFX9CV8YjKPk5UHdguvUtjUuoVUuLFizFlKF74wXORPbHIHRghWhNciYQA3a2oelr3yAl/TumF6wBCJVkwzDsy7F3XLszPe8NXBwbu4ABhIVjxLUjD/hYLU2i/xDPx8Q9w8A74Kw6vumY70DaS7OvpYF0fKp+Ucz3F9G9Cy/41KzjtSH42PjxUK1qk6DkSzrcyGGg7njZyXchV7UJGyg/PP8K3Ut5Hn4HPT2f5POcr340U/Lz4et3AAAA//8DAFBLAQItABQABgAIAAAAIQDQK+LPfQEAAIAGAAATAAAAAAAAAAAAAAAAAAAAAABbQ29udGVudF9UeXBlc10ueG1sUEsBAi0AFAAGAAgAAAAhAFB8TsHzAAAATAIAAAsAAAAAAAAAAAAAAAAAtgMAAF9yZWxzLy5yZWxzUEsBAi0AFAAGAAgAAAAhAKgRO/IDAQAA1AMAABoAAAAAAAAAAAAAAAAA2gYAAHhsL19yZWxzL3dvcmtib29rLnhtbC5yZWxzUEsBAi0AFAAGAAgAAAAhACVhQaG2AgAApgUAAA8AAAAAAAAAAAAAAAAAHQkAAHhsL3dvcmtib29rLnhtbFBLAQItABQABgAIAAAAIQDcBge+egYAANkbAAATAAAAAAAAAAAAAAAAAAAMAAB4bC90aGVtZS90aGVtZTEueG1sUEsBAi0AFAAGAAgAAAAhAOdldbjWAAAAuAEAACMAAAAAAAAAAAAAAAAAqxIAAHhsL3dvcmtzaGVldHMvX3JlbHMvc2hlZXQxLnhtbC5yZWxzUEsBAi0AFAAGAAgAAAAhAJTsEit6AQAApwIAABgAAAAAAAAAAAAAAAAAwhMAAHhsL3dvcmtzaGVldHMvc2hlZXQyLnhtbFBLAQItABQABgAIAAAAIQCU7BIregEAAKcCAAAYAAAAAAAAAAAAAAAAAHIVAAB4bC93b3Jrc2hlZXRzL3NoZWV0My54bWxQSwECLQAUAAYACAAAACEALtGgUMUCAAARBwAAGAAAAAAAAAAAAAAAAAAiFwAAeGwvd29ya3NoZWV0cy9zaGVldDEueG1sUEsBAi0AFAAGAAgAAAAhALRTco+2AwAAEQ0AAA0AAAAAAAAAAAAAAAAAHRoAAHhsL3N0eWxlcy54bWxQSwECLQAUAAYACAAAACEAooIgvGACAACRBAAAGwAAAAAAAAAAAAAAAAD+HQAAeGwvZHJhd2luZ3Mvdm1sRHJhd2luZzEudm1sUEsBAi0AFAAGAAgAAAAhANVtJ7LZAAAANwEAABQAAAAAAAAAAAAAAAAAlyAAAHhsL3NoYXJlZFN0cmluZ3MueG1sUEsBAi0AFAAGAAgAAAAhAK+mK585AQAAFQIAABEAAAAAAAAAAAAAAAAAoiEAAGRvY1Byb3BzL2NvcmUueG1sUEsBAi0AFAAGAAgAAAAhAGPz42MCAQAAgAEAABAAAAAAAAAAAAAAAAAAEiQAAHhsL2NvbW1lbnRzMS54bWxQSwECLQAUAAYACAAAACEAFS4xb5MBAAA+AwAAEAAAAAAAAAAAAAAAAABCJQAAZG9jUHJvcHMvYXBwLnhtbFBLBQYAAAAADwAPAOQDAAALKAAAAAAPDgAAAAEAAAAIAgAAAAUS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YiAAAABUFyaWFsBiMAAAAW77yt77yzIO+8sOOCtOOCt+ODg+OCrwkkAAAAAQAJJQAAAAcTAAAAAAEAAAARAAAABBRTeXN0ZW0uRHJhd2luZy5Db2xvcgQAAAAFJgAAABRTeXN0ZW0uRHJhd2luZy5Db2xvcgQAAAAFdmFsdWUFc3RhdGUKa25vd25Db2xvcgRuYW1lAAAAAQkHBwQAAAAAAAAAAAAAAAAAAAAKAScAAAAmAAAAAAAA//////8CAAAACgEoAAAAJgAAAP//////////AgAAAAoBKQAAACYAAABOQSL//////wIAAAAKASoAAAAmAAAA3tzb//////8CAAAACgErAAAAJgAAAH5pP///////AgAAAAoBLAAAACYAAACMhHL//////wIAAAAKAS0AAAAmAAAAJSHt//////8CAAAACgEuAAAAJgAAADQ7Rv//////AgAAAAoBLwAAACYAAAB0mMP//////wIAAAAKATAAAAAmAAAAHpT3//////8CAAAACgExAAAAJgAAAB6U9///////AgAAAAoBMgAAACYAAAAlIe3//////wIAAAAKATMAAAAmAAAAAAAA//////8CAAAACgE0AAAAJgAAAP//////////AgAAAAoBNQAAACYAAABOQSL//////wIAAAAKATYAAAAmAAAA3tzb//////8CAAAACgQU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k3AAAAAwAAAAMAAAAEF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OAAAAAAAAAAAAAAABxYAAAAAAQAAAAAAAAAEJEFwbG9yaXMuQ2hhcnQuUGllQ2hhcnQrVW51c2VkRWxlbWVudAIAAAAEFwAAAJcBU3lzdGVtLkNvbGxlY3Rpb25zLkdlbmVyaWMuTGlzdGAxW1tBcGxvcmlzLkNoYXJ0LlBpZUNoYXJ0RWxlbWVudCwgQXBsb3Jpcy5DaGFydCwgVmVyc2lvbj00LjIuMC4xOTA4LCBDdWx0dXJlPW5ldXRyYWwsIFB1YmxpY0tleVRva2VuPTE2ZmMxM2EyMjZjMGU5NTFdXQMAAAAGX2l0ZW1zBV9zaXplCF92ZXJzaW9uBAAAH0FwbG9yaXMuQ2hhcnQuUGllQ2hhcnRFbGVtZW50W10CAAAACAgJOQAAAAUAAAAIAAAAARgAAAAUAAAACToAAAAFAAAABQAAAAEZAAAAFQAAAAk4AAAAAAAAAAAAAAAPGgAAAAAAAAAIDxsAAAAAAAAACAUkAAAAGkFwbG9yaXMuQmFzZS5PYmplY3RzLkNvbG9yBwAAABJEYXRhT2JqZWN0K21QYXJlbnQVRGF0YU9iamVjdCttQ29udGFpbmVyBW1UeXBlBG1SR0IQbVRoZW1lQ29sb3JJbmRleAxtQXV0b1VwZGF0ZWQJbU1vZGlmaWVkAgIAAAAAAAgICAEBAwAAAAoKAAAAAAAAAAANAAAAAAEBJQAAACQAAAAKCgEAAAAAAAAA/////wABBzcAAAAAAQAAAAQAAAAEH0FwbG9yaXMuQmFzZS5PYmplY3RzLkRhdGFPYmplY3QDAAAACQgAAAAJCQAAAAkGAAAACgc4AAAAAAEAAAAAAAAABBxBcGxvcmlzLkJhc2UuVUkuVmlzdWFsT2JqZWN0AwAAAAc5AAAAAAEAAAAIAAAABB1BcGxvcmlzLkNoYXJ0LlBpZUNoYXJ0RWxlbWVudAIAAAAJOwAAAAk8AAAACT0AAAAJPgAAAAk/AAAADQMHOgAAAAABAAAACAAAAAQfQXBsb3Jpcy5CYXNlLk9iamVjdHMuRGF0YU9iamVjdAMAAAAJOwAAAAk8AAAACT0AAAAJPgAAAAk/AAAADQMFOwAAAB1BcGxvcmlzLkNoYXJ0LlBpZUNoYXJ0RWxlbWVudBQAAAAGbUNoYXJ0Bm1WYWx1ZQxtRGVzY3JpcHRpb24PbUNlbnRlckRpc3RhbmNlDW1TaG93SW5MZWdlbmQNbU91dHNpZGVMYWJlbAxtSW5zaWRlTGFiZWwKbVZpc3VhbFBpZQhtVmlzaWJsZQltRXhjZWxSb3cVbUluc2lkZUxhYmVsUG9zaXRpb25zF21JbnNpZGVMYWJlbEFuY2hvck1vZGVzFG1JbnNpZGVMYWJlbFBvc2l0aW9uFm1PdXRzaWRlTGFiZWxQb3NpdGlvbnMYbU91dHNpZGVMYWJlbEFuY2hvck1vZGVzFW1PdXRzaWRlTGFiZWxQb3NpdGlvbhhEYXRhT2JqZWN0K21DaGlsZE9iamVjdHMSRGF0YU9iamVjdCttUGFyZW50FURhdGFPYmplY3QrbUNvbnRhaW5lchlEYXRhT2JqZWN0K21WaXN1YWxPYmplY3RzBAICAAAEBAQAAAQEAAQEAAMEBAMWQXBsb3Jpcy5DaGFydC5QaWVDaGFydAIAAAALARVBcGxvcmlzLkJhc2UuVUkuTGFiZWwDAAAAFUFwbG9yaXMuQmFzZS5VSS5MYWJlbAMAAAAZQXBsb3Jpcy5CYXNlLlVJLlZpc3VhbFBpZQMAAAABCBdTeXN0ZW0uRHJhd2luZy5Qb2ludEZbXQQAAAAZQXBsb3Jpcy5CYXNlLkFuY2hvck1vZGVbXQMAAAAIF1N5c3RlbS5EcmF3aW5nLlBvaW50RltdBAAAABlBcGxvcmlzLkJhc2UuQW5jaG9yTW9kZVtdAwAAAAi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CAZIzuwAlIDcPwZAAAAADFByZXNjcmlwdGl2ZQAAAAABCUEAAAAJQgAAAAlDAAAAAQIAAAAJRAAAAAlFAAAAAAAAAAlGAAAACUcAAAAAAAAACUgAAAAJAQAAAAkBAAAACUkAAAABPAAAADsAAAAJAQAAAAgGKnP6h/zUvT8GSgAAAA1EZXZlbG9wbWVudGFsAAAAAAEJSwAAAAlMAAAACU0AAAABAwAAAAlOAAAACU8AAAAAAAAACVAAAAAJUQAAAAAAAAAJUgAAAAkBAAAACQEAAAAJUwAAAAE9AAAAOwAAAAkBAAAACAaSMzsAJSDHPwZUAAAAFEFkdmlzaW5nIGFzIFRlYWNoaW5nAAAAAAEJVQAAAAlWAAAACVcAAAABBAAAAAlYAAAACVkAAAAAAAAACVoAAAAJWwAAAAAAAAAJXAAAAAkBAAAACQEAAAAJXQAAAAE+AAAAOwAAAAkBAAAACAboQTHJvj3HPwZeAAAAFUludHJ1c2l2ZSAoUHJvYWN0aXZlKQAAAAABCV8AAAAJYAAAAAlhAAAAAQUAAAAJYgAAAAljAAAAAAAAAAlkAAAACWUAAAAAAAAACWYAAAAJAQAAAAkBAAAACWcAAAABPwAAADsAAAAJAQAAAAgGwmh54etssz8GaAAAAAVPdGhlcgAAAAABCWkAAAAJagAAAAlrAAAAAQYAAAAJbAAAAAltAAAAAAAAAAluAAAACW8AAAAAAAAACXAAAAAJAQAAAAkBAAAACXEAAAAFQQA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VyAAAAK0FwbG9yaXMuQ2hhcnQuQ29ubmVjdGVkTGFiZWwrZUNvbm5lY3Rvck1vZGUBAAAAB3ZhbHVlX18ACAIAAAAAAAAABXMAAAA2QXBsb3Jpcy5DaGFydC5Db25uZWN0ZWRMYWJlbCtlQW5nbGVkQ29ubmVjdG9yRGlyZWN0aW9uAQAAAAd2YWx1ZV9fAAgCAAAAAAAAAAF0AAAACwAAAP//f////3//AAAAAAAAAAAFdQAAAC1BcGxvcmlzLkNoYXJ0LkNvbm5lY3RlZExhYmVsK2VUYXJnZXRBcmVhU2hhcGUBAAAAB3ZhbHVlX18ACAIAAAAAAAAAAACgQAABdgAAAAoAAABjhI9DaCmiQwV3AAAAF0FwbG9yaXMuQmFzZS5BbmNob3JNb2RlAQAAAAd2YWx1ZV9fAAgDAAAAAwAAAAAAAAAAAAAAAAl4AAAAAAAAAAl5AAAAAAAABXoAAAAqQXBsb3Jpcy5CYXNlLlVJLkxhYmVsK0xpbmVBbGlnbm1lbnRPcHRpb25zAQAAAAd2YWx1ZV9fAAgDAAAAAAAAAAV7AAAAFFN5c3RlbS5EcmF3aW5nLlNpemVGAgAAAAV3aWR0aAZoZWlnaHQAAAsLBAAAAAAAokIAAIhBAXwAAAALAAAAsBN9Q8ROokNca4NCEztRQV662T8JQAAAAAoJfQAAAAZ+AAAAADQDAAD/////AQEKCX8AAAABAAoBBUI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gAAAAAoAAADkf4hDN2JzQwGBAAAAdwAAAAAAAAAAAAAAAAAAAAAJggAAAAAAAAAJgwAAAAAAAAGEAAAAegAAAAAAAAABhQAAAHsAAAAAAPhBAACIQQGGAAAACwAAABM7gUNO7GxDN/zZQRM7UUFeutk/BocAAAADNDUlCgmIAAAACX4AAAA0AwAA/////wEBCgmJAAAAAQAKAQVDAAAAGUFwbG9yaXMuQmFzZS5VSS5WaXN1YWxQaWURAAAADG1DZW50ZXJQb2ludAdtUmFkaXVzDW1TZWdtZW50U3RhcnQLbVNlZ21lbnRFbmQLbUxpbmVGb3JtYXQLbUZpbGxGb3JtYXQ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AAAQEBAAAAAAHAgAAAwAVU3lzdGVtLkRyYXdpbmcuUG9pbnRGBAAAAAsLCx9BcGxvcmlzLkJhc2UuT2JqZWN0cy5MaW5lRm9ybWF0AwAAAB9BcGxvcmlzLkJhc2UuT2JqZWN0cy5GaWxsRm9ybWF0AwAAABlTeXN0ZW0uRHJhd2luZy5SZWN0YW5nbGVGBAAAAAgIAQEIAQEPU3lzdGVtLkludFB0cltdAQMAAAABigAAAAoAAACf2IFD66QmQ+zEG0MAAAAAQVMgQwmLAAAACYwAAAABjQAAAAsAAAAAAAAAAAAAAAAAAAAAAAAA4AEAAP////8BAQoJjgAAAAEACgEHRAAAAAABAAAAAgAAAAQVU3lzdGVtLkRyYXdpbmcuUG9pbnRGBAAAAAGPAAAACgAAAOR/iEM3YnNDAZAAAAAKAAAAQbKOQ5VtnUMHRQAAAAABAAAAAgAAAAQXQXBsb3Jpcy5CYXNlLkFuY2hvck1vZGUDAAAAAZEAAAB3AAAAAAAAAAGSAAAAdwAAAAEAAAAHRgAAAAABAAAAAQAAAAQVU3lzdGVtLkRyYXdpbmcuUG9pbnRGBAAAAAGTAAAACgAAAGOEj0NoKaJDB0cAAAAAAQAAAAEAAAAEF0FwbG9yaXMuQmFzZS5BbmNob3JNb2RlAwAAAAGUAAAAdwAAAAMAAAABSAAAABQAAAAJlQAAAAAAAAAAAAAAAUkAAAAVAAAACZYAAAADAAAAAwAAAAFLAAAAQQAAAApYAgAAAZcAAAByAAAAAAAAAAGYAAAAcwAAAAAAAAABmQAAAAsAAAD//3////9//wAAAAAAAAAAAZoAAAB1AAAAAAAAAAAAoEAAAZsAAAAKAAAAu6i4QgbYIkMBnAAAAHcAAAACAAAAAAAAAAAAAAAACZ0AAAAAAAAACZ4AAAAAAAABnwAAAHoAAAAAAAAAAaAAAAB7AAAAAADQQgAAiEEBoQAAAAsAAAD//x9BYiccQ9LNpkITO1FBXrrZPwlKAAAACgmiAAAACX4AAAA0AwAA/////wEBCgmjAAAAAQAKAQFMAAAAQgAAAAGkAAAACgAAAOvTNUNJ4CRDAaUAAAB3AAAAAAAAAAAAAAAAAAAAAAmmAAAAAAAAAAmnAAAAAAAAAagAAAB6AAAAAAAAAAGpAAAAewAAAAAA+EEAAIhBAaoAAAALAAAATuwmQyd2HkM3/NlBEztRQV662T8GqwAAAAMxMiUKCawAAAAJfgAAADQDAAD/////AQEKCa0AAAABAAoBAU0AAABDAAAAAa4AAAAKAAAAn9iBQ+ukJkPsxBtDQVMgQ8RGSkMJrwAAAAmwAAAAAbEAAAALAAAAAAAAAAAAAAAAAAAAAAAAAOABAAD/////AQEKCbIAAAABAAoBB04AAAAAAQAAAAIAAAAEFVN5c3RlbS5EcmF3aW5nLlBvaW50RgQAAAABswAAAAoAAADr0zVDSeAkQwG0AAAACgAAAO7s00JGJyNDB08AAAAAAQAAAAIAAAAEF0FwbG9yaXMuQmFzZS5BbmNob3JNb2RlAwAAAAG1AAAAdwAAAAAAAAABtgAAAHcAAAAEAAAAB1AAAAAAAQAAAAEAAAAEFVN5c3RlbS5EcmF3aW5nLlBvaW50RgQAAAABtwAAAAoAAAC7qLhCBtgiQwdRAAAAAAEAAAABAAAABBdBcGxvcmlzLkJhc2UuQW5jaG9yTW9kZQMAAAABuAAAAHcAAAACAAAAAVIAAAAUAAAACZUAAAAAAAAAAAAAAAFTAAAAFQAAAAm5AAAAAwAAAAMAAAABVQAAAEEAAAAKWAIAAAG6AAAAcgAAAAAAAAABuwAAAHMAAAAAAAAAAbwAAAALAAAA//9/////f/8AAAAAAAAAAAG9AAAAdQAAAAAAAAAAAKBAAAG+AAAACgAAACCgJ0NTlhBCAb8AAAB3AAAACAAAAAAAAAAAAAAAAAnAAAAAAAAAAAnBAAAAAAAAAcIAAAB6AAAAAAAAAAHDAAAAewAAAAAAFEMAAIhBAcQAAAALAAAAsBNLQomduEEOf+pCEztRQV662T8JVAAAAAoJxQAAAAl+AAAANAMAAP////8BAQoJxgAAAAEACgEBVgAAAEIAAAABxwAAAAoAAAAly1ZD6gHOQgHIAAAAdwAAAAAAAAAAAAAAAAAAAAAJyQAAAAAAAAAJygAAAAAAAAHLAAAAegAAAAAAAAABzAAAAHsAAAAAAPhBAACIQQHNAAAACwAAAP//R0PETsBCN/zZQRM7UUFeutk/Bs4AAAADMTglCgnPAAAACX4AAAA0AwAA/////wEBCgnQAAAAAQAKAQFXAAAAQwAAAAHRAAAACgAAAJ/YgUPrpCZD7MQbQ8RGSkOWqIVDCdIAAAAJ0wAAAAHUAAAACwAAAAAAAAAAAAAAAAAAAAAAAADgAQAA/////wEBCgnVAAAAAQAKAQdYAAAAAAEAAAACAAAABBVTeXN0ZW0uRHJhd2luZy5Qb2ludEYEAAAAAdYAAAAKAAAAJctWQ+oBzkIB1wAAAAoAAAA1DCtDcP0jQgdZAAAAAAEAAAACAAAABBdBcGxvcmlzLkJhc2UuQW5jaG9yTW9kZQMAAAAB2AAAAHcAAAAAAAAAAdkAAAB3AAAABQAAAAdaAAAAAAEAAAABAAAABBVTeXN0ZW0uRHJhd2luZy5Qb2ludEYEAAAAAdoAAAAKAAAAIKAnQ1OWEEIHWwAAAAABAAAAAQAAAAQXQXBsb3Jpcy5CYXNlLkFuY2hvck1vZGUDAAAAAdsAAAB3AAAACAAAAAFcAAAAFAAAAAmVAAAAAAAAAAAAAAABXQAAABUAAAAJ3AAAAAMAAAADAAAAAV8AAABBAAAAClgCAAAB3QAAAHIAAAAAAAAAAd4AAABzAAAAAAAAAAHfAAAACwAAAP//f////3//AAAAAAAAAAAB4AAAAHUAAAAAAAAAAACgQAAB4QAAAAoAAADaSalDrxjwQQHiAAAAdwAAAAcAAAAAAAAAAAAAAAAJ4wAAAAAAAAAJ5AAAAAAAAAHlAAAAegAAAAAAAAAB5gAAAHsAAAAAAApDAACIQQHnAAAACwAAALETqEN2YodBmBzbQhM7UUFeutk/CV4AAAAKCegAAAAJfgAAADQDAAD/////AQEKCekAAAABAAoBAWAAAABCAAAAAeoAAAAKAAAAPFGVQ2ljxkIB6wAAAHcAAAAAAAAAAAAAAAAAAAAACewAAAAAAAAACe0AAAAAAAAB7gAAAHoAAAAAAAAAAe8AAAB7AAAAAAD4QQAAiEEB8AAAAAsAAABO7I1DiZ24Qjf82UETO1FBXrrZPwbxAAAAAzE4JQoJ8gAAAAl+AAAANAMAAP////8BAQoJ8wAAAAEACgEBYQAAAEMAAAAB9AAAAAoAAACf2IFD66QmQ+zEG0OWqIVDalemQwn1AAAACfYAAAAB9wAAAAsAAAAAAAAAAAAAAAAAAAAAAAAA4AEAAP////8BAQoJ+AAAAAEACgEHYgAAAAABAAAAAgAAAAQVU3lzdGVtLkRyYXdpbmcuUG9pbnRGBAAAAAH5AAAACgAAADxRlUNpY8ZCAfoAAAAKAAAA2kmoQ5XnBUIHYwAAAAABAAAAAgAAAAQXQXBsb3Jpcy5CYXNlLkFuY2hvck1vZGUDAAAAAfsAAAB3AAAAAAAAAAH8AAAAdwAAAAYAAAAHZAAAAAABAAAAAQAAAAQVU3lzdGVtLkRyYXdpbmcuUG9pbnRGBAAAAAH9AAAACgAAANpJqUOvGPBBB2UAAAAAAQAAAAEAAAAEF0FwbG9yaXMuQmFzZS5BbmNob3JNb2RlAwAAAAH+AAAAdwAAAAcAAAABZgAAABQAAAAJlQAAAAAAAAAAAAAAAWcAAAAVAAAACf8AAAADAAAAAwAAAAFpAAAAQQAAAApYAgAAAQABAAByAAAAAAAAAAEBAQAAcwAAAAAAAAABAgEAAAsAAAD//3////9//wAAAAAAAAAAAQMBAAB1AAAAAAAAAAAAoEAAAQQBAAAKAAAA9i/PQycOAUMBBQEAAHcAAAAEAAAAAAAAAAAAAAAACQYBAAAAAAAACQcBAAAAAAABCAEAAHoAAAAAAAAAAQkBAAB7AAAAAAAcQgAAiEEBCgEAAAsAAADsxM1DiZ30QqWbBUITO1FBXrrZPwloAAAACgkLAQAACX4AAAA0AwAA/////wEBCgkMAQAAAQAKAQFqAAAAQgAAAAENAQAACgAAAO2vp0PAQBRDAQ4BAAB3AAAAAAAAAAAAAAAAAAAAAAkPAQAAAAAAAAkQAQAAAAAAAREBAAB6AAAAAAAAAAESAQAAewAAAAAAsEEAAIhBARMBAAALAAAATuyhQ9iJDUPBmaJBEztRQV662T8GFAEAAAI4JQoJFQEAAAl+AAAANAMAAP////8BAQoJFgEAAAEACgEBawAAAEMAAAABFwEAAAoAAACf2IFD66QmQ+zEG0NqV6ZDAAAAAAkYAQAACRkBAAABGgEAAAsAAAAAAAAAAAAAAAAAAAAAAAAA4AEAAP////8BAQoJGwEAAAEACgEHbAAAAAABAAAAAgAAAAQVU3lzdGVtLkRyYXdpbmcuUG9pbnRGBAAAAAEcAQAACgAAAO2vp0PAQBRDAR0BAAAKAAAALSfKQ4WAA0MHbQAAAAABAAAAAgAAAAQXQXBsb3Jpcy5CYXNlLkFuY2hvck1vZGUDAAAAAR4BAAB3AAAAAAAAAAEfAQAAdwAAAAIAAAAHbgAAAAABAAAAAQAAAAQVU3lzdGVtLkRyYXdpbmcuUG9pbnRGBAAAAAEgAQAACgAAAPYvz0MnDgFDB28AAAAAAQAAAAEAAAAEF0FwbG9yaXMuQmFzZS5BbmNob3JNb2RlAwAAAAEhAQAAdwAAAAQAAAABcAAAABQAAAAJlQAAAAAAAAAAAAAAAXEAAAAVAAAACSIBAAADAAAAAwAAAAF4AAAAEgAAAAoKAAAAAABAQQkiAAAACSMAAAAJIwEAAAAACSQBAAABeQAAACQAAAAKCgEAAAAAAAAA/////wABBH0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JQEAAAEAAAABAAAABX8AAAAfQXBsb3Jpcy5CYXNlLk9iamVjdHMuUGVyc0lkRGF0YQIAAAADbUlkC21DdXN0b21EYXRhBwIIAwAAAAkmAQAACgGCAAAAEgAAAAoKAAAAAABAQQkiAAAACSMAAAAJJwEAAAAACSgBAAABgwAAACQAAAAKCgAAAAA/aX4ABQAAAAABAYgAAAB9AAAACSkBAAABAAAAAwAAAAGJAAAAfwAAAAkqAQAACgWL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EAAEA/CSsBAAAJLAEAAAEAAAD+////AAAAAAEAAAAAAAAAAAAAAAEAAAAAAAAAAAAABYw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LQEAAAkuAQAAAQAAAAAAAAAAAAAA/////wEAAY4AAAB/AAAACS8BAAAKB5UAAAAAAQAAAAAAAAAEH0FwbG9yaXMuQmFzZS5PYmplY3RzLkRhdGFPYmplY3QDAAAAB5YAAAAAAQAAAAQAAAAEHEFwbG9yaXMuQmFzZS5VSS5WaXN1YWxPYmplY3QDAAAACUMAAAAJQgAAAAlBAAAACgGdAAAAEgAAAAoKAAAAAABAQQkiAAAACSMAAAAJMAEAAAAACTEBAAABngAAACQAAAAKCgAAAAD///8ADgAAAAABAaIAAAB9AAAACTIBAAABAAAAAwAAAAGjAAAAfwAAAAkzAQAACgGmAAAAEgAAAAoKAAAAAABAQQkiAAAACSMAAAAJNAEAAAAACTUBAAABpwAAACQAAAAKCgAAAAByhIwABgAAAAABAawAAAB9AAAACTYBAAABAAAABQAAAAGtAAAAfwAAAAk3AQAACgGvAAAAiwAAAAoKAQAAQD8JOAEAAAk5AQAAAQAAAP7///8AAAAAAQAAAAAAAAAAAAAAAQAAAAAAAAAAAAABsAAAAIwAAAAKCgk6AQAACTsBAAABAAAAAAAAAAAAAAD/////AQABsgAAAH8AAAAJPAEAAAoHuQAAAAABAAAABAAAAAQcQXBsb3Jpcy5CYXNlLlVJLlZpc3VhbE9iamVjdAMAAAAJTQAAAAlMAAAACUsAAAAKAcAAAAASAAAACgoAAAAAAEBBCSIAAAAJIwAAAAk9AQAAAAAJPgEAAAHBAAAAJAAAAAoKAAAAAP///wAOAAAAAAEBxQAAAH0AAAAJPwEAAAEAAAADAAAAAcYAAAB/AAAACUABAAAKAckAAAASAAAACgoAAAAAAEBBCSIAAAAJIwAAAAlBAQAAAAAJQgEAAAHKAAAAJAAAAAoKAAAAAO0hJQAHAAAAAAEBzwAAAH0AAAAJQwEAAAEAAAAFAAAAAdAAAAB/AAAACUQBAAAKAdIAAACLAAAACgoBAABAPwlFAQAACUYBAAABAAAA/v///wAAAAABAAAAAAAAAAAAAAABAAAAAAAAAAAAAAHTAAAAjAAAAAoKCUcBAAAJSAEAAAEAAAAAAAAAAAAAAP////8BAAHVAAAAfwAAAAlJAQAACgfcAAAAAAEAAAAEAAAABBxBcGxvcmlzLkJhc2UuVUkuVmlzdWFsT2JqZWN0AwAAAAlXAAAACVYAAAAJVQAAAAoB4wAAABIAAAAKCgAAAAAAQEEJIgAAAAkjAAAACUoBAAAAAAlLAQAAAeQAAAAkAAAACgoBAAAAAAAAAP////8AAQHoAAAAfQAAAAlMAQAAAQAAAAMAAAAB6QAAAH8AAAAJTQEAAAoB7AAAABIAAAAKCgAAAAAAQEEJIgAAAAkjAAAACU4BAAAAAAlPAQAAAe0AAAAkAAAACgoAAAAARjs0AAgAAAAAAQHyAAAAfQAAAAlQAQAAAQAAAAUAAAAB8wAAAH8AAAAJUQEAAAoB9QAAAIsAAAAKCgEAAEA/CVIBAAAJUwEAAAEAAAD+////AAAAAAEAAAAAAAAAAAAAAAEAAAAAAAAAAAAAAfYAAACMAAAACgoJVAEAAAlVAQAAAQAAAAAAAAAAAAAA/////wEAAfgAAAB/AAAACVYBAAAKB/8AAAAAAQAAAAQAAAAEHEFwbG9yaXMuQmFzZS5VSS5WaXN1YWxPYmplY3QDAAAACWEAAAAJYAAAAAlfAAAACgEGAQAAEgAAAAoKAAAAAABAQQkiAAAACSMAAAAJVwEAAAAACVgBAAABBwEAACQAAAAKCgEAAAAAAAAA/////wABAQsBAAB9AAAACVkBAAABAAAAAwAAAAEMAQAAfwAAAAlaAQAACgEPAQAAEgAAAAoKAAAAAABAQQkiAAAACSMAAAAJWwEAAAAACVwBAAABEAEAACQAAAAKCgAAAADDmHQACQAAAAABARUBAAB9AAAACV0BAAABAAAABQAAAAEWAQAAfwAAAAleAQAACgEYAQAAiwAAAAoKAQAAQD8JXwEAAAlgAQAAAQAAAP7///8AAAAAAQAAAAAAAAAAAAAAAQAAAAAAAAAAAAABGQEAAIwAAAAKCglhAQAACWIBAAABAAAAAAAAAAAAAAD/////AQABGwEAAH8AAAAJYwEAAAoHIgEAAAABAAAABAAAAAQcQXBsb3Jpcy5CYXNlLlVJLlZpc3VhbE9iamVjdAMAAAAJawAAAAlqAAAACWkAAAAKASMBAAAkAAAACgoAAAAAAAAAAA0AAAAAAAEkAQAAJAAAAAoKAAAAAAAAAAANAAAAAAEHJQEAAAABAAAABAAAAAQdQXBsb3Jpcy5CYXNlLk9iamVjdHMuVmFyaWFibGUDAAAABWQBAAAdQXBsb3Jpcy5CYXNlLk9iamVjdHMuVmFyaWFibGUCAAAABk51bWJlcghQb3NpdGlvbgAACAgDAAAAAwAAAAAAAAABZQEAAGQBAAAAAAAAAAAAAAFmAQAAZAEAAAAAAAAAAAAAAWcBAABkAQAAAAAAAAAAAAAPJgEAAAEAAAAICwAAAAEnAQAAJAAAAAoKAAAAAP///wAOAAAAAAABKAEAACQAAAAKCgAAAAD///8ADgAAAAABBykBAAAAAQAAAAQAAAAEHUFwbG9yaXMuQmFzZS5PYmplY3RzLlZhcmlhYmxlAwAAAAFoAQAAZAEAAAIAAAAAAAAAAWkBAABkAQAAAAAAAAAAAAABagEAAGQBAAAAAAAAAAAAAAFrAQAAZAEAAAAAAAAAAAAADyoBAAABAAAACAwAAAAFKwEAABpBcGxvcmlzLkJhc2UuT2JqZWN0cy5Db2xvcgcAAAASRGF0YU9iamVjdCttUGFyZW50FURhdGFPYmplY3QrbUNvbnRhaW5lcgVtVHlwZQRtUkdCEG1UaGVtZUNvbG9ySW5kZXgMbUF1dG9VcGRhdGVkCW1Nb2RpZmllZAQCAAAAAAAfQXBsb3Jpcy5CYXNlLk9iamVjdHMuTGluZUZvcm1hdAMAAAAICAgBAQMAAAAJiwAAAAoAAAAA////AA4AAAAAAAUsAQAAGkFwbG9yaXMuQmFzZS5PYmplY3RzLkNvbG9yBwAAABJEYXRhT2JqZWN0K21QYXJlbnQVRGF0YU9iamVjdCttQ29udGFpbmVyBW1UeXBlBG1SR0IQbVRoZW1lQ29sb3JJbmRleAxtQXV0b1VwZGF0ZWQJbU1vZGlmaWVkBAIAAAAAAB9BcGxvcmlzLkJhc2UuT2JqZWN0cy5MaW5lRm9ybWF0AwAAAAgICAEBAwAAAAmLAAAACgEAAAAAAAAA/////wABAS0BAAAkAAAACgoAAAAAP2l+AAUAAAAAAAEuAQAAJAAAAAoKAQAAAAAAAAD/////AAEPLwEAAAEAAAAIBQAAAAEwAQAAJAAAAAoKAAAAAAAAAAANAAAAAAABMQEAACQAAAAKCgAAAAAAAAAADQAAAAABBzIBAAAAAQAAAAQAAAAEHUFwbG9yaXMuQmFzZS5PYmplY3RzLlZhcmlhYmxlAwAAAAFsAQAAZAEAAAMAAAAAAAAAAW0BAABkAQAAAAAAAAAAAAABbgEAAGQBAAAAAAAAAAAAAAFvAQAAZAEAAAAAAAAAAAAADzMBAAABAAAACA8AAAABNAEAACQAAAAKCgAAAAD///8ADgAAAAAAATUBAAAkAAAACgoAAAAA////AA4AAAAAAQc2AQAAAAEAAAAEAAAABB1BcGxvcmlzLkJhc2UuT2JqZWN0cy5WYXJpYWJsZQMAAAABcAEAAGQBAAACAAAAAAAAAAFxAQAAZAEAAAAAAAAAAAAAAXIBAABkAQAAAAAAAAAAAAABcwEAAGQBAAAAAAAAAAAAAA83AQAAAQAAAAgKAAAABTgBAAAaQXBsb3Jpcy5CYXNlLk9iamVjdHMuQ29sb3IHAAAAEkRhdGFPYmplY3QrbVBhcmVudBVEYXRhT2JqZWN0K21Db250YWluZXIFbVR5cGUEbVJHQhBtVGhlbWVDb2xvckluZGV4DG1BdXRvVXBkYXRlZAltTW9kaWZpZWQEAgAAAAAAH0FwbG9yaXMuQmFzZS5PYmplY3RzLkxpbmVGb3JtYXQDAAAACAgIAQEDAAAACa8AAAAKAAAAAP///wAOAAAAAAAFOQEAABpBcGxvcmlzLkJhc2UuT2JqZWN0cy5Db2xvcgcAAAASRGF0YU9iamVjdCttUGFyZW50FURhdGFPYmplY3QrbUNvbnRhaW5lcgVtVHlwZQRtUkdCEG1UaGVtZUNvbG9ySW5kZXgMbUF1dG9VcGRhdGVkCW1Nb2RpZmllZAQCAAAAAAAfQXBsb3Jpcy5CYXNlLk9iamVjdHMuTGluZUZvcm1hdAMAAAAICAgBAQMAAAAJrwAAAAoBAAAAAAAAAP////8AAQE6AQAAJAAAAAoKAAAAAHKEjAAGAAAAAAABOwEAACQAAAAKCgEAAAAAAAAA/////wABDzwBAAABAAAACAQAAAABPQEAACQAAAAKCgAAAAAAAAAADQAAAAAAAT4BAAAkAAAACgoAAAAAAAAAAA0AAAAAAQc/AQAAAAEAAAAEAAAABB1BcGxvcmlzLkJhc2UuT2JqZWN0cy5WYXJpYWJsZQMAAAABdAEAAGQBAAADAAAAAAAAAAF1AQAAZAEAAAAAAAAAAAAAAXYBAABkAQAAAAAAAAAAAAABdwEAAGQBAAAAAAAAAAAAAA9AAQAAAQAAAAgNAAAAAUEBAAAkAAAACgoAAAAA////AA4AAAAAAAFCAQAAJAAAAAoKAAAAAP///wAOAAAAAAEHQwEAAAABAAAABAAAAAQdQXBsb3Jpcy5CYXNlLk9iamVjdHMuVmFyaWFibGUDAAAAAXgBAABkAQAAAgAAAAAAAAABeQEAAGQBAAAAAAAAAAAAAAF6AQAAZAEAAAAAAAAAAAAAAXsBAABkAQAAAAAAAAAAAAAPRAEAAAEAAAAIDgAAAAVFAQAAGkFwbG9yaXMuQmFzZS5PYmplY3RzLkNvbG9yBwAAABJEYXRhT2JqZWN0K21QYXJlbnQVRGF0YU9iamVjdCttQ29udGFpbmVyBW1UeXBlBG1SR0IQbVRoZW1lQ29sb3JJbmRleAxtQXV0b1VwZGF0ZWQJbU1vZGlmaWVkBAIAAAAAAB9BcGxvcmlzLkJhc2UuT2JqZWN0cy5MaW5lRm9ybWF0AwAAAAgICAEBAwAAAAnSAAAACgAAAAD///8ADgAAAAAABUYBAAAaQXBsb3Jpcy5CYXNlLk9iamVjdHMuQ29sb3IHAAAAEkRhdGFPYmplY3QrbVBhcmVudBVEYXRhT2JqZWN0K21Db250YWluZXIFbVR5cGUEbVJHQhBtVGhlbWVDb2xvckluZGV4DG1BdXRvVXBkYXRlZAltTW9kaWZpZWQEAgAAAAAAH0FwbG9yaXMuQmFzZS5PYmplY3RzLkxpbmVGb3JtYXQDAAAACAgIAQEDAAAACdIAAAAKAQAAAAAAAAD/////AAEBRwEAACQAAAAKCgAAAADtISUABwAAAAAAAUgBAAAkAAAACgoBAAAAAAAAAP////8AAQ9JAQAAAQAAAAgCAAAAAUoBAAAkAAAACgoAAAAAAAAAAA0AAAAAAAFLAQAAJAAAAAoKAAAAAAAAAAANAAAAAAEHTAEAAAABAAAABAAAAAQdQXBsb3Jpcy5CYXNlLk9iamVjdHMuVmFyaWFibGUDAAAAAXwBAABkAQAAAwAAAAAAAAABfQEAAGQBAAAAAAAAAAAAAAF+AQAAZAEAAAAAAAAAAAAAAX8BAABkAQAAAAAAAAAAAAAPTQEAAAEAAAAICQAAAAFOAQAAJAAAAAoKAAAAAP///wAOAAAAAAABTwEAACQAAAAKCgAAAAD///8ADgAAAAABB1ABAAAAAQAAAAQAAAAEHUFwbG9yaXMuQmFzZS5PYmplY3RzLlZhcmlhYmxlAwAAAAGAAQAAZAEAAAIAAAAAAAAAAYEBAABkAQAAAAAAAAAAAAABggEAAGQBAAAAAAAAAAAAAAGDAQAAZAEAAAAAAAAAAAAAD1EBAAABAAAACAYAAAAFUgEAABpBcGxvcmlzLkJhc2UuT2JqZWN0cy5Db2xvcgcAAAASRGF0YU9iamVjdCttUGFyZW50FURhdGFPYmplY3QrbUNvbnRhaW5lcgVtVHlwZQRtUkdCEG1UaGVtZUNvbG9ySW5kZXgMbUF1dG9VcGRhdGVkCW1Nb2RpZmllZAQCAAAAAAAfQXBsb3Jpcy5CYXNlLk9iamVjdHMuTGluZUZvcm1hdAMAAAAICAgBAQMAAAAJ9QAAAAoAAAAA////AA4AAAAAAAVTAQAAGkFwbG9yaXMuQmFzZS5PYmplY3RzLkNvbG9yBwAAABJEYXRhT2JqZWN0K21QYXJlbnQVRGF0YU9iamVjdCttQ29udGFpbmVyBW1UeXBlBG1SR0IQbVRoZW1lQ29sb3JJbmRleAxtQXV0b1VwZGF0ZWQJbU1vZGlmaWVkBAIAAAAAAB9BcGxvcmlzLkJhc2UuT2JqZWN0cy5MaW5lRm9ybWF0AwAAAAgICAEBAwAAAAn1AAAACgEAAAAAAAAA/////wABAVQBAAAkAAAACgoAAAAARjs0AAgAAAAAAAFVAQAAJAAAAAoKAQAAAAAAAAD/////AAEPVgEAAAEAAAAIAwAAAAFXAQAAJAAAAAoKAAAAAAAAAAANAAAAAAABWAEAACQAAAAKCgAAAAAAAAAADQAAAAABB1kBAAAAAQAAAAQAAAAEHUFwbG9yaXMuQmFzZS5PYmplY3RzLlZhcmlhYmxlAwAAAAGEAQAAZAEAAAMAAAAAAAAAAYUBAABkAQAAAAAAAAAAAAABhgEAAGQBAAAAAAAAAAAAAAGHAQAAZAEAAAAAAAAAAAAAD1oBAAABAAAACAcAAAABWwEAACQAAAAKCgAAAAAAAAAADQAAAAAAAVwBAAAkAAAACgoAAAAAAAAAAA0AAAAAAQddAQAAAAEAAAAEAAAABB1BcGxvcmlzLkJhc2UuT2JqZWN0cy5WYXJpYWJsZQMAAAABiAEAAGQBAAACAAAAAAAAAAGJAQAAZAEAAAAAAAAAAAAAAYoBAABkAQAAAAAAAAAAAAABiwEAAGQBAAAAAAAAAAAAAA9eAQAAAQAAAAgIAAAABV8BAAAaQXBsb3Jpcy5CYXNlLk9iamVjdHMuQ29sb3IHAAAAEkRhdGFPYmplY3QrbVBhcmVudBVEYXRhT2JqZWN0K21Db250YWluZXIFbVR5cGUEbVJHQhBtVGhlbWVDb2xvckluZGV4DG1BdXRvVXBkYXRlZAltTW9kaWZpZWQEAgAAAAAAH0FwbG9yaXMuQmFzZS5PYmplY3RzLkxpbmVGb3JtYXQDAAAACAgIAQEDAAAACRgBAAAKAAAAAP///wAOAAAAAAAFYAEAABpBcGxvcmlzLkJhc2UuT2JqZWN0cy5Db2xvcgcAAAASRGF0YU9iamVjdCttUGFyZW50FURhdGFPYmplY3QrbUNvbnRhaW5lcgVtVHlwZQRtUkdCEG1UaGVtZUNvbG9ySW5kZXgMbUF1dG9VcGRhdGVkCW1Nb2RpZmllZAQCAAAAAAAfQXBsb3Jpcy5CYXNlLk9iamVjdHMuTGluZUZvcm1hdAMAAAAICAgBAQMAAAAJGAEAAAoBAAAAAAAAAP////8AAQFhAQAAJAAAAAoKAAAAAMOYdAAJAAAAAAABYgEAACQAAAAKCgEAAAAAAAAA/////wABD2MBAAABAAAACAEAAAAL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2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3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4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5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6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7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8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1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1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pZFwTGwBhc7U6WA.14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MKuKUIIAC5B0h4XROTwjEMABB0AAAALU3lzdGVtLkd1aWQLAAAAAl9hAl9iAl9jAl9kAl9lAl9mAl9nAl9oAl9pAl9qAl9rAAAAAAAAAAAAAAAIBwcCAgICAgICAgAAAAAAAAAAAAAAAAAAAAAACgoJHgAAAAAKCgoBAAAAAAAAAP////8BAQEfAAAAFAAAAP//H0HYiQ1CV7IaRDuxiUOsqMhBDr0iQ75xJER2YqBDBSAAAAAVU3lzdGVtLkRyYXdpbmcuUG9pbnRGAgAAAAF4AXkAAAsLBAAAAMFMCUQ8zUlDBiEAAAAQZGJOaHdDSDlneGdEYlRWQ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DCrilC5GCSQwEuAAAAIAAAAL65IUTkYJJDCS8AAAAJMAAAAAkxAAAACTIAAAAAAAAAAAAAAAAAAAAJMwAAAAAAAAAAAAk0AAAACQEAAAAJAQAAAAk1AAAAAQcAAAAGAAAACQEAAAABNgAAACYAAAAAAAAAzcxMPwAAAAgBAAkBAAAACTcAAAAJOAAAAAEAAAAAAAAAAAHNzMzMzMzcPwCamZmZmZm5PwAAACBBAAEJOQAAAAoJOgAAAAk7AAAACTwAAAABPQAAACAAAADCrilC5GCSQwE+AAAAIAAAAMKuKUIIAC5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DCrilCCAAuQQFpAAAAIAAAAL65IUTkYJJDCWoAAAAJawAAAAAAAAAKBWwAAAAUU3lzdGVtLkRyYXdpbmcuU2l6ZUYCAAAABXdpZHRoBmhlaWdodAAACwsEAAAAAAAAAAAAAAABbQAAAGwAAAAAAAAAAAAAAAAAAAABbgAAABQAAAAAAAAAAAAAAAAAAAAAAAAAFAAAAP////8BAQoJbwAAAAEACgEPHgAAAMon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E+LMCyiAgAATQUAAA8AAAB4bC93b3JrYm9vay54bWykVNlunDAUfa/Uf0C8E4NZZtFANJlFHamqoipNHiuPMYMVL8Q2GdKq/94LdDJp85K2PODrheNzz7mXxWUnhffIjOVa5X50EfoeU1SXXB1y/8vNNpj6nnVElURoxXL/iVn/snj/bnHU5n6v9b0HAMrmfu1cM0fI0ppJYi90wxTsVNpI4mBqDsg2hpHS1ow5KRAOwwxJwpU/IszNWzB0VXHK1pq2kik3ghgmiAP6tuaNPaFJ+hY4Scx92wRUywYg9lxw9zSA+p6k891BaUP2AtLuovSEDOEraMmp0VZX7gKg0EjyVb5RiKJoTLlYVFyw21F2jzTNJyL7W4TvCWLdpuSOlbmfwVQf2XkBSJi2uWq5gF08zXpWqHj24tr0M2C+FI4ZRRxbaeVAqF8S/68oA/aq1mCB95k9tNwwcL7XpljAm9A52dtr4mqvNSL30SMxqNKihDzRwxHheobrb7TEcRSbqHx0iWrU13AawnNQ6AY52aRZWs6mVXYBMXohOXnt51+ITuigEwJpRvrFoo//lKlY9BV9y9nRnkXtp153x1Wpj7kf4DjOoEmezgtRlMDCcThwx0tXgzXJJHxe+8D4oXbQXCnU/MjjxTVDP8B1w+ipoQ6WjdCG2zVxBLqvb5gd+B2B+XMOgdmVEIPT6PQxJYKC+f0wnEzSDMMRqhVtjYECWMFO7o+3s859tK5YwAg+8dz/Pplt02Q2yYJovUyDJIumwVWUTIJktd4kV7M0XsbTH2czkn+r/3CGZqfy76JkfvqDAPGSVaQVbifJga0boBTjSTYZcwSav3FNcbxJ13GA020cLNNNGERZjIMs2eI0WWGcpPiZq+zeRlUSilhH2fBbmp5Iym6+NLTerb2tIAeodPyCEZwfZUSnPIqfAAAA//8DAFBLAwQUAAYACAAAACEA2RxFLtoAAAA6AQAAFAAAAHhsL3NoYXJlZFN0cmluZ3MueG1sXI9BSwQxDIXvgv+h5KQHt7OCIkvbRRTB24LrDyiduFNo09pkBv33dhER5pb3vpeEZ/ZfOakFG8dCFrabARRSKGOkk4X348vNAygWT6NPhdDCNzLs3eWFYRbVd4ktTCJ1pzWHCbPnTalInXyUlr102U6aa0M/8oQoOenbYbjX2UcCFcpMYuEO1Ezxc8anP+0MR2fEvWGLyGprtDijz96vf2jIocUqccE1e8YFU6kZSXxaw8dxidzbKc/qiD5MfV5nXknazP2yujq04sP5yfV/SPfu7gcAAP//AwBQSwMEFAAGAAgAAAAhAOdldbjWAAAAuAEAACMAAAB4bC93b3Jrc2hlZXRzL19yZWxzL3NoZWV0MS54bWwucmVsc6yQyWoDMQxA74X+g9E91kwOoZR4cgmFXEP6AcLWLHS8YLlp8vd1KIUMBHrpUdvTk7a7i5/VmbNMMRhodQOKg41uCoOB99Pb6gWUFAqO5hjYwJUFdt3z0/bIM5U6JOOURFVKEANjKekVUezInkTHxKFW+pg9lRrmARPZDxoY102zwXzPgG7BVAdnIB9cC+p0TXXz3+zY95PlfbSfnkN5sALPft5n+qrHVSrlgYsBrdH95OSu3uraC/jYaf2fTjb6m64sjH6Tra7/u2ng4t/dNwAAAP//AwBQSwMEFAAGAAgAAAAhANwGB756BgAA2RsAABMAAAB4bC90aGVtZS90aGVtZTEueG1s7FnLbhs3FN0X6D8Qs0+sp2MZkQNLluw2dmLYStosqRE1w4gzHJCUHe36BQUKpEU3BbrropsA7TelaNOP6CU5kkiL8iN20FdswJY4h/de3sfhJefho1cZQ2dESMrzdlS9X4kQyWM+onnSjp4N+ve2IiQVzkeY8Zy0oxmR0aOdTz95iLdVSjKCYH4ut3E7SpUqtjc2ZAzDWN7nBcnh2ZiLDCv4KpKNkcDnIDdjG7VKZXMjwzSPUI4zEPt0PKYxQQMtMtqZC+8x+JorqQdiJk61aOLNMNjRpKoRcia7TKAzzNoR6Bnx8wF5pSLEsFTwoB1VzE+0sfNwA2+Xk5haM9eZ1zc/5bxywmhSMzpFMlworfYbrQd7C/kGwNQqrtfrdXvVhTwDwHEMK7W2uDIb/a1qZy7TAdmPq7K7lWal4eMd+fUVm1udTqfZKm2xQg3Ifmys4Lcqm43dmoc3IItvruAbnd1ud9PDG5DFb67g+w9amw0fb0Apo/lkBa0D2u+X0heQMWcHQfgWwLcqJXyJgmxYZJdWMea5WpdrGX7JRR8AGsiwojlSs4KMcQxZ3MXZUFAcoQLnXMJApVbpV+rwV/82zKeGVo+3CXbm2aFYrgxpS5CMBS1UO/ocpEYO5MUU7XOV0hgd0iRVVog34wDniTvj3U/f/PnDV+iPX3589/rbMF66+D2SJ19SnF+mAAps6YC337357dc3b7//+vefXwfk7wo8dOEDmhGJnpBzdMIzWJzxjL8CMhQ3mzFIMfVm4BRkB0T3wHUu8MkMsxCuA05wcc8FcEsIuD996dl6moqpogHNj9PMAx5xzjpcBB3wWOtyPDyY5klYuZi6uBOMz0K6uzj3QtybFkCqkLOrvu+mxDPzmOFc4YTkRCH9jE8ICUx7Qann1yMaCy75WKEXFHUwDbpkQIdeIi0nHdAM4jILGQih9nxz9Bx1OAuteo+c+UgoDMwCxg8I89y4j6cKZyGRA5wx1+GHWKUhI09nInZxPakg0glhHPVGRMrQnKcC1usE/TEGOguG/YjNMh8pFJ2EZB5izr3a5pNuirMiaDPNUxf7mZxAimJ0zFUIfsT9CtHfIQ7AG+vC/ZwSL9xXE8EzoDjXpGWC6CdTEYjlPuF+Pc7YGBPDMsD4HpFnNL+M1RkFWr/A6s0PzeofkM/Dom/D5Luw7YXq6eACf6/D/QtZew9P82MChbLKnB9J+yNpR/950l5Xy3dP1Ut2BuJeduemV8/WtupjytipmjFyKE23LmFPGvVh0BwjzFlycXQrUvhYHgw8XCKwmYMEV19QlZ6muIDGvmoOnoksRScSFVxCv2+GzRGYXJBtDrUU2nlzPm3qk4tlDonVER/Z4bp7Ql2IMefVxJyC54rqWsB1ldUf3E5Z1Vq11m3+0qrGNEOK3tIWS4YYri4NBhfehGYHQYsEXt6EiwJtO5yBMCMj7Xd7ep+HRau+0xDJFI9IGSO97tUYVU2Q5rkyT6NAjPRp84oYOdpaWuwttF0nSK66xhp18+jdJkrzI/YySrpuL5Qjy93iZDk6b0etZq0ZoRgX7WgMh2v4mBUQdan7S8wSuKGKlbBpf2Uxm3RdRrMVTssq3JdYv68s2OOBQki1h2VqU8M8KlOA5eYqwNhfa4Jb72oBNtPfw4r6FiTD32YF+NEPLRmPSazcYDsj5i7EAEoq5VNFxGk6OkdDNhUnGMKvUxXWM6ISbkEMI+gvcKGnvW0e+eRcFp17jWZwdhyzIsUl3eoSnVeyhZs6XthgvllrjXmwtqDtZnE3X4op+TtaipvG/7Ol6P0EbiXqIx2BGO6TBUa6XtsRFyrlwEIF3JL1BVymGe6AbIFLYXgMSQW32ua/IGf6v605K8OUtb5ZO6EJEhT2I5UKQo6Blkz2XSGsWu5dViQrBZmMcsyVhTV7SM4IG2gO3NR7e4RSSHXDJiUNGNzF/PO/lxU0THST80/tfGwx37Q90N2BbbHs/Gv2Ig2H9J2toBXc+0xPtaCDSzb2G261lrFWVlxrXnurLeBuCe6UFeRETEXM7CsSvaEO+AlwK4I3Hra9QpDV92zjgTRBWnocQuNkB20yaVG2YSm72ztvo+BevOx0F3qhSt+n072hsxfNma/Oq8XLu8+bObv0sOdrt9MNuBqK9mKJ6vZofpAxgTHv1tzXX3z4EgK9By8apkxJ+wrhFdwkwinDvqqA4rfBNVN3/gIAAP//AwBQSwMEFAAGAAgAAAAhAHbdWcq4AwAAJQ0AAA0AAAB4bC9zdHlsZXMueG1s1FdZb+M2EH4v0P8gKOijI8mx4wOSFrUTFQtsFwXiAn2lJEomlodA0ll7i/73DkldydbrTdPTDzaP4ceZj3M5fnNk1HvEUhHBEz+6Dn0P80KUhNeJ//Mumyx9T2nES0QFx4l/wsp/k377Taz0ieKHPcbaAwiuEn+vdbMOAlXsMUPqWjSYw04lJEMaprIOVCMxKpU5xGgwDcPbgCHCfYewZsXXgDAkPxyaSSFYgzTJCSX6ZLF8jxXrtzUXEuUUVD1GM1R02HbyGTwjhRRKVPoa4AJRVaTAn2u5ClYBIKUxP7CMaeUV4sA1sNUveW7nbQmLtzPfc0ZvRQlqXF1dhdfhd74XpHHQIqRxJfgANActjbLrD1x85JnZcuhGKo3VJ+8RUViJLEghqJCeBpYB3S1xxLCT2SJKckmsYIUYoSe3PrUr9m1aSUaAKaeVu8Z950bP7sbV6ELCS3zEYOHy+Z07tBcMnbkyGIP/o5aQsSWRI8BxJ+s88bMstB+r90DgD4RS7wFx9SJ7/mJ0S5oCLwFlenebgbuZhTQGx9dY8syo2o53pwa8gUOMtk9qBS+I1xKdoil4n3FNJ3vhhBKUlEaPemu9sGUyy7b3LU7e7vTuYuLB4I+UfvVt94tVZlFfdJs1EVjNhSwh443D2C2lMcWVNtpKUu/tQIvGzHOhtWBmVBJUC46otak7FrSQaVxgSh9Mavyl6i+YA2HHapQjIMmaqDDpwgzhqdqhg2kncNm5U+Bu/+tTwZgmR9qIr+Wf4+tYXSbuC3T3x1HT0JOJrS67fsXbwYM8ebtXgd28GgwQzvmH0wxSuDMT3NCa+dRoO9vYMBl2v6ek5gx3lQ8KjZt6eyHJJwAyNaqAfQxl5aNEzQ4fHbgJ/2N13p0vqgv0/tvqtnXdRa0p8Wei1vELFlmF3x9YjmVme6ARz38X69DIaVKM3+EPqX+ZLWDsf8sWmz0gX4yy7ZNc2ycXz5T1xH9v6KfQY3UJIj8Qqgkf0sXzE7a5jeZhNL9ZRItoabqHPnCA0kvyU2icnHzbGHRVodXoGf5quejkXbH8Mv70JuzlwdHME/cHgJTyOJQeyHewrU1DbKtSzxNslLhCB6p3/WbiD+MfcUkODLRvpX4ij0JbiMQfxu9MmYxu7SUQ7O8UdKvw6x0kSfxf7zeL1d19Np0sw81yMrvB88lqvrmbzGfbzd1dtgqn4fa3UYP+ivbc/o2ABBPN1opCEy9ba1vtH4a1xB9NnP6OQtAbiOysCIb/N+nvAAAA//8DAFBLAwQUAAYACAAAACEAJYhwS64CAAD4BQAAGAAAAHhsL3dvcmtzaGVldHMvc2hlZXQxLnhtbIxUyW7bMBS8F+g/ELxHovYFsoMkTtEcChRdzzRF2UQkUSXp7e/7RMaKl6JwDo5EDufNvDdUdb/vWrTlSgvZz3DgEYx4z2Qt+tUM//zx6S7HSBva17SVPZ/hA9f4fv7xQ7WT6lWvOTcIGHo9w2tjhtL3NVvzjmpPDryHnUaqjhp4VStfD4rT2h7qWj8kJPU7KnrsGEp1C4dsGsH4QrJNx3vjSBRvqQH9ei0GfWTb1zfx1YruwOtRz4nEhduZ+IL4Sl8nmJJaNsZjsvOdtGuXhV+c+ezYLUY7ql43wx0QD2BuKVphDtYuRh0rX1a9VHTZwkT2QUzZiUp6TX+7TmCaV7WA3o6BQIo3M/wQlM8hRv68sqP7JfhOnzwjQ5ffecuZ4TUkCKMxGUspX0fgCywRoNQWMFJSZsSWP/G2neEFoPUfW2QRlIuAxHmSpbaUP9WaV+/Px7qfbKq+KrSkmj/J9reozRqKQ3pr3tBNa94Xcy+PQhIFYTJtfpO7z1ys1gaOwKrtYFkfFlwzCBUo9pxfJluoCL+oE+PtgNbTvfPoCp5ya3MYxxE5+e6oNbGghs4rJXcIEjk6Huh4X4ISSsN/KMU22sjOmbKQUVkMN++fykDRyPQwUlk0TMauPLqVGCM4rqHr23lQ+VtoIHtDPDkEFJ4Q4TnCjmSGTxHxOeL5miOaED7YnLyCs1Ovtt0w3f+aGs/YJk4CyXn5R4dIrT3iRTEJwjAoiqQI0zQr8gvDDp0d0SnJkiIuojQjeZ6S9ML8OTomURrEcZLlURCFSXTRqvFSgNYjd0wScvp32RSXYheGga74F6pWoteo5Y2NXIaRcpkkHjwbOYxBzGASS2kgHse3NXxDOcwfvGPUSGmmF8hBy1eUHd4+XUiVAu6feqlhZLDpT9/s+V8AAAD//wMAUEsDBBQABgAIAAAAIQDDWd5gYAIAAJUEAAAbAAAAeGwvZHJhd2luZ3Mvdm1sRHJhd2luZzEudm1sjFRNj5swEL1X6n+wvIdcggK0XVVeQFpttbe2Urcfx5WDneBd24PwhJD99R0D2SRVVRXFYDzP4/feDCkGZxkNH0Rf8l3nRagb7WRInKk7CLDBpAYnemf52zczEv6FhM3G1FpMj9Oe4T/26KHWZ8c4YtQgtmK1crL+6ezDSO1HZ3hFXAoQoZGttvIAO2S90AOWXCuDYzjGjXKyvYgwJVGWPOOrMcXqIkdV9FNKPLSaGVXyxyGl6xHzNOesBuhUMC+65Hl2nabL8c4Z5Wjp5IghWqyV2JTcpcvUzpAJeHFPBz2zpCOxg2fNnsD4gAdL6Z1B3U0UGXGKGdm2k8poj6NmeC45xpNr8F7XGAmXvKPZUdiZkldZ55JCluYfOJs2Xl3onEgsWggGDXgh1wHsDvVNVOdktzU+sXqD4vpjizfzAkIrspTe90ZhI7L8Pc0bbbYNijyuvyTGKz2IbEzTm2DWxho8iMYopf2NC5DsO9km4/EC484F2xhra7DQlfxqQ5fOomoySqMDRZrlDuHVyYimMhE8P+HHSkcbyTkFewZ+8m4d6l2nqcizZ69O/+GqB69PtUDqsjUMbDYpslYmGk9OJdKiiIQWsbkYK5Tpj8C4j+Jm60X0blEVK4qOuGLViznt9D6IOxtL/Yl6lX1dP1H272OBvwDObcOKQXyGXv8y2Nxpa8OkMi4/UIf+ZfnW1w10EzGWLVn2YclSetB4Rz8acZYWq0GcQynhLSm6J2ere2mDHgHHlUnmIL7BvspiJE6Oi3fUNc5XY8p5HkMRdtI3fYZzt5Ip9F9U/QYAAP//AwBQSwMEFAAGAAgAAAAhAJmPC803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T0sDMRDF74LfIeS+m6QFq2F3Cyo9WRSsKN5CMtsGN39Iott+e9NtXSv1OLw3P96bqeZb06EvCFE7W2NWUozASqe0Xdf4ZbUorjGKSVglOmehxjuIeN5cXlTSc+kCPAXnISQNEWWSjVz6Gm9S8pyQKDdgRCyzw2axdcGIlMewJl7ID7EGMqH0ihhIQokkyB5Y+JGIj0glR6T/DN0AUJJABwZsioSVjPx6EwQT/10YlBOn0Wnnc6dj3FO2kgdxdG+jHo1935f9dIiR8zPytnx4HqoW2u5vJQE3lZJcBhDJhaYip0M+XCdiWuYbtxrU7a5ZahlcdG1Cj22rJaCXCKEi58YMHTpwc1xGORY/lPiRXqd396sFbiaUzQpGC3qzYjNOZ3zK3vdB/gJytrNHNt8AAAD//wMAUEsDBBQABgAIAAAAIQBNj8SSAAEAAHsBAAAQAAAAeGwvY29tbWVudHMxLnhtbFRQy2rDMBC8F/oPYu+NnBxKWiyFXgKFHgpNP0C117FAD6PdBqdf37UdFwpCaEazMyPVhzEGdcFCPicD200FClOTW5/OBj5Px4c9KGKXWhdyQgNXJDjY+7u6yTFiYlJikMhAzzw8a01Nj9HRJg+Y5KbLJToWWM6ahoKupR6RY9C7qnrU0fkEtnbf3OdC60FpW+s/7hb05ontmqoKdgZedqAW2WtroBIjxlFERda7bF+TEf2oiwsGnmBCTQ65KJ9aHFFm9tuZLceceJGdXJ+jm9nORR+uCy1JU6nZlu0HFo+kWqSm+IHl66jWEqwlVC8d9K22EP8esCKyvwAAAP//AwBQSwMEFAAGAAgAAAAhAF6k9QCL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b9swDIbvA/YfDN0bOd0HhkBWUbQbelixAEm7MyfTsVBFMkTWSPbrR9to6qw77caPV+SjVzJXh30oeszkU6zUclGqAqNLtY+7Sj1sv118UQUxxBpCilipI5K6su/fmXVOHWb2SIWMiFSplrlbaU2uxT3QQtpROk3Ke2BJ806npvEOb5N73mNkfVmWnzUeGGON9UV3Gqimiaue/3dondzAR4/bYyfA1lx3XfAOWG5p773LiVLDxT04HzlRW3w9OAxGz2VGODfonrPnoy2Nnqdm4yDgjaywDQRCo18L5g5hsG8NPpM1Pa96dJxyQf63GHipil9AOIBVqofsIbIADrIpGePQEWf7M+UnahGZjBbBVBzDuXYe+492OQokOBcOAyYQaZwjbj0HpB/NGjL/g3g5Jx4ZJt4J57oLKXu6BYY3kOO9Zd1fC777+EQP3TbJIXwx8LxoNi1krMXzk8GngrkT73IYhty0EHdYv2jeNoaHf5x+t11+WpQfSnnJWc3o139s/wAAAP//AwBQSwECLQAUAAYACAAAACEAkleNNXIBAABwBQAAEwAAAAAAAAAAAAAAAAAAAAAAW0NvbnRlbnRfVHlwZXNdLnhtbFBLAQItABQABgAIAAAAIQBQfE7B8wAAAEwCAAALAAAAAAAAAAAAAAAAAKsDAABfcmVscy8ucmVsc1BLAQItABQABgAIAAAAIQCMlsVu8wAAALoCAAAaAAAAAAAAAAAAAAAAAM8GAAB4bC9fcmVscy93b3JrYm9vay54bWwucmVsc1BLAQItABQABgAIAAAAIQBPizAsogIAAE0FAAAPAAAAAAAAAAAAAAAAAAIJAAB4bC93b3JrYm9vay54bWxQSwECLQAUAAYACAAAACEA2RxFLtoAAAA6AQAAFAAAAAAAAAAAAAAAAADRCwAAeGwvc2hhcmVkU3RyaW5ncy54bWxQSwECLQAUAAYACAAAACEA52V1uNYAAAC4AQAAIwAAAAAAAAAAAAAAAADdDAAAeGwvd29ya3NoZWV0cy9fcmVscy9zaGVldDEueG1sLnJlbHNQSwECLQAUAAYACAAAACEA3AYHvnoGAADZGwAAEwAAAAAAAAAAAAAAAAD0DQAAeGwvdGhlbWUvdGhlbWUxLnhtbFBLAQItABQABgAIAAAAIQB23VnKuAMAACUNAAANAAAAAAAAAAAAAAAAAJ8UAAB4bC9zdHlsZXMueG1sUEsBAi0AFAAGAAgAAAAhACWIcEuuAgAA+AUAABgAAAAAAAAAAAAAAAAAghgAAHhsL3dvcmtzaGVldHMvc2hlZXQxLnhtbFBLAQItABQABgAIAAAAIQDDWd5gYAIAAJUEAAAbAAAAAAAAAAAAAAAAAGYbAAB4bC9kcmF3aW5ncy92bWxEcmF3aW5nMS52bWxQSwECLQAUAAYACAAAACEAmY8LzTcBAAAVAgAAEQAAAAAAAAAAAAAAAAD/HQAAZG9jUHJvcHMvY29yZS54bWxQSwECLQAUAAYACAAAACEATY/EkgABAAB7AQAAEAAAAAAAAAAAAAAAAABtIAAAeGwvY29tbWVudHMxLnhtbFBLAQItABQABgAIAAAAIQBepPUAiwEAAA0DAAAQAAAAAAAAAAAAAAAAAJshAABkb2NQcm9wcy9hcHAueG1sUEsFBgAAAAANAA0AWAMAAFwk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W77yt77yzIO+8sOOCtOOCt+ODg+OCrwlyAAAAAQAJcwAAAAcjAAAAAAEAAAARAAAABBRTeXN0ZW0uRHJhd2luZy5Db2xvcgQAAAAFdAAAABRTeXN0ZW0uRHJhd2luZy5Db2xvcgQAAAAFdmFsdWUFc3RhdGUKa25vd25Db2xvcgRuYW1lAAAAAQkHBwQAAAAAAAAAAAAAAAAAAAAKAXUAAAB0AAAAAAAA//////8CAAAACgF2AAAAdAAAAP//////////AgAAAAoBdwAAAHQAAABOQSL//////wIAAAAKAXgAAAB0AAAA3tzb//////8CAAAACgF5AAAAdAAAAH5pP///////AgAAAAoBegAAAHQAAACMhHL//////wIAAAAKAXsAAAB0AAAAJSHt//////8CAAAACgF8AAAAdAAAADQ7Rv//////AgAAAAoBfQAAAHQAAAB0mMP//////wIAAAAKAX4AAAB0AAAAHpT3//////8CAAAACgF/AAAAdAAAAB6U9///////AgAAAAoBgAAAAHQAAAAlIe3//////wIAAAAKAYEAAAB0AAAAAAAA//////8CAAAACgGCAAAAdAAAAP//////////AgAAAAoBgwAAAHQAAABOQSL//////wIAAAAKAYQAAAB0AAAA3tzb//////8CAAAACgQk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mFAAAADAAAAAwAAAAEJ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wOCwgQ3VsdHVyZT1uZXV0cmFsLCBQdWJsaWNLZXlUb2tlbj0xNmZjMTNhMjI2YzBlOTUxXV0DAAAAkQFTeXN0ZW0uQ29sbGVjdGlvbnMuR2VuZXJpYy5MaXN0YDFbW0FwbG9yaXMuQ2hhcnQuVmFsdWVMaW5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cAAAAJiAAAAAkGAAAACQEAAAAJiQAAAAUoAAAAmwFBcGxvcmlzLkJhc2UuT2JqZWN0cy5EYXRhT2JqZWN0Q29sbGVjdGlvbmAxW1tBcGxvcmlzLkNoYXJ0LkF4aXNCcmVhay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DgsIEN1bHR1cmU9bmV1dHJhbCwgUHVibGljS2V5VG9rZW49MTZmYzEzYTIyNmMwZTk1MV1dAwAAAJEBU3lzdGVtLkNvbGxlY3Rpb25zLkdlbmVyaWMuTGlzdGAxW1tBcGxvcmlzLkNoYXJ0LkF4aXNCcmVh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wOCwgQ3VsdHVyZT1uZXV0cmFsLCBQdWJsaWNLZXlUb2tlbj0xNmZjMTNhMjI2YzBlOTUxXV0DAAAAkAFTeXN0ZW0uQ29sbGVjdGlvbnMuR2VuZXJpYy5MaXN0YDFbW0FwbG9yaXMuQ2hhcnQuVGlja01hcm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DCrilC5GCSQwGSAAAAIAAAAL65IUTkYJJDCZMAAAC4AQAA/////wEBCgmUAAAAAQAKAQcwAAAAAAEAAAAFAAAABBVTeXN0ZW0uRHJhd2luZy5Qb2ludEYEAAAAAZUAAAAgAAAAv3kiRORgkkMBlgAAACAAAADCrilCvWqbQwGXAAAAIAAAAKpUrEO9aptDAZgAAAAgAAAAvrkhRL1qm0MBmQAAACAAAAC/eSJE5OCUQwcxAAAAAAEAAAAFAAAABBdBcGxvcmlzLkJhc2UuQW5jaG9yTW9kZQMAAAAFmgAAABdBcGxvcmlzLkJhc2UuQW5jaG9yTW9kZQEAAAAHdmFsdWVfXwAIAwAAAAQAAAABmwAAAJoAAAAFAAAAAZwAAACaAAAAAwAAAAGdAAAAmgAAAAYAAAABngAAAJoAAAAFAAAADzIAAAAFAAAAAQAAAAABBT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nwAAACAAAAC/eSJE5GCSQwGgAAAAmgAAAAQAAAAAAAAAAAAAAAAJoQAAAAAAAAAJogAAAAAAAAWjAAAAKkFwbG9yaXMuQmFzZS5VSS5MYWJlbCtMaW5lQWxpZ25tZW50T3B0aW9ucwEAAAAHdmFsdWVfXwAIAwAAAAAAAAABpAAAAGwAAAAAAAAAAAAAAAGlAAAAFAAAAAAAAAAAAAAAAAAAAAAAAAAAAAAABqYAAAANQ2F0ZWdvcnkgYXhpcwoJpwAAAAmmAAAA5AIAAP////8AAQoJqAAAAAEACgE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GsQAAAAEl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CbEAAAA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E8AAAALAAAAAoJsgAAAAmzAAAACQcAAAAJAQAAAAm0AAAAAT8AAAAvAAAAAbUAAAAgAAAAwq4pQuRgkkMBtgAAACAAAADCrilCCAAuQQm3AAAAuAEAAP////8BAQoJuAAAAAEACgEHQAAAAAABAAAABQAAAAQVU3lzdGVtLkRyYXdpbmcuUG9pbnRGBAAAAAG5AAAAIAAAAMKuKUIQAPxAAboAAAAgAAAA5vk1QeRgkkMBuwAAACAAAADm+TVB5NAXQwG8AAAAIAAAAOb5NUEIAC5BAb0AAAAgAAAA5vk1QRAA/EAHQQAAAAABAAAABQAAAAQXQXBsb3Jpcy5CYXNlLkFuY2hvck1vZGUDAAAAAb4AAACaAAAAAQAAAAG/AAAAmgAAAAgAAAABwAAAAJoAAAACAAAAAcEAAACaAAAABgAAAAHCAAAAmgAAAAcAAAAPQgAAAAUAAAABAAAAAAEBQwAAADMAAAABwwAAACAAAADCrilCEAD8QAHEAAAAmgAAAAEAAAAAAAAAAAAAAAAJxQAAAAAAAAAJxgAAAAAAAAHHAAAAowAAAAAAAAAByAAAAGwAAAAAAAAAAAAAAAHJAAAAFAAAAAAAAAAAAAAAAAAAAAAAAAAAAAAABsoAAAAKVmFsdWUgYXhpcwoJywAAAAnKAAAA5AIAAP////8AAQoJzAAAAAEACgEBRAAAACQAAAAJzQAAAAYAAAAGAAAAAUUAAAAlAAAACc4AAAACAAAAAgAAAAdGAAAAAAEAAAAAAAAABC5BcGxvcmlzLkNoYXJ0LkNvbHVtbk9yaWVudGVkQ2hhcnQrVW51c2VkU2VyaWVzAgAAAARHAAAAlwFTeXN0ZW0uQ29sbGVjdGlvbnMuR2VuZXJpYy5MaXN0YDFbW0FwbG9yaXMuQ2hhcnQuQ2hhcnREYXRhU2VyaWVzLCBBcGxvcmlzLkNoYXJ0LCBWZXJzaW9uPTQuMi4wLjE5MDgsIEN1bHR1cmU9bmV1dHJhbCwgUHVibGljS2V5VG9rZW49MTZmYzEzYTIyNmMwZTk1MV1dAwAAAAZfaXRlbXMFX3NpemUIX3ZlcnNpb24EAAAfQXBsb3Jpcy5DaGFydC5DaGFydERhdGFTZXJpZXNbXQIAAAAICAnPAAAAAQAAAAsAAAABSAAAACQAAAAJ0AAAAAEAAAAFAAAAAUkAAAAlAAAACdEAAAAAAAAAAAAAAARKAAAAnAFTeXN0ZW0uQ29sbGVjdGlvbnMuR2VuZXJpYy5MaXN0YDFbW0FwbG9yaXMuQ2hhcnQuQW5ub3RhdGlvbkRhdGFTZXJpZXMsIEFwbG9yaXMuQ2hhcnQsIFZlcnNpb249NC4yLjAuMTkwOCwgQ3VsdHVyZT1uZXV0cmFsLCBQdWJsaWNLZXlUb2tlbj0xNmZjMTNhMjI2YzBlOTUxXV0DAAAABl9pdGVtcwVfc2l6ZQhfdmVyc2lvbgQAACRBcGxvcmlzLkNoYXJ0LkFubm90YXRpb25EYXRhU2VyaWVzW10CAAAACAgJ0gAAAAAAAAAAAAAAAUsAAAAkAAAACdMAAAAAAAAAAAAAAAFMAAAAJQAAAAnRAAAAAAAAAAAAAAAETQAAAJcBU3lzdGVtLkNvbGxlY3Rpb25zLkdlbmVyaWMuTGlzdGAxW1tBcGxvcmlzLkNoYXJ0LkFubm90YXRpb25Hcm91cCwgQXBsb3Jpcy5DaGFydCwgVmVyc2lvbj00LjIuMC4xOTA4LCBDdWx0dXJlPW5ldXRyYWwsIFB1YmxpY0tleVRva2VuPTE2ZmMxM2EyMjZjMGU5NTFdXQMAAAAGX2l0ZW1zBV9zaXplCF92ZXJzaW9uBAAAH0FwbG9yaXMuQ2hhcnQuQW5ub3RhdGlvbkdyb3VwW10CAAAACAgJ1AAAAAAAAAAAAAAAAU4AAAAkAAAACdMAAAAAAAAAAAAAAAFPAAAAJQAAAAnRAAAAAAAAAAAAAAAEUAAAAJYBU3lzdGVtLkNvbGxlY3Rpb25zLkdlbmVyaWMuTGlzdGAxW1tBcGxvcmlzLkNoYXJ0LkNoYXJ0RGF0YUdyb3VwLCBBcGxvcmlzLkNoYXJ0LCBWZXJzaW9uPTQuMi4wLjE5MDgsIEN1bHR1cmU9bmV1dHJhbCwgUHVibGljS2V5VG9rZW49MTZmYzEzYTIyNmMwZTk1MV1dAwAAAAZfaXRlbXMFX3NpemUIX3ZlcnNpb24EAAAeQXBsb3Jpcy5DaGFydC5DaGFydERhdGFHcm91cFtdAgAAAAgICdUAAAAEAAAABgAAAAFRAAAAJAAAAAnWAAAABAAAAAQAAAABUgAAACUAAAAJ0QAAAAAAAAAAAAAABFMAAACQAVN5c3RlbS5Db2xsZWN0aW9ucy5HZW5lcmljLkxpc3RgMVtbQXBsb3Jpcy5DaGFydC5EZWx0YUJhciwgQXBsb3Jpcy5DaGFydCwgVmVyc2lvbj00LjIuMC4xOTA4LCBDdWx0dXJlPW5ldXRyYWwsIFB1YmxpY0tleVRva2VuPTE2ZmMxM2EyMjZjMGU5NTFdXQMAAAAGX2l0ZW1zBV9zaXplCF92ZXJzaW9uBAAAGEFwbG9yaXMuQ2hhcnQuRGVsdGFCYXJbXQIAAAAICAnXAAAAAAAAAAAAAAABVAAAACQAAAAJ0wAAAAAAAAAAAAAAAVUAAAAlAAAACdEAAAAAAAAAAAAAAARWAAAAkwFTeXN0ZW0uQ29sbGVjdGlvbnMuR2VuZXJpYy5MaXN0YDFbW0FwbG9yaXMuQ2hhcnQuRGVsdGFCcmlkZ2UsIEFwbG9yaXMuQ2hhcnQsIFZlcnNpb249NC4yLjAuMTkwOCwgQ3VsdHVyZT1uZXV0cmFsLCBQdWJsaWNLZXlUb2tlbj0xNmZjMTNhMjI2YzBlOTUxXV0DAAAABl9pdGVtcwVfc2l6ZQhfdmVyc2lvbgQAABtBcGxvcmlzLkNoYXJ0LkRlbHRhQnJpZGdlW10CAAAACAgJ2AAAAAAAAAAAAAAAAVcAAAAkAAAACdMAAAAAAAAAAAAAAAFYAAAAJQAAAAnRAAAAAAAAAAAAAAAEWQAAAJMBU3lzdGVtLkNvbGxlY3Rpb25zLkdlbmVyaWMuTGlzdGAxW1tBcGxvcmlzLkNoYXJ0Lkdyb3d0aEFycm93LCBBcGxvcmlzLkNoYXJ0LCBWZXJzaW9uPTQuMi4wLjE5MDgsIEN1bHR1cmU9bmV1dHJhbCwgUHVibGljS2V5VG9rZW49MTZmYzEzYTIyNmMwZTk1MV1dAwAAAAZfaXRlbXMFX3NpemUIX3ZlcnNpb24EAAAbQXBsb3Jpcy5DaGFydC5Hcm93dGhBcnJvd1tdAgAAAAgICdkAAAAAAAAAAAAAAAFaAAAAJAAAAAnTAAAAAAAAAAAAAAABWwAAACUAAAAJ0QAAAAAAAAAAAAAABFwAAACaAVN5c3RlbS5Db2xsZWN0aW9ucy5HZW5lcmljLkxpc3RgMVtbQXBsb3Jpcy5DaGFydC5XYXRlcmZhbGxDb25uZWN0b3IsIEFwbG9yaXMuQ2hhcnQsIFZlcnNpb249NC4yLjAuMTkwOCwgQ3VsdHVyZT1uZXV0cmFsLCBQdWJsaWNLZXlUb2tlbj0xNmZjMTNhMjI2YzBlOTUxXV0DAAAABl9pdGVtcwVfc2l6ZQhfdmVyc2lvbgQAACJBcGxvcmlzLkNoYXJ0LldhdGVyZmFsbENvbm5lY3RvcltdAgAAAAgICdoAAAAAAAAAAAAAAAFdAAAAJAAAAAnTAAAAAAAAAAAAAAABXgAAACUAAAAJ0QAAAAAAAAAAAAAABF8AAACYAVN5c3RlbS5Db2xsZWN0aW9ucy5HZW5lcmljLkxpc3RgMVtbQXBsb3Jpcy5DaGFydC5FbGVtZW50Q29ubmVjdG9yLCBBcGxvcmlzLkNoYXJ0LCBWZXJzaW9uPTQuMi4wLjE5MDgsIEN1bHR1cmU9bmV1dHJhbCwgUHVibGljS2V5VG9rZW49MTZmYzEzYTIyNmMwZTk1MV1dAwAAAAZfaXRlbXMFX3NpemUIX3ZlcnNpb24EAAAgQXBsb3Jpcy5DaGFydC5FbGVtZW50Q29ubmVjdG9yW10CAAAACAgJ2wAAAAAAAAAAAAAAAWAAAAAkAAAACdMAAAAAAAAAAAAAAAFhAAAAJQAAAAnR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cAAAACd0AAAABAAAA/v///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4AAAAJ3wAAAAEAAAAAAAAAAAAAAAAAAAAAAQVvAAAAH0FwbG9yaXMuQmFzZS5PYmplY3RzLlBlcnNJZERhdGECAAAAA21JZAttQ3VzdG9tRGF0YQcCCAMAAAAJ4AAAAAoFcgAAABpBcGxvcmlzLkJhc2UuT2JqZWN0cy5Db2xvcgcAAAASRGF0YU9iamVjdCttUGFyZW50FURhdGFPYmplY3QrbUNvbnRhaW5lcgVtVHlwZQRtUkdCEG1UaGVtZUNvbG9ySW5kZXgMbUF1dG9VcGRhdGVkCW1Nb2RpZmllZAICAAAAAAAICAgBAQMAAAAKCgAAAAAAAAAADQAAAAABAXMAAAByAAAACgoBAAAAAAAAAP////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i4wLjE5MDgsIEN1bHR1cmU9bmV1dHJhbCwgUHVibGljS2V5VG9rZW49MTZmYzEzYTIyNmMwZTk1MV1dAwAAAAZfaXRlbXMFX3NpemUIX3ZlcnNpb24EAAAZQXBsb3Jpcy5DaGFydC5WYWx1ZUxpbmVbXQIAAAAICAnhAAAAAAAAAAAAAAABiAAAACQAAAAJ0wAAAAAAAAAAAAAAAYkAAAAlAAAACdEAAAAAAAAAAAAAAASKAAAAkQFTeXN0ZW0uQ29sbGVjdGlvbnMuR2VuZXJpYy5MaXN0YDFbW0FwbG9yaXMuQ2hhcnQuQXhpc0JyZWFrLCBBcGxvcmlzLkNoYXJ0LCBWZXJzaW9uPTQuMi4wLjE5MDgsIEN1bHR1cmU9bmV1dHJhbCwgUHVibGljS2V5VG9rZW49MTZmYzEzYTIyNmMwZTk1MV1dAwAAAAZfaXRlbXMFX3NpemUIX3ZlcnNpb24EAAAZQXBsb3Jpcy5DaGFydC5BeGlzQnJlYWtbXQIAAAAICAniAAAAAAAAAAAAAAABiwAAACQAAAAJ0wAAAAAAAAAAAAAAAYwAAAAlAAAACdEAAAAAAAAAAAAAAASOAAAAkAFTeXN0ZW0uQ29sbGVjdGlvbnMuR2VuZXJpYy5MaXN0YDFbW0FwbG9yaXMuQ2hhcnQuVGlja01hcmssIEFwbG9yaXMuQ2hhcnQsIFZlcnNpb249NC4yLjAuMTkwOCwgQ3VsdHVyZT1uZXV0cmFsLCBQdWJsaWNLZXlUb2tlbj0xNmZjMTNhMjI2YzBlOTUxXV0DAAAABl9pdGVtcwVfc2l6ZQhfdmVyc2lvbgQAABhBcGxvcmlzLkNoYXJ0LlRpY2tNYXJrW10CAAAACAgJ4wAAAAAAAAAAAAAAAY8AAAAkAAAACdMAAAAAAAAAAAAAAAGQAAAAJQAAAAnRAAAAAAAAAAAAAAABkwAAAGoAAAAKCgAAAEA/CeQAAAAJ5QAAAAEAAAD+////AAAAAAEAAAAAAAAAAAAAAAEAAAAAAAAAAAAAAZQAAABvAAAACeY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wAAAAEACegAAAABogAAAHIAAAAKCgEAAAAAAAAA/////wABBKc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6QAAAAAAAAAAAAAAAagAAABvAAAACeoAAAAKB6kAAAAAAQAAAAgAAAAEH0FwbG9yaXMuQmFzZS5PYmplY3RzLkRhdGFPYmplY3QDAAAACSkAAAAJKgAAAAkrAAAACSwAAAAJJwAAAAkoAAAACgoHqgAAAAABAAAABAAAAAQcQXBsb3Jpcy5CYXNlLlVJLlZpc3VhbE9iamVjdAMAAAAJLwAAAAkzAAAACgoBqwAAAIcAAAAJ4QAAAAAAAAAAAAAAAawAAAAkAAAACdMAAAAAAAAAAAAAAAGtAAAAJQAAAAnRAAAAAAAAAAAAAAABrgAAAIoAAAAJ4gAAAAAAAAAAAAAAAa8AAAAkAAAACdMAAAAAAAAAAAAAAAGwAAAAJQAAAAnRAAAAAAAAAAAAAAABsgAAAI4AAAAJ6wAAAAYAAAAkAAAAAbMAAAAkAAAACewAAAAGAAAAJAAAAAG0AAAAJQAAAAnRAAAAAAAAAAAAAAABtwAAAGoAAAAKCgAAAEA/Ce0AAAAJ7gAAAAEAAAD+////AAAAAAEAAAAAAAAAAAAAAAEAAAAAAAAAAAAAAbgAAABvAAAACe8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8AAAAAEACfEAAAABxgAAAHIAAAAKCgEAAAAAAAAA/////wABAcsAAACnAAAACekAAAAAAAAAAAAAAAHMAAAAbwAAAAnyAAAACgfNAAAAAAEAAAAIAAAABB9BcGxvcmlzLkJhc2UuT2JqZWN0cy5EYXRhT2JqZWN0AwAAAAk5AAAACToAAAAJOwAAAAk8AAAACTcAAAAJOAAAAAoKB84AAAAAAQAAAAQAAAAEHEFwbG9yaXMuQmFzZS5VSS5WaXN1YWxPYmplY3QDAAAACT8AAAAJQwAAAAoKB88AAAAAAQAAAAQAAAAEHUFwbG9yaXMuQ2hhcnQuQ2hhcnREYXRhU2VyaWVzAgAAAAnzAAAADQMH0AAAAAABAAAABAAAAAQfQXBsb3Jpcy5CYXNlLk9iamVjdHMuRGF0YU9iamVjdAMAAAAJ8wAAAA0DB9EAAAAAAQAAAAAAAAAEHEFwbG9yaXMuQmFzZS5VSS5WaXN1YWxPYmplY3QDAAAAB9IAAAAAAQAAAAAAAAAEIkFwbG9yaXMuQ2hhcnQuQW5ub3RhdGlvbkRhdGFTZXJpZXMCAAAAB9MAAAAAAQAAAAAAAAAEH0FwbG9yaXMuQmFzZS5PYmplY3RzLkRhdGFPYmplY3QDAAAAB9QAAAAAAQAAAAAAAAAEHUFwbG9yaXMuQ2hhcnQuQW5ub3RhdGlvbkdyb3VwAgAAAAfVAAAAAAEAAAAIAAAABBxBcGxvcmlzLkNoYXJ0LkNoYXJ0RGF0YUdyb3VwAgAAAAn0AAAACfUAAAAJ9gAAAAn3AAAADQQH1gAAAAABAAAABAAAAAQfQXBsb3Jpcy5CYXNlLk9iamVjdHMuRGF0YU9iamVjdAMAAAAJ9AAAAAn1AAAACfcAAAAJ9gAAAA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/////wABAd4AAAByAAAACgoBAAAA////AP////8AAQHfAAAAcgAAAAoKAQAAAAAAAAD/////AAEP4AAAAAEAAAAIAAAAAAfhAAAAAAEAAAAAAAAABBdBcGxvcmlzLkNoYXJ0LlZhbHVlTGluZQIAAAAH4gAAAAABAAAAAAAAAAQXQXBsb3Jpcy5DaGFydC5BeGlzQnJlYWsCAAAAB+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////8AAQ/mAAAAAQAAAAgbAAAAAecAAAByAAAACgoAAAAAAAAAAA0AAAAAAQHoAAAAcgAAAAoKAQAAAAAAAAD/////AAEH6QAAAAABAAAAAAAAAAQdQXBsb3Jpcy5CYXNlLk9iamVjdHMuVmFyaWFibGUDAAAAD+oAAAABAAAACAAAAAAH6wAAAAABAAAAEAAAAAQWQXBsb3Jpcy5DaGFydC5UaWNrTWFyawIAAAAJ+AAAAAn5AAAACfoAAAAJ+wAAAAn8AAAACf0AAAANCgfsAAAAAAEAAAAQAAAABB9BcGxvcmlzLkJhc2UuT2JqZWN0cy5EYXRhT2JqZWN0AwAAAAn4AAAACfkAAAAJ+gAAAAn7AAAACfwAAAAJ/QAAAA0KBe0AAAAaQXBsb3Jpcy5CYXNlLk9iamVjdHMuQ29sb3IHAAAAEkRhdGFPYmplY3QrbVBhcmVudBVEYXRhT2JqZWN0K21Db250YWluZXIFbVR5cGUEbVJHQhBtVGhlbWVDb2xvckluZGV4DG1BdXRvVXBkYXRlZAltTW9kaWZpZWQEAgAAAAAAH0FwbG9yaXMuQmFzZS5PYmplY3RzLkxpbmVGb3JtYXQDAAAACAgIAQEDAAAACbcAAAAKAAAAAAAAAAANAAAAAAAF7gAAABpBcGxvcmlzLkJhc2UuT2JqZWN0cy5Db2xvcgcAAAASRGF0YU9iamVjdCttUGFyZW50FURhdGFPYmplY3QrbUNvbnRhaW5lcgVtVHlwZQRtUkdCEG1UaGVtZUNvbG9ySW5kZXgMbUF1dG9VcGRhdGVkCW1Nb2RpZmllZAQCAAAAAAAfQXBsb3Jpcy5CYXNlLk9iamVjdHMuTGluZUZvcm1hdAMAAAAICAgBAQMAAAAJtwAAAAoBAAAAAAAAAP////8AAQ/vAAAAAQAAAAgaAAAAAfAAAAByAAAACgoAAAAAAAAAAA0AAAAAAQHxAAAAcgAAAAoKAQAAAAAAAAD/////AAEP8gAAAAEAAAAIAAAAAAXz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Dg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B/gAAABMAAAAAAAAAAgAAAP////8JBwAAAAn/AAAABgABAAAIU2VyaWVzIDEKCgAAAAAAAAAAAAAAAAoKAAkBAQAACQIBAAAJAwEAAAAAAAAAAAAAAAAAAAAAAAAAAAkEAQAACQEAAAAJAQAAAAkFAQAABfQ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BgEAAAxQcmVzY3JpcHRpdmUABQcBAAAeQXBsb3Jpcy5DaGFydC5DaGFydEdyb3VwQW5jaG9yAQAAAAd2YWx1ZV9fAAgCAAAAAAAAAAoAAAAAAQAAAAEAAAAJCAEAAAkJAQAACQoBAAAKCQcAAAAJCwEAAAkBAAAACQEAAAAJDAEAAAH1AAAA9AAAAAkBAAAABg0BAAANRGV2ZWxvcG1lbnRhbAABDgEAAAcBAAAAAAAACgAAAAABAAAAAQAAAAkPAQAACRABAAAJEQEAAAoJBwAAAAkSAQAACQEAAAAJAQAAAAkTAQAAAfYAAAD0AAAACQEAAAAGFAEAABVJbnRydXNpdmUgKFByb2FjdGl2ZSkAARUBAAAHAQAAAAAAAAoAAAAAAQAAAAEAAAAJFgEAAAkXAQAACRgBAAAKCQcAAAAJGQEAAAkBAAAACQEAAAAJGgEAAAH3AAAA9AAAAAkBAAAABhsBAAAUQWR2aXNpbmcgYXMgVGVhY2hpbmcAARwBAAAHAQAAAAAAAAoAAAAAAQAAAAEAAAAJHQEAAAkeAQAACR8BAAAKCQcAAAAJIAEAAAkBAAAACQEAAAAJIQEAAAX4AA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IgEAAAoJIwEAAAkHAAAAAQAAAAAAAAAAASQBAAAgAAAAwq4pQuRgkkMBJQEAACAAAADCrhlC5GCSQwAJJgEAAAkHAAAACQEAAAAJJwEAAAH5AAAA+AAAAAkoAQAACgkpAQAACQcAAAABmpmZmZmZuT8BKgEAACAAAADCrilC1R1mQwErAQAAIAAAAMKuGULVHWZDAAksAQAACQcAAAAJAQAAAAktAQAAAfoAAAD4AAAACS4BAAAKCS8BAAAJBwAAAAGamZmZmZnJPwEwAQAAIAAAAMKuKULheSdDATEBAAAgAAAAwq4ZQuF5J0MACTIBAAAJBwAAAAkBAAAACTMBAAAB+wAAAPgAAAAJNAEAAAoJNQEAAAkHAAAAATMzMzMzM9M/ATYBAAAgAAAAwq4pQtur0UIBNwEAACAAAADCrhlC26vRQgAJOAEAAAkHAAAACQEAAAAJOQEAAAH8AAAA+AAAAAk6AQAACgk7AQAACQcAAAABmpmZmZmZ2T8BPAEAACAAAADCrilC6ccoQgE9AQAAIAAAAMKuGULpxyhCAAk+AQAACQcAAAAJAQAAAAk/AQAAAf0AAAD4AAAACUABAAAKCUEBAAAJBwAAAAHNzMzMzMzcPwFCAQAAIAAAAMKuKUIIAC5BAUMBAAAgAAAAwq4ZQggALkEACUQBAAAJBwAAAAkBAAAACUUBAAAF/wAAAKIBQXBsb3Jpcy5CYXNlLk9iamVjdHMuRGF0YU9iamVjdENvbGxlY3Rpb25gMVtbQXBsb3Jpcy5DaGFydC5DaGFydERhdGFFbGVtZW50LCBBcGxvcmlzLkNoYXJ0LCBWZXJzaW9uPTQuMi4wLjE5MDg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i4wLjE5MDgsIEN1bHR1cmU9bmV1dHJhbCwgUHVibGljS2V5VG9rZW49MTZmYzEzYTIyNmMwZTk1MV1dAwAAAJgBU3lzdGVtLkNvbGxlY3Rpb25zLkdlbmVyaWMuTGlzdGAxW1tBcGxvcmlzLkNoYXJ0LkNoYXJ0RGF0YU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gEAAAlHAQAACfMAAAAJAQAAAAlIAQAABQEBAAAcQXBsb3Jpcy5DaGFydC5Db25uZWN0ZWRMYWJlbCU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0xhYmVsK21DdXN0b21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CAAAAClgCAAAFSQEAACtBcGxvcmlzLkNoYXJ0LkNvbm5lY3RlZExhYmVsK2VDb25uZWN0b3JNb2RlAQAAAAd2YWx1ZV9fAAgCAAAAAQAAAAVKAQAANkFwbG9yaXMuQ2hhcnQuQ29ubmVjdGVkTGFiZWwrZUFuZ2xlZENvbm5lY3RvckRpcmVjdGlvbgEAAAAHdmFsdWVfXwAIAgAAAAAAAAABSwEAABQAAAB8xwNEuEAoQoDmsEKasXdDBUwBAAAtQXBsb3Jpcy5DaGFydC5Db25uZWN0ZWRMYWJlbCtlVGFyZ2V0QXJlYVNoYXBlAQAAAAd2YWx1ZV9fAAgCAAAAAAAAAAAAEEEBAU0BAAAgAAAATOQbRPvoJUMBTgEAAJoAAAAEAAAAAAAAAAAAAAAACU8BAAAAAAAACVABAAAAAAABUQEAAKMAAAAAAAAAAVIBAABsAAAAAABkQgAAiEEBUwEAABQAAAAAAAAAAAAAAAAAAAAAAAAAXrrZPwkAAQAACglUAQAABlUBAAAAIAMAAP////8AAQoJVgEAAAEACgEHAgEAAAABAAAAAgAAAAQVU3lzdGVtLkRyYXdpbmcuUG9pbnRGBAAAAAFXAQAAIAAAAEzkG0T76CVDAVgBAAAgAAAAwq4VQt46OkMHAwEAAAABAAAAAgAAAAQXQXBsb3Jpcy5CYXNlLkFuY2hvck1vZGUDAAAAAVkBAACaAAAABAAAAAFaAQAAmgAAAAIAAAABBAEAACQAAAAJWwEAAAEAAAABAAAAAQUBAAAlAAAACVwBAAABAAAAAQAAAA8IAQAAAQAAAAgAAAAABwkBAAAAAQAAAAEAAAAEFUFwbG9yaXMuQmFzZS5VSS5MYWJlbAMAAAAJXQEAAAEKAQAAMwAAAAFeAQAAIAAAADP260Lk4JRDAV8BAACaAAAAAwAAAAAAAAAAAAAAAAlgAQAAAAAAAAlhAQAAAAAAAWIBAACjAAAAAAAAAAFjAQAAbAAAAAAAokIAAIhBAWQBAAAUAAAAOrGnQp3YlENca4NCEztRQV662T8JBgEAAAoJZQEAAAlVAQAAIAMAAP////8BAQoJZgEAAAEACgEBCwEAACQAAAAJ0wAAAAAAAAAAAAAAAQwBAAAlAAAACWcBAAACAAAAAgAAAA8PAQAAAQAAAAgAAAAABxABAAAAAQAAAAEAAAAEFUFwbG9yaXMuQmFzZS5VSS5MYWJlbAMAAAAJaAEAAAERAQAAMwAAAAFpAQAAIAAAAPaMhkPk4JRDAWoBAACaAAAAAwAAAAAAAAAAAAAAAAlrAQAAAAAAAAlsAQAAAAAAAW0BAACjAAAAAAAAAAFuAQAAbAAAAAAA0EIAAIhBAW8BAAAUAAAAYidiQ53YlEPSzaZCEztRQV662T8JDQEAAAoJcAEAAAlVAQAAIAMAAP////8BAQoJcQEAAAEACgEBEgEAACQAAAAJ0wAAAAAAAAAAAAAAARMBAAAlAAAACXIBAAACAAAAAgAAAA8WAQAAAQAAAAgAAAAABxcBAAAAAQAAAAEAAAAEFUFwbG9yaXMuQmFzZS5VSS5MYWJlbAMAAAAJcwEAAAEYAQAAMwAAAAF0AQAAIAAAAF8c0kPk4JRDAXUBAACaAAAAAwAAAAAAAAAAAAAAAAl2AQAAAAAAAAl3AQAAAAAAAXgBAACjAAAAAAAAAAF5AQAAbAAAAAAACkMAAIhBAXoBAAAUAAAAxE62Q53YlEOYHNtCEztRQV662T8JFAEAAAoJewEAAAlVAQAAIAMAAP////8BAQoJfAEAAAEACgEBGQEAACQAAAAJ0wAAAAAAAAAAAAAAARoBAAAlAAAACX0BAAACAAAAAgAAAA8dAQAAAQAAAAgAAAAABx4BAAAAAQAAAAEAAAAEFUFwbG9yaXMuQmFzZS5VSS5MYWJlbAMAAAAJfgEAAAEfAQAAMwAAAAF/AQAAIAAAAOTVDkTk4JRDAYABAACaAAAAAwAAAAAAAAAAAAAAAAmBAQAAAAAAAAmCAQAAAAAAAYMBAACjAAAAAAAAAAGEAQAAbAAAAAAAFEMAAIhBAYUBAAAUAAAA68T/Q53YlEMOf+pCEztRQV662T8JGwEAAAoJhgEAAAlVAQAAIAMAAP////8BAQoJhwEAAAEACgEBIAEAACQAAAAJ0wAAAAAAAAAAAAAAASEBAAAlAAAACYgBAAACAAAAAgAAAAEiAQAALwAAAAGJAQAAIAAAAMKuKULkYJJDAYoBAAAgAAAAwq4ZQuRgkkMJiwEAAMwBAAD/////AQEKCYwBAAABAAoBASMBAAAzAAAAAY0BAAAgAAAAwq4TQuRgkkMBjgEAAJoAAAACAAAAAAAAAAAAAAAACY8BAAAAAAAACZABAAAAAAABkQEAAKMAAAAAAAAAAZIBAABsAAAAAACwQQAAiEEBkwEAABQAAAB2YodBsROPQ8GZokETO1FBXrrZPwaUAQAAAjAlCgmVAQAACVUBAADQAgAA/////wEBCgmWAQAAAQAKAQEmAQAAJAAAAAnTAAAAAAAAAAAAAAABJwEAACUAAAAJlwEAAAIAAAACAAAAASgBAAAvAAAAAZgBAAAgAAAAwq4pQtUdZkMBmQEAACAAAADCrhlC1R1mQwmaAQAAzAEAAP////8BAQoJmwEAAAEACgEBKQEAADMAAAABnAEAACAAAADCrhNC1R1mQwGdAQAAmgAAAAIAAAAAAAAAAAAAAAAJngEAAAAAAAAJnwEAAAAAAAGgAQAAowAAAAAAAAABoQEAAGwAAAAAAPhBAACIQQGiAQAAFAAAAP//H0Gd2F9DN/zZQRM7UUFeutk/BqMBAAADMTAlCgmkAQAACVUBAADQAgAA/////wEBCgmlAQAAAQAKAQEsAQAAJAAAAAnTAAAAAAAAAAAAAAABLQEAACUAAAAJpgEAAAIAAAACAAAAAS4BAAAvAAAAAacBAAAgAAAAwq4pQuF5J0MBqAEAACAAAADCrhlC4XknQwmpAQAAzAEAAP////8BAQoJqgEAAAEACgEBLwEAADMAAAABqwEAACAAAADCrhNC4XknQwGsAQAAmgAAAAIAAAAAAAAAAAAAAAAJrQEAAAAAAAAJrgEAAAAAAAGvAQAAowAAAAAAAAABsAEAAGwAAAAAAPhBAACIQQGxAQAAFAAAAP//H0HsxCBDN/zZQRM7UUFeutk/BrIBAAADMjAlCgmzAQAACVUBAADQAgAA/////wEBCgm0AQAAAQAKAQEyAQAAJAAAAAnTAAAAAAAAAAAAAAABMwEAACUAAAAJtQEAAAIAAAACAAAAATQBAAAvAAAAAbYBAAAgAAAAwq4pQtur0UIBtwEAACAAAADCrhlC26vRQgm4AQAAzAEAAP////8BAQoJuQEAAAEACgEBNQEAADMAAAABugEAACAAAADCrhNC26vRQgG7AQAAmgAAAAIAAAAAAAAAAAAAAAAJvAEAAAAAAAAJvQEAAAAAAAG+AQAAowAAAAAAAAABvwEAAGwAAAAAAPhBAACIQQHAAQAAFAAAAP//H0FO7MRCN/zZQRM7UUFeutk/BsEBAAADMzAlCgnCAQAACVUBAADQAgAA/////wEBCgnDAQAAAQAKAQE4AQAAJAAAAAnTAAAAAAAAAAAAAAABOQEAACUAAAAJxAEAAAIAAAACAAAAAToBAAAvAAAAAcUBAAAgAAAAwq4pQunHKEIBxgEAACAAAADCrhlC6ccoQgnHAQAAzAEAAP////8BAQoJyAEAAAEACgEBOwEAADMAAAAByQEAACAAAADCrhNC6ccoQgHKAQAAmgAAAAIAAAAAAAAAAAAAAAAJywEAAAAAAAAJzAEAAAAAAAHNAQAAowAAAAAAAAABzgEAAGwAAAAAAPhBAACIQQHPAQAAFAAAAP//H0HYiQ1CN/zZQRM7UUFeutk/BtABAAADNDAlCgnRAQAACVUBAADQAgAA/////wEBCgnSAQAAAQAKAQE+AQAAJAAAAAnTAAAAAAAAAAAAAAABPwEAACUAAAAJ0wEAAAIAAAACAAAAAUABAAAvAAAAAdQBAAAgAAAAwq4pQggALkEB1QEAACAAAADCrhlCCAAuQQnWAQAAzAEAAP////8BAQoJ1wEAAAEACgEBQQEAADMAAAAB2AEAACAAAADCrhNCCAAuQQHZAQAAmgAAAAIAAAAAAAAAAAAAAAAJ2gEAAAAAAAAJ2wEAAAAAAAHcAQAAowAAAAAAAAAB3QEAAGwAAAAAAPBBAACIQQHeAQAAFAAAAAAAAAAAAAAAAAAAAAAAAABeutk/Bt8BAAADNDUlCgngAQAACVUBAADQAgAA/////wABCgnhAQAAAQAKAQFEAQAAJAAAAAnTAAAAAAAAAAAAAAABRQEAACUAAAAJ4gEAAAIAAAACAAAABEYBAACYAVN5c3RlbS5Db2xsZWN0aW9ucy5HZW5lcmljLkxpc3RgMVtbQXBsb3Jpcy5DaGFydC5DaGFydERhdGFFbGVtZW50LCBBcGxvcmlzLkNoYXJ0LCBWZXJzaW9uPTQuMi4wLjE5MDgsIEN1bHR1cmU9bmV1dHJhbCwgUHVibGljS2V5VG9rZW49MTZmYzEzYTIyNmMwZTk1MV1dAwAAAAZfaXRlbXMFX3NpemUIX3ZlcnNpb24EAAAgQXBsb3Jpcy5DaGFydC5DaGFydERhdGFFbGVtZW50W10CAAAACAgJ4wEAAAQAAAAGAAAAAUcBAAAkAAAACeQBAAAEAAAABAAAAAFIAQAAJQAAAAnRAAAAAAAAAAAAAAAFT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MAAAAKAAAAAABAQQlwAAAACXEAAAAJ5QEAAAEACeYBAAABUAEAAHIAAAAKCgAAAAD///8ADgAAAAABAVQBAACnAAAACecBAAABAAAAAQAAAAFWAQAAbwAAAAnoAQAACgdbAQAAAAEAAAAEAAAABB9BcGxvcmlzLkJhc2UuT2JqZWN0cy5EYXRhT2JqZWN0AwAAAAn/AAAADQMHXAEAAAABAAAABAAAAAQcQXBsb3Jpcy5CYXNlLlVJLlZpc3VhbE9iamVjdAMAAAAJAQEAAA0DAV0BAAAzAAAAAekBAAAgAAAAM/brQudnmUIB6gEAAJoAAAABAAAAAAAAAAAAAAAACesBAAAAAAAACewBAAAAAAAB7QEAAKMAAAAAAAAAAe4BAABsAAAAAADwQQAAiEEB7wEAABQAAAAAAAAAAAAAAAAAAAAAAAAAXrrZPwbwAQAAAzM0JQoJ8QEAAAlVAQAANAMAAP////8AAQoJ8gEAAAEACgEBYAEAACIAAAAKCgAAAAAAQEEJcAAAAAlxAAAACfMBAAAAAAn0AQAAAWEBAAByAAAACgoAAAAA////AA4AAAAAAQFlAQAApwAAAAn1AQAAAQAAAAEAAAABZgEAAG8AAAAJ9gEAAAoHZwEAAAABAAAABAAAAAQcQXBsb3Jpcy5CYXNlLlVJLlZpc3VhbE9iamVjdAMAAAAJCgEAAAldAQAACgoBaAEAADMAAAAB9wEAACAAAAD2jIZDRBp/QgH4AQAAmgAAAAEAAAAAAAAAAAAAAAAJ+QEAAAAAAAAJ+gEAAAAAAAH7AQAAowAAAAAAAAAB/AEAAGwAAAAAAPBBAACIQQH9AQAAFAAAAAAAAAAAAAAAAAAAAAAAAABeutk/Bv4BAAADMzYlCgn/AQAACVUBAAA0AwAA/////wABCgkAAgAAAQAKAQFrAQAAIgAAAAoKAAAAAABAQQlwAAAACXEAAAAJAQIAAAAACQICAAABbAEAAHIAAAAKCgAAAAD///8ADgAAAAABAXABAACnAAAACQMCAAABAAAAAQAAAAFxAQAAbwAAAAkEAgAACgdyAQAAAAEAAAAEAAAABBxBcGxvcmlzLkJhc2UuVUkuVmlzdWFsT2JqZWN0AwAAAAkRAQAACWgBAAAKCgFzAQAAMwAAAAEFAgAAIAAAAF8c0kN1uRNCAQYCAACaAAAAAQAAAAAAAAAAAAAAAAkHAgAAAAAAAAkIAgAAAAAAAQkCAACjAAAAAAAAAAEKAgAAbAAAAAAA8EEAAIhBAQsCAAAUAAAAAAAAAAAAAAAAAAAAAAAAAF662T8GDAIAAAM0MCUKCQ0CAAAJVQEAADQDAAD/////AAEKCQ4CAAABAAoBAXYBAAAiAAAACgoAAAAAAEBBCXAAAAAJcQAAAAkPAgAAAAAJEAIAAAF3AQAAcgAAAAoKAAAAAP///wAOAAAAAAEBewEAAKcAAAAJEQIAAAEAAAABAAAAAXwBAABvAAAACRICAAAKB30BAAAAAQAAAAQAAAAEHEFwbG9yaXMuQmFzZS5VSS5WaXN1YWxPYmplY3QDAAAACRgBAAAJcwEAAAoKAX4BAAAzAAAAARMCAAAgAAAA5NUORLhAEEIBFAIAAJoAAAABAAAAAAAAAAAAAAAACRUCAAAAAAAACRYCAAAAAAABFwIAAKMAAAAAAAAAARgCAABsAAAAAADwQQAAiEEBGQIAABQAAAAAAAAAAAAAAAAAAAAAAAAAXrrZPwYaAgAAAzQxJQoJGwIAAAlVAQAANAMAAP////8AAQoJHAIAAAEACgEBgQEAACIAAAAKCgAAAAAAQEEJcAAAAAlxAAAACR0CAAAAAAkeAgAAAYIBAAByAAAACgoAAAAA////AA4AAAAAAQGGAQAApwAAAAkfAgAAAQAAAAEAAAABhwEAAG8AAAAJIAIAAAoHiAEAAAABAAAABAAAAAQcQXBsb3Jpcy5CYXNlLlVJLlZpc3VhbE9iamVjdAMAAAAJHwEAAAl+AQAACgoBiwEAAGoAAAAKCgAAAEA/CSECAAAJIgIAAAEAAAD+////AAAAAAEAAAAAAAAAAAAAAAEAAAAAAAAAAAAAAYwBAABvAAAACSMCAAAKAY8BAAAiAAAACgoAAAAAAEBBCXAAAAAJcQAAAAkkAgAAAAAJJQIAAAGQAQAAcgAAAAoKAAAAAP///wAOAAAAAAEBlQEAAKcAAAAJJgIAAAEAAAABAAAAAZYBAABvAAAACScCAAAKB5cBAAAAAQAAAAQAAAAEHEFwbG9yaXMuQmFzZS5VSS5WaXN1YWxPYmplY3QDAAAACSIBAAAJIwEAAAoKAZoBAABqAAAACgoAAABAPwkoAgAACSkCAAABAAAA/v///wAAAAABAAAAAAAAAAAAAAABAAAAAAAAAAAAAAGbAQAAbwAAAAkqAgAACgGeAQAAIgAAAAoKAAAAAABAQQlwAAAACXEAAAAJKwIAAAAACSwCAAABnwEAAHIAAAAKCgAAAAD///8ADgAAAAABAaQBAACnAAAACS0CAAABAAAAAwAAAAGlAQAAbwAAAAkuAgAACgemAQAAAAEAAAAEAAAABBxBcGxvcmlzLkJhc2UuVUkuVmlzdWFsT2JqZWN0AwAAAAkoAQAACSkBAAAKCgGpAQAAagAAAAoKAAAAQD8JLwIAAAkwAgAAAQAAAP7///8AAAAAAQAAAAAAAAAAAAAAAQAAAAAAAAAAAAABqgEAAG8AAAAJMQIAAAoBrQEAACIAAAAKCgAAAAAAQEEJcAAAAAlxAAAACTICAAAAAAkzAgAAAa4BAAByAAAACgoAAAAA////AA4AAAAAAQGzAQAApwAAAAk0AgAAAQAAAAMAAAABtAEAAG8AAAAJNQIAAAoHtQEAAAABAAAABAAAAAQcQXBsb3Jpcy5CYXNlLlVJLlZpc3VhbE9iamVjdAMAAAAJLgEAAAkvAQAACgoBuAEAAGoAAAAKCgAAAEA/CTYCAAAJNwIAAAEAAAD+////AAAAAAEAAAAAAAAAAAAAAAEAAAAAAAAAAAAAAbkBAABvAAAACTgCAAAKAbwBAAAiAAAACgoAAAAAAEBBCXAAAAAJcQAAAAk5AgAAAAAJOgIAAAG9AQAAcgAAAAoKAAAAAP///wAOAAAAAAEBwgEAAKcAAAAJOwIAAAEAAAADAAAAAcMBAABvAAAACTwCAAAKB8QBAAAAAQAAAAQAAAAEHEFwbG9yaXMuQmFzZS5VSS5WaXN1YWxPYmplY3QDAAAACTQBAAAJNQEAAAoKAccBAABqAAAACgoAAABAPwk9AgAACT4CAAABAAAA/v///wAAAAABAAAAAAAAAAAAAAABAAAAAAAAAAAAAAHIAQAAbwAAAAk/AgAACgHLAQAAIgAAAAoKAAAAAABAQQlwAAAACXEAAAAJQAIAAAAACUECAAABzAEAAHIAAAAKCgAAAAD///8ADgAAAAABAdEBAACnAAAACUICAAABAAAAAwAAAAHSAQAAbwAAAAlDAgAACgfTAQAAAAEAAAAEAAAABBxBcGxvcmlzLkJhc2UuVUkuVmlzdWFsT2JqZWN0AwAAAAk6AQAACTsBAAAKCgHWAQAAagAAAAoKAAAAQD8JRAIAAAlFAgAAAQAAAP7///8AAAAAAQAAAAAAAAAAAAAAAQAAAAAAAAAAAAAB1wEAAG8AAAAJRgIAAAoF2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WQXBsb3Jpcy5DaGFydC5UaWNrTWFyawIAAAABAQELGkFwbG9yaXMuQmFzZS5PYmplY3RzLkNvbG9yAwAAAAEBGkFwbG9yaXMuQmFzZS5PYmplY3RzLkNvbG9yAwAAAAMAAAAJ/QAAAAoAAAAAAEBBCXAAAAAJcQAAAAlHAgAAAQAJSAIAAAHbAQAAcgAAAAoKAAAAAP///wAOAAAAAAEB4AEAAKcAAAAJSQIAAAEAAAADAAAAAeEBAABvAAAACUoCAAAKB+IBAAAAAQAAAAQAAAAEHEFwbG9yaXMuQmFzZS5VSS5WaXN1YWxPYmplY3QDAAAACUABAAAJQQEAAAoKB+MBAAAAAQAAAAgAAAAEHkFwbG9yaXMuQ2hhcnQuQ2hhcnREYXRhRWxlbWVudAIAAAAJSwIAAAlMAgAACU0CAAAJTgIAAA0EB+QBAAAAAQAAAAQAAAAEH0FwbG9yaXMuQmFzZS5PYmplY3RzLkRhdGFPYmplY3QDAAAACUsCAAAJTAIAAAlOAgAACU0CAAAB5QEAAHIAAAAKCgAAAAAAAAAADQAAAAABAeYBAAByAAAACgoBAAAAAAAAAP////8AAQfnAQAAAAEAAAAEAAAABB1BcGxvcmlzLkJhc2UuT2JqZWN0cy5WYXJpYWJsZQMAAAAFTwIAAB1BcGxvcmlzLkJhc2UuT2JqZWN0cy5WYXJpYWJsZQIAAAAGTnVtYmVyCFBvc2l0aW9uAAAICAMAAAABAAAAAAAAAAFQAgAATwIAAAAAAAAAAAAAAVECAABPAgAAAAAAAAAAAAABUgIAAE8CAAAAAAAAAAAAAA/oAQAAAQAAAAgAAAAABes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QAAAAKAAAAAABAQQlwAAAACXEAAAAJUwIAAAEACVQCAAAB7AEAAHIAAAAKCgAAAAD///8ADgAAAAABAfEBAACnAAAACVUCAAABAAAAAQAAAAHyAQAAbwAAAAlWAgAACgHzAQAAcgAAAAoKAAAAAAAAAAANAAAAAAAB9AEAAHIAAAAKCgAAAAAAAAAADQAAAAABB/UBAAAAAQAAAAQAAAAEHUFwbG9yaXMuQmFzZS5PYmplY3RzLlZhcmlhYmxlAwAAAAFXAgAATwIAAAEAAAAAAAAAAVgCAABPAgAAAAAAAAAAAAABWQIAAE8CAAAAAAAAAAAAAAFaAgAATwIAAAAAAAAAAAAAD/YBAAABAAAACBQAAAAF+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QAAAAoAAAAAAEBBCXAAAAAJcQAAAAlbAgAAAQAJXAIAAAH6AQAAcgAAAAoKAAAAAP///wAOAAAAAAEB/wEAAKcAAAAJXQIAAAEAAAADAAAAAQACAABvAAAACV4CAAAKAQECAAByAAAACgoAAAAAAAAAAA0AAAAAAAECAgAAcgAAAAoKAAAAAAAAAAANAAAAAAEHAwIAAAABAAAABAAAAAQdQXBsb3Jpcy5CYXNlLk9iamVjdHMuVmFyaWFibGUDAAAAAV8CAABPAgAAAQAAAAAAAAABYAIAAE8CAAAAAAAAAAAAAAFhAgAATwIAAAAAAAAAAAAAAWICAABPAgAAAAAAAAAAAAAPBAIAAAEAAAAIEwAAAAUH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2AAAACgAAAAAAQEEJcAAAAAlxAAAACWMCAAABAAlkAgAAAQgCAAByAAAACgoAAAAA////AA4AAAAAAQENAgAApwAAAAllAgAAAQAAAAMAAAABDgIAAG8AAAAJZgIAAAoBDwIAAHIAAAAKCgAAAAAAAAAADQAAAAAAARACAAByAAAACgoAAAAAAAAAAA0AAAAAAQcRAgAAAAEAAAAEAAAABB1BcGxvcmlzLkJhc2UuT2JqZWN0cy5WYXJpYWJsZQMAAAABZwIAAE8CAAABAAAAAAAAAAFoAgAATwIAAAAAAAAAAAAAAWkCAABPAgAAAAAAAAAAAAABagIAAE8CAAAAAAAAAAAAAA8SAgAAAQAAAAgVAAAABRU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awIAAAEACWwCAAABFgIAAHIAAAAKCgAAAAD///8ADgAAAAABARsCAACnAAAACW0CAAABAAAAAwAAAAEcAgAAbwAAAAluAgAACgEdAgAAcgAAAAoKAAAAAAAAAAANAAAAAAABHgIAAHIAAAAKCgAAAAAAAAAADQAAAAABBx8CAAAAAQAAAAQAAAAEHUFwbG9yaXMuQmFzZS5PYmplY3RzLlZhcmlhYmxlAwAAAAFvAgAATwIAAAEAAAAAAAAAAXACAABPAgAAAAAAAAAAAAABcQIAAE8CAAAAAAAAAAAAAAFyAgAATwIAAAAAAAAAAAAADyACAAABAAAACBIAAAABIQIAAHIAAAAKCgAAAAAAAAAADQAAAAAABSICAAAaQXBsb3Jpcy5CYXNlLk9iamVjdHMuQ29sb3IHAAAAEkRhdGFPYmplY3QrbVBhcmVudBVEYXRhT2JqZWN0K21Db250YWluZXIFbVR5cGUEbVJHQhBtVGhlbWVDb2xvckluZGV4DG1BdXRvVXBkYXRlZAltTW9kaWZpZWQEAgAAAAAAH0FwbG9yaXMuQmFzZS5PYmplY3RzLkxpbmVGb3JtYXQDAAAACAgIAQEDAAAACYsBAAAKAQAAAAAAAAD/////AAEPIwIAAAEAAAAIHwAAAAEkAgAAcgAAAAoKAAAAAAAAAAANAAAAAAABJQIAAHIAAAAKCgAAAAAAAAAADQAAAAABByYCAAAAAQAAAAQAAAAEHUFwbG9yaXMuQmFzZS5PYmplY3RzLlZhcmlhYmxlAwAAAAFzAgAATwIAAAEAAAAAAAAAAXQCAABPAgAAAAAAAAAAAAABdQIAAE8CAAAAAAAAAAAAAAF2AgAATwIAAAAAAAAAAAAADycCAAABAAAACA0AAAABKAIAAHIAAAAKCgAAAAAAAAAADQAAAAAABSkCAAAaQXBsb3Jpcy5CYXNlLk9iamVjdHMuQ29sb3IHAAAAEkRhdGFPYmplY3QrbVBhcmVudBVEYXRhT2JqZWN0K21Db250YWluZXIFbVR5cGUEbVJHQhBtVGhlbWVDb2xvckluZGV4DG1BdXRvVXBkYXRlZAltTW9kaWZpZWQEAgAAAAAAH0FwbG9yaXMuQmFzZS5PYmplY3RzLkxpbmVGb3JtYXQDAAAACAgIAQEDAAAACZoBAAAKAQAAAAAAAAD/////AAEPKgIAAAEAAAAIHgAAAAErAgAAcgAAAAoKAAAAAAAAAAANAAAAAAABLAIAAHIAAAAKCgAAAAAAAAAADQAAAAABBy0CAAAAAQAAAAQAAAAEHUFwbG9yaXMuQmFzZS5PYmplY3RzLlZhcmlhYmxlAwAAAAF3AgAATwIAAAEAAAAAAAAAAXgCAABPAgAAAAAAAAAAAAABeQIAAE8CAAAAAAAAAAAAAAF6AgAATwIAAAAAAAAAAAAADy4CAAABAAAACA4AAAABLwIAAHIAAAAKCgAAAAAAAAAADQAAAAAABTACAAAaQXBsb3Jpcy5CYXNlLk9iamVjdHMuQ29sb3IHAAAAEkRhdGFPYmplY3QrbVBhcmVudBVEYXRhT2JqZWN0K21Db250YWluZXIFbVR5cGUEbVJHQhBtVGhlbWVDb2xvckluZGV4DG1BdXRvVXBkYXRlZAltTW9kaWZpZWQEAgAAAAAAH0FwbG9yaXMuQmFzZS5PYmplY3RzLkxpbmVGb3JtYXQDAAAACAgIAQEDAAAACakBAAAKAQAAAAAAAAD/////AAEPMQIAAAEAAAAIHAAAAAEyAgAAcgAAAAoKAAAAAAAAAAANAAAAAAABMwIAAHIAAAAKCgAAAAAAAAAADQAAAAABBzQCAAAAAQAAAAQAAAAEHUFwbG9yaXMuQmFzZS5PYmplY3RzLlZhcmlhYmxlAwAAAAF7AgAATwIAAAEAAAAAAAAAAXwCAABPAgAAAAAAAAAAAAABfQIAAE8CAAAAAAAAAAAAAAF+AgAATwIAAAAAAAAAAAAADzUCAAABAAAACBAAAAABNgIAAHIAAAAKCgAAAAAAAAAADQAAAAAABTcCAAAaQXBsb3Jpcy5CYXNlLk9iamVjdHMuQ29sb3IHAAAAEkRhdGFPYmplY3QrbVBhcmVudBVEYXRhT2JqZWN0K21Db250YWluZXIFbVR5cGUEbVJHQhBtVGhlbWVDb2xvckluZGV4DG1BdXRvVXBkYXRlZAltTW9kaWZpZWQEAgAAAAAAH0FwbG9yaXMuQmFzZS5PYmplY3RzLkxpbmVGb3JtYXQDAAAACAgIAQEDAAAACbgBAAAKAQAAAAAAAAD/////AAEPOAIAAAEAAAAIHQAAAAE5AgAAcgAAAAoKAAAAAAAAAAANAAAAAAABOgIAAHIAAAAKCgAAAAAAAAAADQAAAAABBzsCAAAAAQAAAAQAAAAEHUFwbG9yaXMuQmFzZS5PYmplY3RzLlZhcmlhYmxlAwAAAAF/AgAATwIAAAEAAAAAAAAAAYACAABPAgAAAAAAAAAAAAABgQIAAE8CAAAAAAAAAAAAAAGCAgAATwIAAAAAAAAAAAAADzwCAAABAAAACA8AAAABPQIAAHIAAAAKCgAAAAAAAAAADQAAAAAABT4CAAAaQXBsb3Jpcy5CYXNlLk9iamVjdHMuQ29sb3IHAAAAEkRhdGFPYmplY3QrbVBhcmVudBVEYXRhT2JqZWN0K21Db250YWluZXIFbVR5cGUEbVJHQhBtVGhlbWVDb2xvckluZGV4DG1BdXRvVXBkYXRlZAltTW9kaWZpZWQEAgAAAAAAH0FwbG9yaXMuQmFzZS5PYmplY3RzLkxpbmVGb3JtYXQDAAAACAgIAQEDAAAACccBAAAKAQAAAAAAAAD/////AAEPPwIAAAEAAAAIIQAAAAFAAgAAcgAAAAoKAAAAAAAAAAANAAAAAAABQQIAAHIAAAAKCgAAAAAAAAAADQAAAAABB0ICAAAAAQAAAAQAAAAEHUFwbG9yaXMuQmFzZS5PYmplY3RzLlZhcmlhYmxlAwAAAAGDAgAATwIAAAEAAAAAAAAAAYQCAABPAgAAAAAAAAAAAAABhQIAAE8CAAAAAAAAAAAAAAGGAgAATwIAAAAAAAAAAAAAD0MCAAABAAAACBEAAAABRAIAAHIAAAAKCgAAAAD///8ADgAAAAAABUUCAAAaQXBsb3Jpcy5CYXNlLk9iamVjdHMuQ29sb3IHAAAAEkRhdGFPYmplY3QrbVBhcmVudBVEYXRhT2JqZWN0K21Db250YWluZXIFbVR5cGUEbVJHQhBtVGhlbWVDb2xvckluZGV4DG1BdXRvVXBkYXRlZAltTW9kaWZpZWQEAgAAAAAAH0FwbG9yaXMuQmFzZS5PYmplY3RzLkxpbmVGb3JtYXQDAAAACAgIAQEDAAAACdYBAAAKAQAAAAAAAAD/////AAEPRgIAAAEAAAAIIAAAAAFHAgAAcgAAAAoKAAAAAAAAAAANAAAAAAEBSAIAAHIAAAAKCgEAAAAAAAAA/////wABB0kCAAAAAQAAAAQAAAAEHUFwbG9yaXMuQmFzZS5PYmplY3RzLlZhcmlhYmxlAwAAAAGHAgAATwIAAAEAAAAAAAAAAYgCAABPAgAAAAAAAAAAAAABiQIAAE8CAAAAAAAAAAAAAAGKAgAATwIAAAAAAAAAAAAAD0oCAAABAAAACAAAAAAFSwI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mLAgAACYwCAAAKCY0CAAAKCfMAAAAIBtQ4+eaPxNU/CgAAAAAJjgIAAAmPAgAAAAAAAAAJkAIAAAnzAAAACQEAAAAJkQIAAAFMAgAASwIAAAmSAgAACZMCAAAKCZQCAAAKCfMAAAAIBi1uwvyuFtc/CgEAAAAJlQIAAAmWAgAAAAAAAAAJlwIAAAnzAAAACQEAAAAJmAIAAAFNAgAASwIAAAmZAgAACZoCAAAKCZsCAAAKCfMAAAAIBhYDJbzR1Nk/CgIAAAAJnAIAAAmdAgAAAAAAAAAJngIAAAnzAAAACQEAAAAJnwIAAAFOAgAASwIAAAmgAgAACaECAAAKCaICAAAKCfMAAAAIBuxRuB6F69k/CgMAAAAJowIAAAmkAgAAAAAAAAAJpQIAAAnzAAAACQEAAAAJpgIAAAFTAgAAcgAAAAoKAAAAAAAAAAANAAAAAAEBVAIAAHIAAAAKCgEAAAAAAAAA/////wABB1UCAAAAAQAAAAQAAAAEHUFwbG9yaXMuQmFzZS5PYmplY3RzLlZhcmlhYmxlAwAAAAGnAgAATwIAAAEAAAAAAAAAAagCAABPAgAAAAAAAAAAAAABqQIAAE8CAAAAAAAAAAAAAAGqAgAATwIAAAAAAAAAAAAAD1YCAAABAAAACAAAAAABWwIAAHIAAAAKCgAAAAAAAAAADQAAAAABAVwCAAByAAAACgoBAAAAAAAAAP////8AAQddAgAAAAEAAAAEAAAABB1BcGxvcmlzLkJhc2UuT2JqZWN0cy5WYXJpYWJsZQMAAAABqwIAAE8CAAABAAAAAAAAAAGsAgAATwIAAAAAAAAAAAAAAa0CAABPAgAAAAAAAAAAAAABrgIAAE8CAAAAAAAAAAAAAA9eAgAAAQAAAAgAAAAAAWMCAAByAAAACgoAAAAAAAAAAA0AAAAAAQFkAgAAcgAAAAoKAQAAAAAAAAD/////AAEHZQIAAAABAAAABAAAAAQdQXBsb3Jpcy5CYXNlLk9iamVjdHMuVmFyaWFibGUDAAAAAa8CAABPAgAAAQAAAAAAAAABsAIAAE8CAAAAAAAAAAAAAAGxAgAATwIAAAAAAAAAAAAAAbICAABPAgAAAAAAAAAAAAAPZgIAAAEAAAAIAAAAAAFrAgAAcgAAAAoKAAAAAAAAAAANAAAAAAEBbAIAAHIAAAAKCgEAAAAAAAAA/////wABB20CAAAAAQAAAAQAAAAEHUFwbG9yaXMuQmFzZS5PYmplY3RzLlZhcmlhYmxlAwAAAAGzAgAATwIAAAEAAAAAAAAAAbQCAABPAgAAAAAAAAAAAAABtQIAAE8CAAAAAAAAAAAAAAG2AgAATwIAAAAAAAAAAAAAD24CAAABAAAACAAAAAABiwIAAAEBAAAKWAIAAAG3AgAASQEAAAIAAAABuAIAAEoBAAABAAAAAbkCAAAUAAAA8IKTQudnpUKG5rBC1A1PQwG6AgAATAEAAAAAAAAAAKBAAAG7AgAAIAAAADP260LeOjpDAbwCAACaAAAAAAAAAAAAAAAAAAAAAAm9AgAAAAAAAAm+AgAAAAAAAb8CAACjAAAAAAAAAAHAAgAAbAAAAAAA+EEAAIhBAcECAAAUAAAAYifOQv//M0M3/NlBEztRQV662T8GwgIAAAMzNCUKCcMCAAAJVQEAADQDAAD/////AQEKCcQCAAABAAoBAYwCAAAbAAAAAcUCAAAgAAAA8IKNQuRgkkMBxgIAACAAAAC7NCVD52efQgnHAgAACcgCAAAAAAAACgHJAgAAbAAAAAAAAAAAAAAAAcoCAABsAAAAAAAAAAAAAAAAAAAAAcsCAAAUAAAAAAAAAAAAAAAAAAAAAAAAAKQBAAD/////AQEKCcwCAAABAAoBB40CAAAAAQAAAAIAAAAEGkFwbG9yaXMuQmFzZS5VSS5WaXN1YWxMaW5lAwAAAAoKB44CAAAAAQAAAAMAAAAEFVN5c3RlbS5EcmF3aW5nLlBvaW50RgQAAAABzQIAACAAAAAz9utC3jo6QwHOAgAAIAAAAPCCh0LeOjpDAc8CAAAgAAAAuzQoQ946OkMHjwIAAAABAAAAAwAAAAQXQXBsb3Jpcy5CYXNlLkFuY2hvck1vZGUDAAAAAdACAACaAAAAAAAAAAHRAgAAmgAAAAIAAAAB0gIAAJoAAAAEAAAAAZACAAAkAAAACdMAAAAAAAAAAAAAAAGRAgAAJQAAAAnTAgAAAgAAAAIAAAABkgIAAAEBAAAKWAIAAAHUAgAASQEAAAIAAAAB1QIAAEoBAAABAAAAAdYCAAAUAAAASuBgQyKNi0KI5rBCN/tbQwHXAgAATAEAAAAAAAAAAKBAAAHYAgAAIAAAAPaMhkMsxDNDAdkCAACaAAAAAAAAAAAAAAAAAAAAAAnaAgAAAAAAAAnbAgAAAAAAAdwCAACjAAAAAAAAAAHdAgAAbAAAAAAA+EEAAIhBAd4CAAAUAAAAiZ1+Q7ETLUM3/NlBEztRQV662T8G3wIAAAMzNiUKCeACAAAJVQEAADQDAAD/////AQEKCeECAAABAAoBAZMCAAAbAAAAAeICAAAgAAAASuBdQ+RgkkMB4wIAACAAAADHKZ5DIo2FQgnkAgAACeUCAAAAAAAACgHmAgAAbAAAAAAAAAAAAAAAAecCAABsAAAAAAAAAAAAAAAAAAAAAegCAAAUAAAAAAAAAAAAAAAAAAAAAAAAAKQBAAD/////AQEKCekCAAABAAoBB5QCAAAAAQAAAAIAAAAEGkFwbG9yaXMuQmFzZS5VSS5WaXN1YWxMaW5lAwAAAAoKB5UCAAAAAQAAAAMAAAAEFVN5c3RlbS5EcmF3aW5nLlBvaW50RgQAAAAB6gIAACAAAAD2jIZDLMQzQwHrAgAAIAAAAErgWkMsxDNDAewCAAAgAAAAx6mfQyzEM0MHlgIAAAABAAAAAwAAAAQXQXBsb3Jpcy5CYXNlLkFuY2hvck1vZGUDAAAAAe0CAACaAAAAAAAAAAHuAgAAmgAAAAIAAAAB7wIAAJoAAAAEAAAAAZcCAAAkAAAACdMAAAAAAAAAAAAAAAGYAgAAJQAAAAnwAgAAAgAAAAIAAAABmQIAAAEBAAAKWAIAAAHxAgAASQEAAAIAAAAB8gIAAEoBAAABAAAAAfMCAAAUAAAAjv+7Q3W5K0KI5rBCa9N2QwH0AgAATAEAAAAAAAAAAKBAAAH1AgAAIAAAAF8c0kMTWCZDAfYCAACaAAAAAAAAAAAAAAAAAAAAAAn3AgAAAAAAAAn4AgAAAAAAAfkCAACjAAAAAAAAAAH6AgAAbAAAAAAA+EEAAIhBAfsCAAAUAAAAOrHKQ///H0M3/NlBEztRQV662T8G/AIAAAM0MCUKCf0CAAAJVQEAADQDAAD/////AQEKCf4CAAABAAoBAZoCAAAbAAAAAf8CAAAgAAAAjn+6Q+RgkkMBAAMAACAAAAAwuelDdbkfQgkBAwAACQIDAAAAAAAACgEDAwAAbAAAAAAAAAAAAAAAAQQDAABsAAAAAAAAAAAAAAAAAAAAAQUDAAAUAAAAAAAAAAAAAAAAAAAAAAAAAKQBAAD/////AQEKCQYDAAABAAoBB5sCAAAAAQAAAAIAAAAEGkFwbG9yaXMuQmFzZS5VSS5WaXN1YWxMaW5lAwAAAAoKB5wCAAAAAQAAAAMAAAAEFVN5c3RlbS5EcmF3aW5nLlBvaW50RgQAAAABBwMAACAAAABfHNJDE1gmQwEIAwAAIAAAAI7/uEMTWCZDAQkDAAAgAAAAMDnrQxNYJkMHnQIAAAABAAAAAwAAAAQXQXBsb3Jpcy5CYXNlLkFuY2hvck1vZGUDAAAAAQoDAACaAAAAAAAAAAELAwAAmgAAAAIAAAABDAMAAJoAAAAEAAAAAZ4CAAAkAAAACdMAAAAAAAAAAAAAAAGfAgAAJQAAAAkNAwAAAgAAAAIAAAABoAIAAAEBAAAKWAIAAAEOAwAASQEAAAIAAAABDwMAAEoBAAABAAAAARADAAAUAAAAfMcDRLhAKEKA5rBCmrF3QwERAwAATAEAAAAAAAAAAKBAAAESAwAAIAAAAOTVDkT76CVDARMDAACaAAAAAAAAAAAAAAAAAAAAAAkUAwAAAAAAAAkVAwAAAAAAARYDAACjAAAAAAAAAAEXAwAAbAAAAAAA+EEAAIhBARgDAAAUAAAAEzsLRBM7H0M3/NlBEztRQV662T8GGQMAAAM0MSUKCRoDAAAJVQEAADQDAAD/////AQEKCRsDAAABAAoBAaECAAAbAAAAARwDAAAgAAAAfAcDRORgkkMBHQMAACAAAABMpBpEuEAcQgkeAwAACR8DAAAAAAAACgEgAwAAbAAAAAAAAAAAAAAAASEDAABsAAAAAAAAAAAAAAAAAAAAASIDAAAUAAAAAAAAAAAAAAAAAAAAAAAAAKQBAAD/////AQEKCSMDAAABAAoBB6ICAAAAAQAAAAIAAAAEGkFwbG9yaXMuQmFzZS5VSS5WaXN1YWxMaW5lAwAAAAoKB6MCAAAAAQAAAAMAAAAEFVN5c3RlbS5EcmF3aW5nLlBvaW50RgQAAAABJAMAACAAAADk1Q5E++glQwElAwAAIAAAAHxHAkT76CVDASYDAAAgAAAATGQbRPvoJUMHpAIAAAABAAAAAwAAAAQXQXBsb3Jpcy5CYXNlLkFuY2hvck1vZGUDAAAAAScDAACaAAAAAAAAAAEoAwAAmgAAAAIAAAABKQMAAJoAAAAEAAAAAaUCAAAkAAAACdMAAAAAAAAAAAAAAAGmAgAAJQAAAAkqAwAAAgAAAAIAAAABvQIAACIAAAAKCgAAAAAAQEEJcAAAAAlxAAAACSsDAAAAAAksAwAAAb4CAAByAAAACgoAAAAANmyHAAUAAAAAAQHDAgAApwAAAAktAwAAAQAAAAMAAAABxAIAAG8AAAAJLgMAAAoBxwIAAGoAAAAKCgAAAEA/CS8DAAAJMAMAAAEAAAD+////AAAAAAEAAAAAAAAAAAAAAAEAAAAAAAAAAAAAAcgCAABrAAAACgoJMQMAAAkyAwAAAQAAAP7///8AAAAA/////wEAAcwCAABvAAAACTMDAAAKB9MCAAAAAQAAAAQAAAAEHEFwbG9yaXMuQmFzZS5VSS5WaXN1YWxPYmplY3QDAAAACYwCAAAJiwIAAAoKAdoCAAAiAAAACgoAAAAAAEBBCXAAAAAJcQAAAAk0AwAAAAAJNQMAAAHbAgAAcgAAAAoKAAAAADZshwAFAAAAAAEB4AIAAKcAAAAJNgMAAAEAAAADAAAAAeECAABvAAAACTcDAAAKAeQCAABqAAAACgoAAABAPwk4AwAACTkDAAABAAAA/v///wAAAAABAAAAAAAAAAAAAAABAAAAAAAAAAAAAAHlAgAAawAAAAoKCToDAAAJOwMAAAEAAAD+////AAAAAP////8BAAHpAgAAbwAAAAk8AwAACgfwAgAAAAEAAAAEAAAABBxBcGxvcmlzLkJhc2UuVUkuVmlzdWFsT2JqZWN0AwAAAAmTAgAACZICAAAKCgH3AgAAIgAAAAoKAAAAAABAQQlwAAAACXEAAAAJPQMAAAAACT4DAAAB+AIAAHIAAAAKCgAAAAA2bIcABQAAAAABAf0CAACnAAAACT8DAAABAAAAAwAAAAH+AgAAbwAAAAlAAwAACgEBAwAAagAAAAoKAAAAQD8JQQMAAAlCAwAAAQAAAP7///8AAAAAAQAAAAAAAAAAAAAAAQAAAAAAAAAAAAABAgMAAGsAAAAKCglDAwAACUQDAAABAAAA/v///wAAAAD/////AQABBgMAAG8AAAAJRQMAAAoHDQMAAAABAAAABAAAAAQcQXBsb3Jpcy5CYXNlLlVJLlZpc3VhbE9iamVjdAMAAAAJmgIAAAmZAgAACgoBFAMAACIAAAAKCgAAAAAAQEEJcAAAAAlxAAAACUYDAAAAAAlHAwAAARUDAAByAAAACgoAAAAANmyHAAUAAAAAAQEaAwAApwAAAAlIAwAAAQAAAAMAAAABGwMAAG8AAAAJSQMAAAoBHgMAAGoAAAAKCgAAAEA/CUoDAAAJSwMAAAEAAAD+////AAAAAAEAAAAAAAAAAAAAAAEAAAAAAAAAAAAAAR8DAABrAAAACgoJTAMAAAlNAwAAAQAAAP7///8AAAAA/////wEAASMDAABvAAAACU4DAAAKByoDAAAAAQAAAAQAAAAEHEFwbG9yaXMuQmFzZS5VSS5WaXN1YWxPYmplY3QDAAAACaECAAAJoAIAAAoKASsDAAByAAAACgoAAAAA////AA4AAAAAAAEsAwAAcgAAAAoKAAAAAP///wAOAAAAAAEHLQMAAAABAAAABAAAAAQdQXBsb3Jpcy5CYXNlLk9iamVjdHMuVmFyaWFibGUDAAAAAU8DAABPAgAAAQAAAAAAAAABUAMAAE8CAAAAAAAAAAAAAAFRAwAATwIAAAAAAAAAAAAAAVIDAABPAgAAAAAAAAAAAAAPLgMAAAEAAAAIFgAAAAUvAwAAGkFwbG9yaXMuQmFzZS5PYmplY3RzLkNvbG9yBwAAABJEYXRhT2JqZWN0K21QYXJlbnQVRGF0YU9iamVjdCttQ29udGFpbmVyBW1UeXBlBG1SR0IQbVRoZW1lQ29sb3JJbmRleAxtQXV0b1VwZGF0ZWQJbU1vZGlmaWVkBAIAAAAAAB9BcGxvcmlzLkJhc2UuT2JqZWN0cy5MaW5lRm9ybWF0AwAAAAgICAEBAwAAAAnHAgAACgAAAAD///8ADgAAAAAABTADAAAaQXBsb3Jpcy5CYXNlLk9iamVjdHMuQ29sb3IHAAAAEkRhdGFPYmplY3QrbVBhcmVudBVEYXRhT2JqZWN0K21Db250YWluZXIFbVR5cGUEbVJHQhBtVGhlbWVDb2xvckluZGV4DG1BdXRvVXBkYXRlZAltTW9kaWZpZWQEAgAAAAAAH0FwbG9yaXMuQmFzZS5PYmplY3RzLkxpbmVGb3JtYXQDAAAACAgIAQEDAAAACccCAAAKAQAAAAAAAAD/////AAEBMQMAAHIAAAAKCgAAAAA2bIcABQAAAAAAATIDAAByAAAACgoBAAAA////AP////8AAA8zAwAAAQAAAAgEAAAAATQDAAByAAAACgoAAAAA////AA4AAAAAAAE1AwAAcgAAAAoKAAAAAP///wAOAAAAAAEHNgMAAAABAAAABAAAAAQdQXBsb3Jpcy5CYXNlLk9iamVjdHMuVmFyaWFibGUDAAAAAVMDAABPAgAAAQAAAAAAAAABVAMAAE8CAAAAAAAAAAAAAAFVAwAATwIAAAAAAAAAAAAAAVYDAABPAgAAAAAAAAAAAAAPNwMAAAEAAAAIGAAAAAU4AwAAGkFwbG9yaXMuQmFzZS5PYmplY3RzLkNvbG9yBwAAABJEYXRhT2JqZWN0K21QYXJlbnQVRGF0YU9iamVjdCttQ29udGFpbmVyBW1UeXBlBG1SR0IQbVRoZW1lQ29sb3JJbmRleAxtQXV0b1VwZGF0ZWQJbU1vZGlmaWVkBAIAAAAAAB9BcGxvcmlzLkJhc2UuT2JqZWN0cy5MaW5lRm9ybWF0AwAAAAgICAEBAwAAAAnkAgAACgAAAAD///8ADgAAAAAABTkDAAAaQXBsb3Jpcy5CYXNlLk9iamVjdHMuQ29sb3IHAAAAEkRhdGFPYmplY3QrbVBhcmVudBVEYXRhT2JqZWN0K21Db250YWluZXIFbVR5cGUEbVJHQhBtVGhlbWVDb2xvckluZGV4DG1BdXRvVXBkYXRlZAltTW9kaWZpZWQEAgAAAAAAH0FwbG9yaXMuQmFzZS5PYmplY3RzLkxpbmVGb3JtYXQDAAAACAgIAQEDAAAACeQCAAAKAQAAAAAAAAD/////AAEBOgMAAHIAAAAKCgAAAAA2bIcABQAAAAAAATsDAAByAAAACgoBAAAA////AP////8AAA88AwAAAQAAAAgCAAAAAT0DAAByAAAACgoAAAAA////AA4AAAAAAAE+AwAAcgAAAAoKAAAAAP///wAOAAAAAAEHPwMAAAABAAAABAAAAAQdQXBsb3Jpcy5CYXNlLk9iamVjdHMuVmFyaWFibGUDAAAAAVcDAABPAgAAAQAAAAAAAAABWAMAAE8CAAAAAAAAAAAAAAFZAwAATwIAAAAAAAAAAAAAAVoDAABPAgAAAAAAAAAAAAAPQAMAAAEAAAAIGQAAAAVBAwAAGkFwbG9yaXMuQmFzZS5PYmplY3RzLkNvbG9yBwAAABJEYXRhT2JqZWN0K21QYXJlbnQVRGF0YU9iamVjdCttQ29udGFpbmVyBW1UeXBlBG1SR0IQbVRoZW1lQ29sb3JJbmRleAxtQXV0b1VwZGF0ZWQJbU1vZGlmaWVkBAIAAAAAAB9BcGxvcmlzLkJhc2UuT2JqZWN0cy5MaW5lRm9ybWF0AwAAAAgICAEBAwAAAAkBAwAACgAAAAD///8ADgAAAAAABUIDAAAaQXBsb3Jpcy5CYXNlLk9iamVjdHMuQ29sb3IHAAAAEkRhdGFPYmplY3QrbVBhcmVudBVEYXRhT2JqZWN0K21Db250YWluZXIFbVR5cGUEbVJHQhBtVGhlbWVDb2xvckluZGV4DG1BdXRvVXBkYXRlZAltTW9kaWZpZWQEAgAAAAAAH0FwbG9yaXMuQmFzZS5PYmplY3RzLkxpbmVGb3JtYXQDAAAACAgIAQEDAAAACQEDAAAKAQAAAAAAAAD/////AAEBQwMAAHIAAAAKCgAAAAA2bIcABQAAAAAAAUQDAAByAAAACgoBAAAA////AP////8AAA9FAwAAAQAAAAgDAAAAAUYDAAByAAAACgoAAAAA////AA4AAAAAAAFHAwAAcgAAAAoKAAAAAP///wAOAAAAAAEHSAMAAAABAAAABAAAAAQdQXBsb3Jpcy5CYXNlLk9iamVjdHMuVmFyaWFibGUDAAAAAVsDAABPAgAAAQAAAAAAAAABXAMAAE8CAAAAAAAAAAAAAAFdAwAATwIAAAAAAAAAAAAAAV4DAABPAgAAAAAAAAAAAAAPSQMAAAEAAAAIFwAAAAVKAwAAGkFwbG9yaXMuQmFzZS5PYmplY3RzLkNvbG9yBwAAABJEYXRhT2JqZWN0K21QYXJlbnQVRGF0YU9iamVjdCttQ29udGFpbmVyBW1UeXBlBG1SR0IQbVRoZW1lQ29sb3JJbmRleAxtQXV0b1VwZGF0ZWQJbU1vZGlmaWVkBAIAAAAAAB9BcGxvcmlzLkJhc2UuT2JqZWN0cy5MaW5lRm9ybWF0AwAAAAgICAEBAwAAAAkeAwAACgAAAAD///8ADgAAAAAABUsDAAAaQXBsb3Jpcy5CYXNlLk9iamVjdHMuQ29sb3IHAAAAEkRhdGFPYmplY3QrbVBhcmVudBVEYXRhT2JqZWN0K21Db250YWluZXIFbVR5cGUEbVJHQhBtVGhlbWVDb2xvckluZGV4DG1BdXRvVXBkYXRlZAltTW9kaWZpZWQEAgAAAAAAH0FwbG9yaXMuQmFzZS5PYmplY3RzLkxpbmVGb3JtYXQDAAAACAgIAQEDAAAACR4DAAAKAQAAAAAAAAD/////AAEBTAMAAHIAAAAKCgAAAAA2bIcABQAAAAAAAU0DAAByAAAACgoBAAAA////AP////8AAA9OAwAAAQAAAAgBAAAACw==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3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6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7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8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9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21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3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3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32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33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3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4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5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6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7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8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19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1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2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3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4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dbNhwCH9gxgDbTVB.25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WQXBsb3Jpcy5DaGFydC5QaWVDaGFydDEAAAAPbVVudXNlZEVsZW1lbnRzE21VbnVzZWRFbGVtZW50c0xpc3QHbUxlZ2VuZBFtUmV2ZXJzZURpcmVjdGlvbg1tSGFzQ3VzdG9tU3VtEW1QaWVDaGFydEVsZW1lbnRzCm1DdXN0b21TdW0SbU1hZ25pdHVkZVByb3ZpZGVyEG1OdW1iZXJGb3JtYXRBYnMUbU51bWJlckZvcm1hdFBlcmNlbnQMbVN0YXJ0RGVncmVlEW1TaG93SW5zaWRlTGFiZWxzEm1TaG93T3V0c2lkZUxhYmVscwxtQ2VudGVyUG9pbnQHbVJhZGl1cxBDaGFydCttQ2hhcnRBcmVhEkNoYXJ0K21IYXNEYXRhTGluaxFDaGFydCttRGF0YUxpbmtJZBVDaGFydCttQXV0b0RhdGFVcGRhdGUaQ2hhcnQrbUF2YWlsYWJsZVVwZGF0ZUZpbGUTQ2hhcnQrbUxhc3RMaW5rRmlsZQxDaGFydCttU2hlZXQUQ2hhcnQrbVRyYW5zcG9zZURhdGEaQ2hhcnQrbVNlcmlhbGl6ZWREYXRhVGFibGUQQ2hhcnQrbUZpeGVkUm93cxNDaGFydCttRml4ZWRDb2x1bW5zG0NoYXJ0K21GaWxsQ29sb3JTY2hlbWVJbmRleBxDaGFydCttTGluZUZvcm1hdFNjaGVtZUluZGV4HkNoYXJ0K21NYXJrZXJGb3JtYXRTY2hlbWVJbmRleA5DaGFydCttVXBkYXRlZBZDaGFydCttUmVxdWlyZWRBcmVhU2V0E0NoYXJ0K21SZXF1aXJlZEFyZWEPQ29udGFpbmVyK21MZWZ0DkNvbnRhaW5lcittVG9wEENvbnRhaW5lcittV2lkdGgRQ29udGFpbmVyK21IZWlnaHQcQ29udGFpbmVyK21Db250YWluZXJTaGFwZVBvcw1Db250YWluZXIrbUlkEUNvbnRhaW5lcittVHlwZUlkFkNvbnRhaW5lcittRGVmYXVsdEZvbnQdQ29udGFpbmVyK21EZWZhdWx0Rm9udEZhckVhc3QcQ29udGFpbmVyK21EZWZhdWx0VGV4dEZvcm1hdBZDb250YWluZXIrbVRoZW1lQ29sb3JzEkNvbnRhaW5lcittQ2xvbmluZxNDb250YWluZXIrbVBlcnNEYXRhGERhdGFPYmplY3QrbUNoaWxkT2JqZWN0cxJEYXRhT2JqZWN0K21QYXJlbnQVRGF0YU9iamVjdCttQ29udGFpbmVyGURhdGFPYmplY3QrbVZpc3VhbE9iamVjdHMDAwQAAAQCBAQEAAAABAAEAAMAAQEHAAQHBwAAAAAABAAAAAAEAQABAQQEAAIDBAQDqAFTeXN0ZW0uQ29sbGVjdGlvbnMuT2JqZWN0TW9kZWwuQ29sbGVjdGlvbmAxW1tBcGxvcmlzLkNoYXJ0LlBpZUNoYXJ0K1VudXNlZEVsZW1lbnQsIEFwbG9yaXMuQ2hhcnQsIFZlcnNpb249NC4yLjAuMTkwOCwgQ3VsdHVyZT1uZXV0cmFsLCBQdWJsaWNLZXlUb2tlbj0xNmZjMTNhMjI2YzBlOTUxXV2eAVN5c3RlbS5Db2xsZWN0aW9ucy5HZW5lcmljLkxpc3RgMVtbQXBsb3Jpcy5DaGFydC5QaWVDaGFydCtVbnVzZWRFbGVtZW50LCBBcGxvcmlzLkNoYXJ0LCBWZXJzaW9uPTQuMi4wLjE5MDgsIEN1bHR1cmU9bmV1dHJhbCwgUHVibGljS2V5VG9rZW49MTZmYzEzYTIyNmMwZTk1MV1dHEFwbG9yaXMuQ2hhcnQuUGllQ2hhcnRMZWdlbmQCAAAAAQGhAUFwbG9yaXMuQmFzZS5PYmplY3RzLkRhdGFPYmplY3RDb2xsZWN0aW9uYDFbW0FwbG9yaXMuQ2hhcnQuUGllQ2hhcnRFbGVtZW50LCBBcGxvcmlzLkNoYXJ0LCBWZXJzaW9uPTQuMi4wLjE5MDgsIEN1bHR1cmU9bmV1dHJhbCwgUHVibGljS2V5VG9rZW49MTZmYzEzYTIyNmMwZTk1MV1dAwAAACdBcGxvcmlzLkNoYXJ0LlN0YW5kYXJkTWFnbml0dWRlUHJvdmlkZXICAAAAGkFwbG9yaXMuQ2hhcnQuTnVtYmVyRm9ybWF0AgAAABpBcGxvcmlzLkNoYXJ0Lk51bWJlckZvcm1hdAIAAAALAQEVU3lzdGVtLkRyYXdpbmcuUG9pbnRGBAAAAAs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KCQUAAAAKAAAJBgAAAAoJBwAAAAkIAAAACQkAAAAAAAAAAQEFCgAAABVTeXN0ZW0uRHJhd2luZy5Qb2ludEYCAAAAAXgBeQAACwsEAAAAEjtqQyh2IkOKnQZDBQsAAAAZU3lzdGVtLkRyYXdpbmcuUmVjdGFuZ2xlRgQAAAABeAF5BXdpZHRoBmhlaWdodAAAAAALCwsLBAAAAEzsukLwxN5B7MSMQ4qdhkMABAwAAAALU3lzdGVtLkd1aWQLAAAAAl9hAl9iAl9jAl9kAl9lAl9mAl9nAl9oAl9pAl9qAl9rAAAAAAAAAAAAAAAIBwcCAgICAgICAgAAAAAAAAAAAAAAAAAAAAAACgoJDQAAAAAKCgkOAAAAAQAAAAAAAAAAAAAAAQEBDwAAAAsAAAD//x9B//8fQTkC70M7sZhD7ESKQ9iJCUM6gvlDOzGjQwEQAAAACgAAALATvEN2YiVDBhEAAAAQUWxvbG9RNXNrYmhHRyttRgAAAAAKCgkSAAAACRMAAAAACgkUAAAACgkBAAAACRUAAAAEBQAAAJ4BU3lzdGVtLkNvbGxlY3Rpb25zLkdlbmVyaWMuTGlzdGAxW1tBcGxvcmlzLkNoYXJ0LlBpZUNoYXJ0K1VudXNlZEVsZW1lbnQsIEFwbG9yaXMuQ2hhcnQsIFZlcnNpb249NC4yLjAuMTkwOCwgQ3VsdHVyZT1uZXV0cmFsLCBQdWJsaWNLZXlUb2tlbj0xNmZjMTNhMjI2YzBlOTUxXV0DAAAABl9pdGVtcwVfc2l6ZQhfdmVyc2lvbgQAACZBcGxvcmlzLkNoYXJ0LlBpZUNoYXJ0K1VudXNlZEVsZW1lbnRbXQIAAAAICAkWAAAAAAAAAAAAAAAFBgAAAKEBQXBsb3Jpcy5CYXNlLk9iamVjdHMuRGF0YU9iamVjdENvbGxlY3Rpb25gMVtbQXBsb3Jpcy5DaGFydC5QaWVDaGFydE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lBpZUNoYXJ0RWxlbWVudCwgQXBsb3Jpcy5DaGFydCwgVmVyc2lvbj00LjIuMC4xOTA4LCBDdWx0dXJlPW5ldXRyYWwsIFB1YmxpY0tleVRva2VuPTE2ZmMxM2EyMjZjMGU5NTFdXQMAAACXAVN5c3RlbS5Db2xsZWN0aW9ucy5HZW5lcmljLkxpc3RgMVtbQXBsb3Jpcy5DaGFydC5QaWVDaGFydE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FwAAAAkYAAAACQEAAAAJAQAAAAkZAAAABQcAAAAnQXBsb3Jpcy5DaGFydC5TdGFuZGFyZE1hZ25pdHVkZVByb3ZpZGVyBAAAABJtTWFnbml0dWRlQWJzb2x1dGURbU1hZ25pdHVkZVBlcmNlbnQSbUFic29sdXRlVmFyaWFibGVzEW1QZXJjZW50VmFyaWFibGVzAAAHBwgICAgCAAAAAAAAAAAAAAAJGgAAAAkbAAAABQ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BZBcGxvcmlzLkNoYXJ0LlBpZUNoYXJ0AgAAABZBcGxvcmlzLkNoYXJ0LlBpZUNoYXJ0AgAAAAgBCAgBCAgIAgAAAAkBAAAACQEAAAAAAAAAAAYcAAAAAS4DAAAABh0AAAABLAYeAAAAAS0GHwAAAAErAQAAAAAKCgYgAAAACE0vZC95eXl5AAAAAAoAAAAAAAAAAAUJ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WQXBsb3Jpcy5DaGFydC5QaWVDaGFydAIAAAAWQXBsb3Jpcy5DaGFydC5QaWVDaGFydAIAAAAIAQgIAQgICAIAAAAJAQAAAAkBAAAAAAAAAAAJHAAAAAMAAAAJHQAAAAkeAAAACR8AAAABAAAAAAoGIQAAAAElCSAAAAABAAAACgAAAAAAAAAADw0AAAAyLAAAAlBLAwQUAAYACAAAACEA0Cviz30BAACABg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zFVbS8MwFH4X/A8lr9JmmyAi6/bg9FEHzh8Qk9O1rLmQk93+vafZFJHZOjbQl4Y2+S4np/kyHG90nazAY2VNzvpZjyVgpFWVmefsdfaY3rIEgzBK1NZAzraAbDy6vBjOtg4wIbTBnJUhuDvOUZagBWbWgaGZwnotAr36OXdCLsQc+KDXu+HSmgAmpKHhYKPhBAqxrEPysKHPOycEZ8n9bl0jlTPhXF1JEcgob2b5QdyqFbcy6pu51BZFJUFZudRkKSP8xIs1lf+DgIcaW5wdUNiXnhEyuseycni1L+GZ9t5XCpKp8OFJaCqUb2q+tn7xZu0ia9+H7nrQeRAKS4Cg6yyOmRaV+YV+XIw8Dv0zG2nqi8RH+hj8Ex/Xf+Qj0AEDHp+ntyTSdDQAw7YGPPdvGEm7lEvhQb0ET2fx7Aa+cnf4kFY3yYDnPgIfvG3yFEtTbx1SYno4vgkfydOgU0dE4EMFrdnzqUhxe3LXoclzBeqANo/3x+gd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oETvyAwEAANQ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8k89qwzAMxu+DvYPRfXGSbmWUOr2MQa9b9wAmVuLQxA6W9idvP5OxLoWSXUIvBkno+35I8nb31bXiAwM13inIkhQEutKbxtUK3g7Pd48giLUzuvUOFQxIsCtub7Yv2GqOTWSbnkRUcaTAMvcbKam02GlKfI8uViofOs0xDLXsdXnUNco8TdcyTDWgONMUe6Mg7M0KxGHoo/P/2r6qmhKffPneoeMLFvLThyNZRI6iOtTICk4pkmNllURikJdh7peE4Tgk/AMZQzm+2RzDw5IMxEMbN3qaxk88Z79e1N7qgOaVQzy3KcU0PQeTXfk4ZheTXxkm/52MPPuLxTcAAAD//wMAUEsDBBQABgAIAAAAIQAu4DqktQIAAKYFAAAPAAAAeGwvd29ya2Jvb2sueG1spFTJbtswEL0X6D8IusvU7gWWAseOUQNFEbRpcixoirKIcFFIKlZa9N87kuqldQ9pq4M4HA4e37yZ4fyqFdx5ptowJTM3GPmuQyVRBZO7zP18t/YmrmMslgXmStLMfaHGvcrfvpnvlX7cKvXoAIA0mVtZW88QMqSiApuRqqmEk1JpgS1s9Q6ZWlNcmIpSKzgKfT9FAjPpDggz/RoMVZaM0JUijaDSDiCacmyBvqlYbQ5ogrwGTmD92NQeUaIGiC3jzL70oK4jyGyzk0rjLYe02yA5IIN5AS0Y0cqo0o4ACg0kL/INfBQEQ8r5vGSc3g+yO7iuP2DR3cJdh2NjbwpmaZG5KWzVnp4cQEI39XXDOJyGk7RjhfJjLW51twPmC26pltjSpZIWhPop8f+K0mMvKwUlcD7Sp4ZpCpXvtMnn8MdkhrfmFtvKaTTPXPSMNSoVLyBP9LRHYTUNq6+kCKMg0kHxbGNZyy/+xIdvJ9EdsqJOKUm2ZeqPwEZnkuPLev6F6Jj0OiGQZqCfzzv7d5nyedfR94zuzUnUbuu0D0wWap+5XhAnKQzJy8kxjXxw7PuAB1bYCkqTxF3Q4HtH2a6yMFxRHIMTKoTOrunnAa7rV0f2ffCpm5EABq9bN1BqsPWMgaE3BdgAcREenoWDfQwH+0/h0Vk42MdwsDuCB1YEcwJd1S09D0g+BAJESdJoDZ21hJPMHdKirX1vbD6HFRqAZe638XSdxNNx6gWrReLFaTDxroN47MXL1U18PU2iRTT5fqpy/G+D5U/R9DBXbRDPDk8TEC9oiRtuNwLv6KoGSlE4TsdDjkDzF65JGN0kq8gLk3XkLZIb3wvSKPTSeA3lXIZhnIRHrqJ9HVWBCaItof17NzmQFO1soUm1WTlrjncwQkORIBIYdf9eRnTII/8BAAD//wMAUEsDBBQABgAIAAAAIQDcBge+egYAANkbAAATAAAAeGwvdGhlbWUvdGhlbWUxLnhtbOxZy24bNxTdF+g/ELNPrKdjGZEDS5bsNnZi2EraLKkRNcOIMxyQlB3t+gUFCqRFNwW666KbAO03pWjTj+glOZJIi/IjdtBXbMCWOIf3Xt7H4SXn4aNXGUNnREjK83ZUvV+JEMljPqJ50o6eDfr3tiIkFc5HmPGctKMZkdGjnU8/eYi3VUoygmB+LrdxO0qVKrY3NmQMw1je5wXJ4dmYiwwr+CqSjZHA5yA3Yxu1SmVzI8M0j1COMxD7dDymMUEDLTLamQvvMfiaK6kHYiZOtWjizTDY0aSqEXImu0ygM8zaEegZ8fMBeaUixLBU8KAdVcxPtLHzcANvl5OYWjPXmdc3P+W8csJoUjM6RTJcKK32G60Hewv5BsDUKq7X63V71YU8A8BxDCu1trgyG/2tamcu0wHZj6uyu5VmpeHjHfn1FZtbnU6n2SptsUINyH5srOC3KpuN3ZqHNyCLb67gG53dbnfTwxuQxW+u4PsPWpsNH29AKaP5ZAWtA9rvl9IXkDFnB0H4FsC3KiV8iYJsWGSXVjHmuVqXaxl+yUUfABrIsKI5UrOCjHEMWdzF2VBQHKEC51zCQKVW6Vfq8Ff/NsynhlaPtwl25tmhWK4MaUuQjAUtVDv6HKRGDuTFFO1zldIYHdIkVVaIN+MA54k7491P3/z5w1foj19+fPf62zBeuvg9kidfUpxfpgAKbOmAt9+9+e3XN2+///r3n18H5O8KPHThA5oRiZ6Qc3TCM1ic8Yy/AjIUN5sxSDH1ZuAUZAdE98B1LvDJDLMQrgNOcHHPBXBLCLg/fenZepqKqaIBzY/TzAMecc46XAQd8Fjrcjw8mOZJWLmYurgTjM9Curs490LcmxZAqpCzq77vpsQz85jhXOGE5EQh/YxPCAlMe0Gp59cjGgsu+VihFxR1MA26ZECHXiItJx3QDOIyCxkIofZ8c/QcdTgLrXqPnPlIKAzMAsYPCPPcuI+nCmchkQOcMdfhh1ilISNPZyJ2cT2pINIJYRz1RkTK0JynAtbrBP0xBjoLhv2IzTIfKRSdhGQeYs692uaTboqzImgzzVMX+5mcQIpidMxVCH7E/QrR3yEOwBvrwv2cEi/cVxPBM6A416RlgugnUxGI5T7hfj3O2BgTwzLA+B6RZzS/jNUZBVq/wOrND83qH5DPw6Jvw+S7sO2F6ungAn+vw/0LWXsPT/NjAoWyypwfSfsjaUf/edJeV8t3T9VLdgbiXnbnplfP1rbqY8rYqZoxcihNty5hTxr1YdAcI8xZcnF0K1L4WB4MPFwisJmDBFdfUJWepriAxr5qDp6JLEUnEhVcQr9vhs0RmFyQbQ61FNp5cz5t6pOLZQ6J1REf2eG6e0JdiDHn1cScgueK6lrAdZXVH9xOWdVatdZt/tKqxjRDit7SFkuGGK4uDQYX3oRmB0GLBF7ehIsCbTucgTAjI+13e3qfh0WrvtMQyRSPSBkjve7VGFVNkOa5Mk+jQIz0afOKGDnaWlrsLbRdJ0iuusYadfPo3SZK8yP2Mkq6bi+UI8vd4mQ5Om9HrWatGaEYF+1oDIdr+JgVEHWp+0vMErihipWwaX9lMZt0XUazFU7LKtyXWL+vLNjjgUJItYdlalPDPCpTgOXmKsDYX2uCW+9qATbT38OK+hYkw99mBfjRDy0Zj0ms3GA7I+YuxABKKuVTRcRpOjpHQzYVJxjCr1MV1jOiEm5BDCPoL3Chp71tHvnkXBade41mcHYcsyLFJd3qEp1XsoWbOl7YYL5Za415sLag7WZxN1+KKfk7Woqbxv+zpej9BG4l6iMdgRjukwVGul7bERcq5cBCBdyS9QVcphnugGyBS2F4DEkFt9rmvyBn+r+tOSvDlLW+WTuhCRIU9iOVCkKOgZZM9l0hrFruXVYkKwWZjHLMlYU1e0jOCBtoDtzUe3uEUkh1wyYlDRjcxfzzv5cVNEx0k/NP7XxsMd+0PdDdgW2x7Pxr9iINh/SdraAV3PtMT7Wgg0s29htutZaxVlZca157qy3gbgnulBXkRExFzOwrEr2hDvgJcCuCNx62vUKQ1fds44E0QVp6HELjZAdtMmlRtmEpu9s7b6PgXrzsdBd6oUrfp9O9obMXzZmvzqvFy7vPmzm79LDna7fTDbgaivZiier2aH6QMYEx79bc1198+BICvQcvGqZMSfsK4RXcJMIpw76qgOK3wTVTd/4CAAD//wMAUEsDBBQABgAIAAAAIQDnZXW41gAAALgBAAAjAAAAeGwvd29ya3NoZWV0cy9fcmVscy9zaGVldDEueG1sLnJlbHOskMlqAzEMQO+F/oPRPdZMDqGUeHIJhVxD+gHC1ix0vGC5afL3dSiFDAR66VHb05O2u4uf1ZmzTDEYaHUDioONbgqDgffT2+oFlBQKjuYY2MCVBXbd89P2yDOVOiTjlERVShADYynpFVHsyJ5Ex8ShVvqYPZUa5gET2Q8aGNdNs8F8z4BuwVQHZyAfXAvqdE1189/s2PeT5X20n55DebACz37eZ/qqx1Uq5YGLAa3R/eTkrt7q2gv42Gn9n042+puuLIx+k62u/7tp4OLf3TcAAAD//wMAUEsDBBQABgAIAAAAIQCU7BIregEAAKcCAAAYAAAAeGwvd29ya3NoZWV0cy9zaGVldDIueG1sjJJNT8MwDIbvSPyHKHeabuNjTOsQYkJwQEKIj3Oaum20JK4Sj7F/j9tpA2mX3eLYfuL3deZ3P96Jb4jJYijkKMulgGCwsqEp5Mf748VUikQ6VNphgEJuIcm7xfnZfINxlVoAEkwIqZAtUTdTKpkWvE4ZdhA4U2P0mjiMjUpdBF0NTd6pcZ5fK69tkDvCLJ7CwLq2BpZo1h4C7SARnCaeP7W2S3uaN6fgvI6rdXdh0HeMKK2ztB2gUngze24CRl061v0zutRmzx6CI7y3JmLCmjLGqd2gx5pv1a1i0mJeWVbQ2y4i1IW8H0mhFvPBnU8Lm/TvLHqzS8RVn3iuCslb4lp1VPw4uP0aRakTPKD7shW1vFaur6DWa0d/l9NsOhnnk9H46pB8w80T2KYlbuHbQeas2i4hGTabn83Gf0MuNel+ik438KJjY0MSDuqh7EaKuOPkGZ8Ju775hpklEqHfRy3/B+C959lEihqRDkEv7/DFFr8AAAD//wMAUEsDBBQABgAIAAAAIQCU7BIregEAAKcCAAAYAAAAeGwvd29ya3NoZWV0cy9zaGVldDMueG1sjJJNT8MwDIbvSPyHKHeabuNjTOsQYkJwQEKIj3Oaum20JK4Sj7F/j9tpA2mX3eLYfuL3deZ3P96Jb4jJYijkKMulgGCwsqEp5Mf748VUikQ6VNphgEJuIcm7xfnZfINxlVoAEkwIqZAtUTdTKpkWvE4ZdhA4U2P0mjiMjUpdBF0NTd6pcZ5fK69tkDvCLJ7CwLq2BpZo1h4C7SARnCaeP7W2S3uaN6fgvI6rdXdh0HeMKK2ztB2gUngze24CRl061v0zutRmzx6CI7y3JmLCmjLGqd2gx5pv1a1i0mJeWVbQ2y4i1IW8H0mhFvPBnU8Lm/TvLHqzS8RVn3iuCslb4lp1VPw4uP0aRakTPKD7shW1vFaur6DWa0d/l9NsOhnnk9H46pB8w80T2KYlbuHbQeas2i4hGTabn83Gf0MuNel+ik438KJjY0MSDuqh7EaKuOPkGZ8Ju775hpklEqHfRy3/B+C959lEihqRDkEv7/DFFr8AAAD//wMAUEsDBBQABgAIAAAAIQBUD9ib1gIAAAMHAAAYAAAAeGwvd29ya3NoZWV0cy9zaGVldDEueG1sjJXJbtswEIbvBfoOBO/Rbi2G5SCxETSHAkXXM01REhFJVEl6e/sORUuxkwbQxaDI3/98M5yRVventkEHJhUXXY59x8OIdVQUvKty/Ovn012KkdKkK0gjOpbjM1P4fv350+oo5IuqGdMIHDqV41rrfum6itasJcoRPevgpBSyJRoeZeWqXjJSDH9qGzfwvNhtCe+wdVjKOR6iLDllW0H3Leu0NZGsIRr4Vc17Nbqdill+hSRHyHXkuULc2pPJz4/e8bWcSqFEqR0qWteivc8yc7ObPFs6J9GWyJd9fwfGPSS34w3X5yFdjFq6fK46IcmugRs5+RGhV5Tkvf18TnBarwoOtTUNgSQrc/zgLzcxRu56NVzdb86O6mqNNNn9YA2jmhXQQRiZztgJ8WKEz7DlgaUaBMaSUM0PbMOaJsePGTTX3yGIWUIEdwpxvR7DPQ3N9E2iHVFsI5o/vNA1xISmLVhJ9o1+3UydNAy80A8W0+F3cfzCeFVr+AvsDoVbFuctUxR6CUCdYICgooGI8ItaboYCKk5ONjUbMPSccDJX+myuIcKI7pUW7Qg1WlkTcLYmcZiC9GiNriEvPhDN1MEyDNXYEk3WKymOCDoajlVPzLz5y/CDHIDdSB+MNsegAsNh59Hu2CxdcJxsYWu2rdHmGAoIJVNwt4e1t3IPhnkMYxWJPXMCP8gySDtLMz/O4mQxqW8QgHM2gtHmGJpyQvDfIFhFOiLEcRAtojQJ4ygOvOwDBLiY2QhGe4sQvEGwihEh8oJFkHjJIvWDIImi8P9VgLLORjDaW4RXU3vfVjEi+H4ahL4XxVnoR16SRbfAG6u+DOJ1d0ChZ0MZ7QA1NZ3dge+I6evB1k657eueVOwrkRXvFGpYOYxhgpG0c+o5sNaiN8OZAN9OaBix8amGzwmDTodxxKgUQk8PEKphFaHny1scySWHV5F8Li7zNX2+1v8AAAD//wMAUEsDBBQABgAIAAAAIQCJT2jGwAMAAHkNAAANAAAAeGwvc3R5bGVzLnhtbNRX227jNhB9L9B/EBj00ZHkuw1Ji9qJigW2iwJJgb5SEiUTy4tB0am9Rf+9Q1K3JOs46S5abB4cXoZnZs5wZqjo3ZEz74GomkoRo/A6QB4RuSyoqGL0+306WiKv1lgUmElBYnQiNXqX/PhDVOsTI3c7QrQHEKKO0U7r/dr363xHOK6v5Z4I2Cml4ljDVFV+vVcEF7U5xJk/DoK5zzEVyCGsef4aEI7Vp8N+lEu+x5pmlFF9sljI4/n6fSWkwhkDU4/hFOcttp08g+c0V7KWpb4GOF+WJc3JcytX/soHpCQSB55yXXu5PAgNbHVLntt5X8DifIo85/RWFmDG1dVVcB38hDw/ifwGIYlKKXogOGHtW38S8k+Rmi2HbqSSqP7sPWAGK6EFySWTytPAMqC7JYE5cTJbzGimqBUsMafs5NbHdsXGppHkFJhyVjk17jczdrYaVwOFVBTkSMDD5VOd93gnOT6j0h+C/6eefFGZqrIYpWlg/6zJPXe/UMa8Oyzql12xHtUQQhDv7sIU7oJZSCK4lZookRqwZnx/2kOoBCRQw7cVvCBeKXwKx7M3nKglo4Wxo9raK9L4mqbb2wYna3a6WJrLau7lwGiYOcsu2HdW2+1ilVrUN2mzSoHVTKoCytEwx9xSEjFSamOtotXODrTcm3kmtZbcjAqKKykwsz61x/wGMolywtidqVt/lJ2CGRB2LAcJDBXQXFmTy2YIoWqGDqaZgLJzpyDVvutT/pAmR9qArzD4d4Qdy8vMvcB3dxzv9+y0sZekrX6vCB/E5FH4HsOZXH0DGJj57cAmXw0GCOfum3MT6rVlzTQW66abtU4/ZdTOf2a0Epy0bQ66ipt6O6noZwAyDckkJDKvB01zM4d8dOXkWJ5Pj4vmQqz+b3ObJu6qwEWDQcAa/PHAM6JS++AZ8PytWc8hKgQ6d897u2Iq+TPq3+YL9IPvxZdXV4svx+VxDbFFD8rcoEk8ahFdTfTMeyFGH02UGbzb2rKWHSjTVPRF7ukJ+2AOZ0E4Difz2Xy5NK8+exruD0TugvxqCXnh5F3Pfll+MQkAtsv/i/iLSbho5d1bsW8DQEpx7Dsm8A5w2jyybTPteIKNgpT4wPR9txmjfvwrKeiBA3oj9Rt9kNpCxKgffzDdPZxbJeSoP9TwAob/3kHRGP11u1msbm7T8WgZbJaj6YTMRqvZ5mY0m243NzfpKhgH278Hj/6vePLbTxOoY+F0XTP4MFCNt431d/1ajAYTZ7+rg2A3pGTrhd9/MyX/AAAA//8DAFBLAwQUAAYACAAAACEAcDjqtF4CAACSBAAAGwAAAHhsL2RyYXdpbmdzL3ZtbERyYXdpbmcxLnZtbIxUTYvbMBC9F/ofhPaQS4I/SgtVbMOyZW9toduP46JYSqxdSWOsiePsr+/IdrJJKaUmseWZp9F7byYpBmcZfX0Qfcn3nRehbrSTYeVM3UGALa5qcKJ3lr99MyPhX0jYbk2txfR43TP8xx491PriGEeMGsRWJImT9U9nH0ZqPzrDK+JSgAiNbLWVR9gj64UesORaGRzTMW+Uk+1VhimJsuQZT8YSyVWNquinknhsNTOq5I9DStcj5mnOWQ3QqWBedMnz7EOaLsc7Z1SjpZMjhmixVmJTcpcuUztDJuDVPR30zJKOxA6eNXsC4wMeLZV3BnU3UWTEKVZku04qoz2OmuG55BhPrsF7XWMkXPKOVidhF0rOsi4lhSzN33M2bby50jmRWLQQDBrwQm4C2D3qdVTnZLczfmX1FkWWZy2u5whCK3J6PRiFjciNXzfa7BoUeYy+rIxXehDZWKQ3wWyMNXgUjVFK+7ULsDp0sl2NhwuMOxdsa6ytwUJX8pstXTqLmskmjQ4UKZZ7hLOPEU1NInj+ih/7HE0k3xQcGPjJuU2o952mFs+OnX3+w1MPXr92AmnGNjCw2aLIWploO/m0khZFJLSIo8VYoUx/AsZ9lDc7L6Jzi6pIKDviiqQXc9npfRB3Njb6E00q+7p5ourfx/Z+AZyHhhWD+Ay9/mWwudPWhkllDD/QfP4lfOvrBrqJGEuXjFq3jM98/LyLkSX7WCSDuERSvVsSdE/GVvfSBj0CTpFJ5SC+waFKYyYuTsE7GhnnqyzG53VMja9nedNvcB5V8oT+iKrfAAAA//8DAFBLAwQUAAYACAAAACEAELgj5e8AAABuAQAAFAAAAHhsL3NoYXJlZFN0cmluZ3MueG1slJCxTsQwDIZ3JN7BysJyXA6EEEJpbwAxMsHAaBpfW5HYJXav9O0JAwKJicn6ZH2/fznsP3KCIxUdhRt3sd05IO4kjtw37vnp4fzGgRpyxCRMjVtJ3b49PQmqBtVlbdxgNt16r91AGXUrE3HdHKRktIql9zoVwqgDkeXkL3e7a59xZAedzGyNu3Iw8/g+0903t0HHNlj7QroB7IqoAqYEkSYslomtMkcvpWakRD1p8NYG/6X9Ul9nA+G0Qq0DKpn+k/AoG1gIBjwSsBhglMkoQj+PsY4JbVhw/XP4XvjM4I1l+ank67/aTwAAAP//AwBQSwMEFAAGAAgAAAAhALRX8Fc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/Q8h7m3ST6ULbgcqeHApuKL6F5HYLNn9Iot2+vVm31cl8vJxzf5xzbznb6hZ9gw/KmgoXOcUIjLBSmXWFV8t5dodRiNxI3loDFd5BwLP6+qoUjgnr4cVbBz4qCCiRTGDCVXgTo2OEBLEBzUOeHCaJjfWaxzT6NXFcfPI1kBGlE6IhcskjJ3tg5gYiPiKlGJDuy7c9QAoCLWgwMZAiL8ivN4LX4d+FXjlzahV3LnU6xj1nS3EQB/c2qMHYdV3ejfsYKX9B3hdPr33VTJn9rQTgupSCCQ88Wl+X5HxIh2t5iIt040aBvN/VCyW8DbaJ6LlplAC0CuBLcmlM0L4D08dllGKxQ4mT9DZ+eFzOcT2ixW1Gp9losiymjN4wOv3YB/kLSNkuHln/AAAA//8DAFBLAwQUAAYACAAAACEAY/PjYwIBAACAAQAAEAAAAHhsL2NvbW1lbnRzMS54bWxUj8FqwzAMhu+DvYPRfXXaw+hGnEIPhcEOPXQP4CVKY7DlYDkl3dNPSZrBwBj/v+Tvl8rDGLy6YWIXycB2U4BCqmPj6Grg63J62YPibKmxPhIauCPDoXp+KusYAlJmJQBiA13O/bvWXHcYLG9ijySVNqZgs8h01dwntA13iDl4vSuKVx2sI6hKO+QuJl4fSlel/vMeQZ+Oc7WmqoStgeMW1NL20RgoBJRxlKYk5yzX9wTiH3Wz3sAbTKqOPiblqMER5c9eCOKmU6S8tF1sF4Od3dYG5++LvZsdPWNzdXao0OO0/1QeUAl3CFRqSdeSrJdB9GN2Mf5tsSqufgEAAP//AwBQSwMEFAAGAAgAAAAhABUuMW+TAQAAPg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NPT+MwEMXvK/EdIt+p0xbQqnKMVvwRBxCVWtiz15k0Fq4deYao5dMzSURJd5cLt5l5Ty8/jx11udv6rIWELoZCTCe5yCDYWLqwKcTT+vb0p8iQTCiNjwEKsQcUl/rkh1qm2EAiB5hxRMBC1ETNQkq0NWwNTlgOrFQxbQ1xmzYyVpWzcB3t6xYCyVmeX0jYEYQSytPmECiGxEVL3w0to+348Hm9bxhYq19N4501xKfUD86miLGi7MFYFyhind3sLHglxzbFnCuwr8nRXudKjlu1ssbDFX9CV8YjKPk5UHdguvUtjUuoVUuLFizFlKF74wXORPbHIHRghWhNciYQA3a2oelr3yAl/TumF6wBCJVkwzDsy7F3XLszPe8NXBwbu4ABhIVjxLUjD/hYLU2i/xDPx8Q9w8A74Kw6vumY70DaS7OvpYF0fKp+Ucz3F9G9Cy/41KzjtSH42PjxUK1qk6DkSzrcyGGg7njZyXchV7UJGyg/PP8K3Ut5Hn4HPT2f5POcr340U/Lz4et3AAAA//8DAFBLAQItABQABgAIAAAAIQDQK+LPfQEAAIAGAAATAAAAAAAAAAAAAAAAAAAAAABbQ29udGVudF9UeXBlc10ueG1sUEsBAi0AFAAGAAgAAAAhAFB8TsHzAAAATAIAAAsAAAAAAAAAAAAAAAAAtgMAAF9yZWxzLy5yZWxzUEsBAi0AFAAGAAgAAAAhAKgRO/IDAQAA1AMAABoAAAAAAAAAAAAAAAAA2gYAAHhsL19yZWxzL3dvcmtib29rLnhtbC5yZWxzUEsBAi0AFAAGAAgAAAAhAC7gOqS1AgAApgUAAA8AAAAAAAAAAAAAAAAAHQkAAHhsL3dvcmtib29rLnhtbFBLAQItABQABgAIAAAAIQDcBge+egYAANkbAAATAAAAAAAAAAAAAAAAAP8LAAB4bC90aGVtZS90aGVtZTEueG1sUEsBAi0AFAAGAAgAAAAhAOdldbjWAAAAuAEAACMAAAAAAAAAAAAAAAAAqhIAAHhsL3dvcmtzaGVldHMvX3JlbHMvc2hlZXQxLnhtbC5yZWxzUEsBAi0AFAAGAAgAAAAhAJTsEit6AQAApwIAABgAAAAAAAAAAAAAAAAAwRMAAHhsL3dvcmtzaGVldHMvc2hlZXQyLnhtbFBLAQItABQABgAIAAAAIQCU7BIregEAAKcCAAAYAAAAAAAAAAAAAAAAAHEVAAB4bC93b3Jrc2hlZXRzL3NoZWV0My54bWxQSwECLQAUAAYACAAAACEAVA/Ym9YCAAADBwAAGAAAAAAAAAAAAAAAAAAhFwAAeGwvd29ya3NoZWV0cy9zaGVldDEueG1sUEsBAi0AFAAGAAgAAAAhAIlPaMbAAwAAeQ0AAA0AAAAAAAAAAAAAAAAALRoAAHhsL3N0eWxlcy54bWxQSwECLQAUAAYACAAAACEAcDjqtF4CAACSBAAAGwAAAAAAAAAAAAAAAAAYHgAAeGwvZHJhd2luZ3Mvdm1sRHJhd2luZzEudm1sUEsBAi0AFAAGAAgAAAAhABC4I+XvAAAAbgEAABQAAAAAAAAAAAAAAAAAryAAAHhsL3NoYXJlZFN0cmluZ3MueG1sUEsBAi0AFAAGAAgAAAAhALRX8Fc4AQAAFQIAABEAAAAAAAAAAAAAAAAA0CEAAGRvY1Byb3BzL2NvcmUueG1sUEsBAi0AFAAGAAgAAAAhAGPz42MCAQAAgAEAABAAAAAAAAAAAAAAAAAAPyQAAHhsL2NvbW1lbnRzMS54bWxQSwECLQAUAAYACAAAACEAFS4xb5MBAAA+AwAAEAAAAAAAAAAAAAAAAABvJQAAZG9jUHJvcHMvYXBwLnhtbFBLBQYAAAAADwAPAOQDAAA4KAAAAAAPDgAAAAEAAAAIAgAAAAUS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YiAAAABUFyaWFsBiMAAAAW77yt77yzIO+8sOOCtOOCt+ODg+OCrwkkAAAAAQAJJQAAAAcTAAAAAAEAAAARAAAABBRTeXN0ZW0uRHJhd2luZy5Db2xvcgQAAAAFJgAAABRTeXN0ZW0uRHJhd2luZy5Db2xvcgQAAAAFdmFsdWUFc3RhdGUKa25vd25Db2xvcgRuYW1lAAAAAQkHBwQAAAAAAAAAAAAAAAAAAAAKAScAAAAmAAAAAAAA//////8CAAAACgEoAAAAJgAAAP//////////AgAAAAoBKQAAACYAAABOQSL//////wIAAAAKASoAAAAmAAAA3tzb//////8CAAAACgErAAAAJgAAAH5pP///////AgAAAAoBLAAAACYAAACMhHL//////wIAAAAKAS0AAAAmAAAAJSHt//////8CAAAACgEuAAAAJgAAADQ7Rv//////AgAAAAoBLwAAACYAAAB0mMP//////wIAAAAKATAAAAAmAAAAHpT3//////8CAAAACgExAAAAJgAAAB6U9///////AgAAAAoBMgAAACYAAAAlIe3//////wIAAAAKATMAAAAmAAAAAAAA//////8CAAAACgE0AAAAJgAAAP//////////AgAAAAoBNQAAACYAAABOQSL//////wIAAAAKATYAAAAmAAAA3tzb//////8CAAAACgQU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k3AAAAAwAAAAMAAAAEF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OAAAAAAAAAAAAAAABxYAAAAAAQAAAAAAAAAEJEFwbG9yaXMuQ2hhcnQuUGllQ2hhcnQrVW51c2VkRWxlbWVudAIAAAAEFwAAAJcBU3lzdGVtLkNvbGxlY3Rpb25zLkdlbmVyaWMuTGlzdGAxW1tBcGxvcmlzLkNoYXJ0LlBpZUNoYXJ0RWxlbWVudCwgQXBsb3Jpcy5DaGFydCwgVmVyc2lvbj00LjIuMC4xOTA4LCBDdWx0dXJlPW5ldXRyYWwsIFB1YmxpY0tleVRva2VuPTE2ZmMxM2EyMjZjMGU5NTFdXQMAAAAGX2l0ZW1zBV9zaXplCF92ZXJzaW9uBAAAH0FwbG9yaXMuQ2hhcnQuUGllQ2hhcnRFbGVtZW50W10CAAAACAgJOQAAAAQAAAARAAAAARgAAAAUAAAACToAAAAEAAAACgAAAAEZAAAAFQAAAAk4AAAAAAAAAAAAAAAPGgAAAAAAAAAIDxsAAAAAAAAACAUkAAAAGkFwbG9yaXMuQmFzZS5PYmplY3RzLkNvbG9yBwAAABJEYXRhT2JqZWN0K21QYXJlbnQVRGF0YU9iamVjdCttQ29udGFpbmVyBW1UeXBlBG1SR0IQbVRoZW1lQ29sb3JJbmRleAxtQXV0b1VwZGF0ZWQJbU1vZGlmaWVkAgIAAAAAAAgICAEBAwAAAAoKAAAAAAAAAAANAAAAAAEBJQAAACQAAAAKCgEAAAAAAAAA/////wABBzcAAAAAAQAAAAQAAAAEH0FwbG9yaXMuQmFzZS5PYmplY3RzLkRhdGFPYmplY3QDAAAACQgAAAAJCQAAAAkGAAAACgc4AAAAAAEAAAAAAAAABBxBcGxvcmlzLkJhc2UuVUkuVmlzdWFsT2JqZWN0AwAAAAc5AAAAAAEAAAAIAAAABB1BcGxvcmlzLkNoYXJ0LlBpZUNoYXJ0RWxlbWVudAIAAAAJOwAAAAk8AAAACT0AAAAJPgAAAA0EBzoAAAAAAQAAAAgAAAAEH0FwbG9yaXMuQmFzZS5PYmplY3RzLkRhdGFPYmplY3QDAAAACTsAAAAJPAAAAAk9AAAACT4AAAANBAU7AAAAHUFwbG9yaXMuQ2hhcnQuUGllQ2hhcnRFbGVtZW50FAAAAAZtQ2hhcnQGbVZhbHVlDG1EZXNjcmlwdGlvbg9tQ2VudGVyRGlzdGFuY2UNbVNob3dJbkxlZ2VuZA1tT3V0c2lkZUxhYmVsDG1JbnNpZGVMYWJlbAptVmlzdWFsUGllCG1WaXNpYmxlCW1FeGNlbFJvdxVtSW5zaWRlTGFiZWxQb3NpdGlvbnMXbUluc2lkZUxhYmVsQW5jaG9yTW9kZXMUbUluc2lkZUxhYmVsUG9zaXRpb24WbU91dHNpZGVMYWJlbFBvc2l0aW9ucxhtT3V0c2lkZUxhYmVsQW5jaG9yTW9kZXMVbU91dHNpZGVMYWJlbFBvc2l0aW9uGERhdGFPYmplY3QrbUNoaWxkT2JqZWN0cxJEYXRhT2JqZWN0K21QYXJlbnQVRGF0YU9iamVjdCttQ29udGFpbmVyGURhdGFPYmplY3QrbVZpc3VhbE9iamVjdHMEAgIAAAQEBAAABAQABAQAAwQEAxZBcGxvcmlzLkNoYXJ0LlBpZUNoYXJ0AgAAAAsBFUFwbG9yaXMuQmFzZS5VSS5MYWJlbAMAAAAVQXBsb3Jpcy5CYXNlLlVJLkxhYmVsAwAAABlBcGxvcmlzLkJhc2UuVUkuVmlzdWFsUGllAwAAAAEIF1N5c3RlbS5EcmF3aW5nLlBvaW50RltdBAAAABlBcGxvcmlzLkJhc2UuQW5jaG9yTW9kZVtdAwAAAAgXU3lzdGVtLkRyYXdpbmcuUG9pbnRGW10EAAAAGUFwbG9yaXMuQmFzZS5BbmNob3JNb2RlW10DAAAAC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IBpMdYDh3Q8s/Bj8AAAArWWVzLCBhY3Jvc3MgYWxsIGRlcGFydG1lbnRzIGFuZC9vciBjb2xsZWdlcwAAAAABCUAAAAAJQQAAAAlCAAAAAQIAAAAJQwAAAAlEAAAAAAAAAAlFAAAACUYAAAAAAAAACUcAAAAJAQAAAAkBAAAACUgAAAABPAAAADsAAAAJAQAAAAgGfBI8gyoK0T8GSQAAADJZZXMsIGJ1dCBvbmx5IGZvciBzb21lIGRlcGFydG1lbnRzIGFuZC9vciBjb2xsZWdlcwAAAAABCUoAAAAJSwAAAAlMAAAAAQMAAAAJTQAAAAlOAAAAAAAAAAlPAAAACVAAAAAAAAAACVEAAAAJAQAAAAkBAAAACVIAAAABPQAAADsAAAAJAQAAAAgGGpGX7ADD2T8GUwAAACdObywgd2UgaGF2ZSBub3QgYWRvcHRlZCBndWlkZWQgcGF0aHdheXMAAAAAAQlUAAAACVUAAAAJVgAAAAEEAAAACVcAAAAJWAAAAAAAAAAJWQAAAAlaAAAAAAAAAAlbAAAACQEAAAAJAQAAAAlcAAAAAT4AAAA7AAAACQEAAAAIBoc28c9jRL4/Bl0AAAAKRG9uJ3Qga25vdwAAAAABCV4AAAAJXwAAAAlgAAAAAQUAAAAJYQAAAAliAAAAAAAAAAljAAAACWQAAAAAAAAACWUAAAAJAQAAAAkBAAAACWYAAAAFQAA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VnAAAAK0FwbG9yaXMuQ2hhcnQuQ29ubmVjdGVkTGFiZWwrZUNvbm5lY3Rvck1vZGUBAAAAB3ZhbHVlX18ACAIAAAAAAAAABWgAAAA2QXBsb3Jpcy5DaGFydC5Db25uZWN0ZWRMYWJlbCtlQW5nbGVkQ29ubmVjdG9yRGlyZWN0aW9uAQAAAAd2YWx1ZV9fAAgCAAAAAAAAAAFpAAAACwAAAP//f////3//AAAAAAAAAAAFagAAAC1BcGxvcmlzLkNoYXJ0LkNvbm5lY3RlZExhYmVsK2VUYXJnZXRBcmVhU2hhcGUBAAAAB3ZhbHVlX18ACAIAAAAAAAAAAACgQAABawAAAAoAAABLsapD3jR3QwVsAAAAF0FwbG9yaXMuQmFzZS5BbmNob3JNb2RlAQAAAAd2YWx1ZV9fAAgDAAAABQAAAAAAAAAAAAAAAAltAAAAAAAAAAluAAAAAAAABW8AAAAqQXBsb3Jpcy5CYXNlLlVJLkxhYmVsK0xpbmVBbGlnbm1lbnRPcHRpb25zAQAAAAd2YWx1ZV9fAAgDAAAAAAAAAAVwAAAAFFN5c3RlbS5EcmF3aW5nLlNpemVGAgAAAAV3aWR0aAZoZWlnaHQAAAsLBAAAAAAAPkMAAFBCAXEAAAALAAAAEzupQ2IndkNMjhVD//8fQl662T8GcgAAAENHdWlkZWQgUGF0aHdheXMgYWRvcHRpb24gDQphY3Jvc3MgYWxsIGRlcGFydG1lbnRzIA0KYW5kL29yIGNvbGxlZ2VzCglzAAAACXIAAAA0AwAA/////wEBCgl0AAAAAQAKAQVBAAAAFUFwbG9yaXMuQmFzZS5VSS5MYWJlbB0AAAAPbUFuY2hvclBvc2l0aW9uC21BbmNob3JNb2RlD21BZGRJbm5lck1hcmdpbhZtT2Zmc2V0RGlyZWN0aW9uQW5jaG9yF21PZmZzZXRPcnRob2dvbmFsQW5jaG9yC21UZXh0Rm9ybWF0CW1Sb3RhdGlvbgptQmFja0NvbG9yDW1Vc2VCYWNrQ29sb3IObVVzZUJhY2tncm91bmQRbUN1c3Rvb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AAAAABwIAAAM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AXUAAAAKAAAABIOPQ7Y2TEMBdgAAAGwAAAAAAAAAAAAAAAAAAAAACXcAAAAAAAAACXgAAAAAAAABeQAAAG8AAAAAAAAAAXoAAABwAAAAAAD4QQAAiEEBewAAAAsAAABiJ4hDTuxEQzf82UETO1FBXrrZPwZ8AAAAAzIxJQoJfQAAAAZ+AAAAADQDAAD/////AQEKCX8AAAABAAoBBUIAAAAZQXBsb3Jpcy5CYXNlLlVJLlZpc3VhbFBpZREAAAAMbUNlbnRlclBvaW50B21SYWRpdXMNbVNlZ21lbnRTdGFydAttU2VnbWVudEVuZAttTGluZUZvcm1hdAttRmlsbEZvcm1hdA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AABAQEAAAAAAcCAAADABVTeXN0ZW0uRHJhd2luZy5Qb2ludEYEAAAACwsLH0FwbG9yaXMuQmFzZS5PYmplY3RzLkxpbmVGb3JtYXQDAAAAH0FwbG9yaXMuQmFzZS5PYmplY3RzLkZpbGxGb3JtYXQDAAAAGVN5c3RlbS5EcmF3aW5nLlJlY3RhbmdsZUYEAAAACAgBAQgBAQ9TeXN0ZW0uSW50UHRyW10BAwAAAAGAAAAACgAAABI7akModiJDip0GQwAAAAB/W5lCCYEAAAAJggAAAAGDAAAACwAAAAAAAAAAAAAAAAAAAAAAAADgAQAA/////wEBCgmEAAAAAQAKAQdDAAAAAAEAAAACAAAABBVTeXN0ZW0uRHJhd2luZy5Qb2ludEYEAAAAAYUAAAAKAAAABIOPQ7Y2TEMBhgAAAAoAAAApEqhDUA9zQwdEAAAAAAEAAAACAAAABBdBcGxvcmlzLkJhc2UuQW5jaG9yTW9kZQMAAAABhwAAAGwAAAAAAAAAAYgAAABsAAAACAAAAAdFAAAAAAEAAAABAAAABBVTeXN0ZW0uRHJhd2luZy5Qb2ludEYEAAAAAYkAAAAKAAAAS7GqQ940d0MHRgAAAAABAAAAAQAAAAQXQXBsb3Jpcy5CYXNlLkFuY2hvck1vZGUDAAAAAYoAAABsAAAABQAAAAFHAAAAFAAAAAmLAAAAAAAAAAAAAAABSAAAABUAAAAJjAAAAAMAAAADAAAAAUoAAABAAAAAClgCAAABjQAAAGcAAAAAAAAAAY4AAABoAAAAAAAAAAGPAAAACwAAAP//f////3//AAAAAAAAAAABkAAAAGoAAAAAAAAAAACgQAABkQAAAAoAAAB7kRtDDT2KQwGSAAAAbAAAAAYAAAAAAAAAAAAAAAAJkwAAAAAAAAAJlAAAAAAAAAGVAAAAbwAAAAAAAAABlgAAAHAAAAAAADpDAABQQgGXAAAACwAAAP//H0E7sYlDm3oSQ///H0Jeutk/BpgAAABCR3VpZGVkIFBhdGh3YXlzIGFkb3B0aW9uDQphY3Jvc3Mgc29tZSBkZXBhcnRtZW50cw0KYW5kL29yIGNvbGxlZ2VzCgmZAAAACZgAAAA0AwAA/////wEBCgmaAAAAAQAKAQFLAAAAQQAAAAGbAAAACgAAAPgBREPw3FlDAZwAAABsAAAAAAAAAAAAAAAAAAAAAAmdAAAAAAAAAAmeAAAAAAAAAZ8AAABvAAAAAAAAAAGgAAAAcAAAAAAA+EEAAIhBAaEAAAALAAAA2Ik1Q///UUM3/NlBEztRQV662T8GogAAAAMyNyUKCaMAAAAJfgAAADQDAAD/////AQEKCaQAAAABAAoBAUwAAABCAAAAAaUAAAAKAAAAEjtqQyh2IkOKnQZDf1uZQu+GLEMJpgAAAAmnAAAAAagAAAALAAAAAAAAAAAAAAAAAAAAAAAAAOABAAD/////AQEKCakAAAABAAoBB00AAAAAAQAAAAIAAAAEFVN5c3RlbS5EcmF3aW5nLlBvaW50RgQAAAABqgAAAAoAAAD4AURD8NxZQwGrAAAACgAAAKHrHkMkz4dDB04AAAAAAQAAAAIAAAAEF0FwbG9yaXMuQmFzZS5BbmNob3JNb2RlAwAAAAGsAAAAbAAAAAAAAAABrQAAAGwAAAAHAAAAB08AAAAAAQAAAAEAAAAEFVN5c3RlbS5EcmF3aW5nLlBvaW50RgQAAAABrgAAAAoAAAB7kRtDDT2KQwdQAAAAAAEAAAABAAAABBdBcGxvcmlzLkJhc2UuQW5jaG9yTW9kZQMAAAABrwAAAGwAAAAGAAAAAVEAAAAUAAAACYsAAAAAAAAAAAAAAAFSAAAAFQAAAAmwAAAAAwAAAAMAAAABVAAAAEAAAAAKWAIAAAGxAAAAZwAAAAAAAAABsgAAAGgAAAAAAAAAAbMAAAALAAAA//9/////f/8AAAAAAAAAAAG0AAAAagAAAAAAAAAAAKBAAAG1AAAACgAAAK/cL0OukRVCAbYAAABsAAAACAAAAAAAAAAAAAAAAAm3AAAAAAAAAAm4AAAAAAAAAbkAAABvAAAAAAAAAAG6AAAAcAAAAAAAEkMAAAhCAbsAAAALAAAAsBNzQv//H0Fda+dCEzvRQV662T8GvAAAABxObyBHdWlkZWQgUGF0aHdheXMNCmFkb3B0aW9uCgm9AAAACbwAAAA0AwAA/////wEBCgm+AAAAAQAKAQFVAAAAQQAAAAG/AAAACgAAAB7ETUMj8MpCAcAAAABsAAAAAAAAAAAAAAAAAAAAAAnBAAAAAAAAAAnCAAAAAAAAAcMAAABvAAAAAAAAAAHEAAAAcAAAAAAA+EEAAIhBAcUAAAALAAAA7MQ+Qzqxu0I3/NlBEztRQV662T8GxgAAAAM0MCUKCccAAAAJfgAAADQDAAD/////AQEKCcgAAAABAAoBAVYAAABCAAAAAckAAAAKAAAAEjtqQyh2IkOKnQZD74YsQ+q3nkMJygAAAAnLAAAAAcwAAAALAAAAAAAAAAAAAAAAAAAAAAAAAOABAAD/////AQEKCc0AAAABAAoBB1cAAAAAAQAAAAIAAAAEFVN5c3RlbS5EcmF3aW5nLlBvaW50RgQAAAABzgAAAAoAAAAexE1DI/DKQgHPAAAACgAAALElMkPFJylCB1gAAAAAAQAAAAIAAAAEF0FwbG9yaXMuQmFzZS5BbmNob3JNb2RlAwAAAAHQAAAAbAAAAAAAAAAB0QAAAGwAAAAFAAAAB1kAAAAAAQAAAAEAAAAEFVN5c3RlbS5EcmF3aW5nLlBvaW50RgQAAAAB0gAAAAoAAACv3C9DrpEVQgdaAAAAAAEAAAABAAAABBdBcGxvcmlzLkJhc2UuQW5jaG9yTW9kZQMAAAAB0wAAAGwAAAAIAAAAAVsAAAAUAAAACYsAAAAAAAAAAAAAAAFcAAAAFQAAAAnUAAAAAwAAAAMAAAABXgAAAEAAAAAKWAIAAAHVAAAAZwAAAAAAAAAB1gAAAGgAAAAAAAAAAdcAAAALAAAA//9/////f/8AAAAAAAAAAAHYAAAAagAAAAAAAAAAAKBAAAHZAAAACgAAAGrOtUOSIeBCAdoAAABsAAAABAAAAAAAAAAAAAAAAAnbAAAAAAAAAAncAAAAAAAAAd0AAABvAAAAAAAAAAHeAAAAcAAAAAAAmEIAAIhBAd8AAAALAAAAdmK0QxM70UJCdHdCEztRQV662T8JXQAAAAoJ4AAAAAl+AAAANAMAAP////8BAQoJ4QAAAAEACgEBXwAAAEEAAAAB4gAAAAoAAABreZRDOAgKQwHjAAAAbAAAAAAAAAAAAAAAAAAAAAAJ5AAAAAAAAAAJ5QAAAAAAAAHmAAAAbwAAAAAAAAAB5wAAAHAAAAAAAPhBAACIQQHoAAAACwAAAGInjUPsxAJDN/zZQRM7UUFeutk/BukAAAADMTIlCgnqAAAACX4AAAA0AwAA/////wEBCgnrAAAAAQAKAQFgAAAAQgAAAAHsAAAACgAAABI7akModiJDip0GQ+q3nkMAAAAACe0AAAAJ7gAAAAHvAAAACwAAAAAAAAAAAAAAAAAAAAAAAADgAQAA/////wEBCgnwAAAAAQAKAQdhAAAAAAEAAAACAAAABBVTeXN0ZW0uRHJhd2luZy5Qb2ludEYEAAAAAfEAAAAKAAAAa3mUQzgICkMB8gAAAAoAAABwR7BDLb7oQgdiAAAAAAEAAAACAAAABBdBcGxvcmlzLkJhc2UuQW5jaG9yTW9kZQMAAAAB8wAAAGwAAAAAAAAAAfQAAABsAAAAAgAAAAdjAAAAAAEAAAABAAAABBVTeXN0ZW0uRHJhd2luZy5Qb2ludEYEAAAAAfUAAAAKAAAAas61Q5Ih4EIHZAAAAAABAAAAAQAAAAQXQXBsb3Jpcy5CYXNlLkFuY2hvck1vZGUDAAAAAfYAAABsAAAABAAAAAFlAAAAFAAAAAmLAAAAAAAAAAAAAAABZgAAABUAAAAJ9wAAAAMAAAAJAAAAAW0AAAASAAAACgoAAAAAAEBBCSIAAAAJIwAAAAn4AAAAAAAJ+QAAAAFuAAAAJAAAAAoKAAAAAP///wAOAAAAAAEEcwAAAJYBU3lzdGVtLkNvbGxlY3Rpb25zLkdlbmVyaWMuTGlzdGAxW1tBcGxvcmlzLkJhc2UuT2JqZWN0cy5WYXJpYWJsZSwgQXBsb3Jpcy5CYXNlLCBWZXJzaW9uPTQuMi4wLjE5MDgsIEN1bHR1cmU9bmV1dHJhbCwgUHVibGljS2V5VG9rZW49MTZmYzEzYTIyNmMwZTk1MV1dAwAAAAZfaXRlbXMFX3NpemUIX3ZlcnNpb24EAAAfQXBsb3Jpcy5CYXNlLk9iamVjdHMuVmFyaWFibGVbXQMAAAAICAn6AAAAAAAAAAIAAAAFdAAAAB9BcGxvcmlzLkJhc2UuT2JqZWN0cy5QZXJzSWREYXRhAgAAAANtSWQLbUN1c3RvbURhdGEHAggDAAAACfsAAAAKAXcAAAASAAAACgoAAAAAAEBBCSIAAAAJIwAAAAn8AAAAAAAJ/QAAAAF4AAAAJAAAAAoKAAAAAD9pfgAFAAAAAAEBfQAAAHMAAAAJ/gAAAAEAAAADAAAAAX8AAAB0AAAACf8AAAAKBYE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QAAQD8JAAEAAAkBAQAAAQAAAP7///8AAAAAAQAAAAAAAAAAAAAAAQAAAAAAAAAAAAAFgg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kCAQAACQMBAAABAAAAAAAAAAAAAAD/////AQABhAAAAHQAAAAJBAEAAAoHiwAAAAABAAAAAAAAAAQfQXBsb3Jpcy5CYXNlLk9iamVjdHMuRGF0YU9iamVjdAMAAAAHjAAAAAABAAAABAAAAAQcQXBsb3Jpcy5CYXNlLlVJLlZpc3VhbE9iamVjdAMAAAAJQgAAAAlBAAAACUAAAAAKAZMAAAASAAAACgoAAAAAAEBBCSIAAAAJIwAAAAkFAQAAAAAJBgEAAAGUAAAAJAAAAAoKAQAAAAAAAAD/////AAEBmQAAAHMAAAAJBwEAAAAAAAAEAAAAAZoAAAB0AAAACQgBAAAKAZ0AAAASAAAACgoAAAAAAEBBCSIAAAAJIwAAAAkJAQAAAAAJCgEAAAGeAAAAJAAAAAoKAAAAAHKEjAAGAAAAAAEBowAAAHMAAAAJCwEAAAEAAAAFAAAAAaQAAAB0AAAACQwBAAAKAaYAAACBAAAACgoBAABAPwkNAQAACQ4BAAABAAAA/v///wAAAAABAAAAAAAAAAAAAAABAAAAAAAAAAAAAAGnAAAAggAAAAoKCQ8BAAAJEAEAAAEAAAAAAAAAAAAAAP////8BAAGpAAAAdAAAAAkRAQAACgewAAAAAAEAAAAEAAAABBxBcGxvcmlzLkJhc2UuVUkuVmlzdWFsT2JqZWN0AwAAAAlMAAAACUsAAAAJSgAAAAoBtwAAABIAAAAKCgAAAAAAQEEJIgAAAAkjAAAACRIBAAAAAAkTAQAAAbgAAAAkAAAACgoBAAAAAAAAAP////8AAQG9AAAAcwAAAAkUAQAAAAAAAAQAAAABvgAAAHQAAAAJFQEAAAoBwQAAABIAAAAKCgAAAAAAQEEJIgAAAAkjAAAACRYBAAAAAAkXAQAAAcIAAAAkAAAACgoAAAAA7SElAAcAAAAAAQHHAAAAcwAAAAkYAQAAAQAAAAUAAAAByAAAAHQAAAAJGQEAAAoBygAAAIEAAAAKCgEAAEA/CRoBAAAJGwEAAAEAAAD+////AAAAAAEAAAAAAAAAAAAAAAEAAAAAAAAAAAAAAcsAAACCAAAACgoJHAEAAAkdAQAAAQAAAAAAAAAAAAAA/////wEAAc0AAAB0AAAACR4BAAAKB9QAAAAAAQAAAAQAAAAEHEFwbG9yaXMuQmFzZS5VSS5WaXN1YWxPYmplY3QDAAAACVYAAAAJVQAAAAlUAAAACgHbAAAAEgAAAAoKAAAAAABAQQkiAAAACSMAAAAJHwEAAAAACSABAAAB3AAAACQAAAAKCgEAAAAAAAAA/////wABAeAAAABzAAAACSEBAAABAAAAAwAAAAHhAAAAdAAAAAkiAQAACgHkAAAAEgAAAAoKAAAAAABAQQkiAAAACSMAAAAJIwEAAAAACSQBAAAB5QAAACQAAAAKCgAAAABGOzQACAAAAAABAeoAAABzAAAACSUBAAABAAAABQAAAAHrAAAAdAAAAAkmAQAACgHtAAAAgQAAAAoKAQAAQD8JJwEAAAkoAQAAAQAAAP7///8AAAAAAQAAAAAAAAAAAAAAAQAAAAAAAAAAAAAB7gAAAIIAAAAKCgkpAQAACSoBAAABAAAAAAAAAAAAAAD/////AQAB8AAAAHQAAAAJKwEAAAoH9wAAAAABAAAABAAAAAQcQXBsb3Jpcy5CYXNlLlVJLlZpc3VhbE9iamVjdAMAAAAJYAAAAAlfAAAACV4AAAAKAfgAAAAkAAAACgoAAAAAAAAAAA0AAAAAAAH5AAAAJAAAAAoKAAAAAAAAAAANAAAAAAEH+gAAAAABAAAABAAAAAQdQXBsb3Jpcy5CYXNlLk9iamVjdHMuVmFyaWFibGUDAAAABSwBAAAdQXBsb3Jpcy5CYXNlLk9iamVjdHMuVmFyaWFibGUCAAAABk51bWJlcghQb3NpdGlvbgAACAgDAAAAAAAAAAAAAAABLQEAACwBAAAAAAAAAAAAAAEuAQAALAEAAAAAAAAAAAAAAS8BAAAsAQAAAAAAAAAAAAAP+wAAAAEAAAAICQAAAAH8AAAAJAAAAAoKAAAAAP///wAOAAAAAAAB/QAAACQAAAAKCgAAAAD///8ADgAAAAABB/4AAAAAAQAAAAQAAAAEHUFwbG9yaXMuQmFzZS5PYmplY3RzLlZhcmlhYmxlAwAAAAEwAQAALAEAAAIAAAAAAAAAATEBAAAsAQAAAAAAAAAAAAABMgEAACwBAAAAAAAAAAAAAAEzAQAALAEAAAAAAAAAAAAAD/8AAAABAAAACAoAAAAFAAEAABpBcGxvcmlzLkJhc2UuT2JqZWN0cy5Db2xvcgcAAAASRGF0YU9iamVjdCttUGFyZW50FURhdGFPYmplY3QrbUNvbnRhaW5lcgVtVHlwZQRtUkdCEG1UaGVtZUNvbG9ySW5kZXgMbUF1dG9VcGRhdGVkCW1Nb2RpZmllZAQCAAAAAAAfQXBsb3Jpcy5CYXNlLk9iamVjdHMuTGluZUZvcm1hdAMAAAAICAgBAQMAAAAJgQAAAAoAAAAA////AA4AAAAAAAUBAQAAGkFwbG9yaXMuQmFzZS5PYmplY3RzLkNvbG9yBwAAABJEYXRhT2JqZWN0K21QYXJlbnQVRGF0YU9iamVjdCttQ29udGFpbmVyBW1UeXBlBG1SR0IQbVRoZW1lQ29sb3JJbmRleAxtQXV0b1VwZGF0ZWQJbU1vZGlmaWVkBAIAAAAAAB9BcGxvcmlzLkJhc2UuT2JqZWN0cy5MaW5lRm9ybWF0AwAAAAgICAEBAwAAAAmBAAAACgEAAAAAAAAA/////wABAQIBAAAkAAAACgoAAAAAP2l+AAUAAAAAAAEDAQAAJAAAAAoKAQAAAAAAAAD/////AAEPBAEAAAEAAAAIBAAAAAEFAQAAJAAAAAoKAAAAAAAAAAANAAAAAAABBgEAACQAAAAKCgAAAAAAAAAADQAAAAABBwcBAAAAAQAAAAQAAAAEHUFwbG9yaXMuQmFzZS5PYmplY3RzLlZhcmlhYmxlAwAAAAE0AQAALAEAAAAAAAAAAAAAATUBAAAsAQAAAAAAAAAAAAABNgEAACwBAAAAAAAAAAAAAAE3AQAALAEAAAAAAAAAAAAADwgBAAABAAAACAsAAAABCQEAACQAAAAKCgAAAAD///8ADgAAAAAAAQoBAAAkAAAACgoAAAAA////AA4AAAAAAQcLAQAAAAEAAAAEAAAABB1BcGxvcmlzLkJhc2UuT2JqZWN0cy5WYXJpYWJsZQMAAAABOAEAACwBAAACAAAAAAAAAAE5AQAALAEAAAAAAAAAAAAAAToBAAAsAQAAAAAAAAAAAAABOwEAACwBAAAAAAAAAAAAAA8MAQAAAQAAAAgMAAAABQ0BAAAaQXBsb3Jpcy5CYXNlLk9iamVjdHMuQ29sb3IHAAAAEkRhdGFPYmplY3QrbVBhcmVudBVEYXRhT2JqZWN0K21Db250YWluZXIFbVR5cGUEbVJHQhBtVGhlbWVDb2xvckluZGV4DG1BdXRvVXBkYXRlZAltTW9kaWZpZWQEAgAAAAAAH0FwbG9yaXMuQmFzZS5PYmplY3RzLkxpbmVGb3JtYXQDAAAACAgIAQEDAAAACaYAAAAKAAAAAP///wAOAAAAAAAFDgEAABpBcGxvcmlzLkJhc2UuT2JqZWN0cy5Db2xvcgcAAAASRGF0YU9iamVjdCttUGFyZW50FURhdGFPYmplY3QrbUNvbnRhaW5lcgVtVHlwZQRtUkdCEG1UaGVtZUNvbG9ySW5kZXgMbUF1dG9VcGRhdGVkCW1Nb2RpZmllZAQCAAAAAAAfQXBsb3Jpcy5CYXNlLk9iamVjdHMuTGluZUZvcm1hdAMAAAAICAgBAQMAAAAJpgAAAAoBAAAAAAAAAP////8AAQEPAQAAJAAAAAoKAAAAAHKEjAAGAAAAAAABEAEAACQAAAAKCgEAAAAAAAAA/////wABDxEBAAABAAAACAEAAAABEgEAACQAAAAKCgAAAAAAAAAADQAAAAAAARMBAAAkAAAACgoAAAAAAAAAAA0AAAAAAQcUAQAAAAEAAAAEAAAABB1BcGxvcmlzLkJhc2UuT2JqZWN0cy5WYXJpYWJsZQMAAAABPAEAACwBAAAAAAAAAAAAAAE9AQAALAEAAAAAAAAAAAAAAT4BAAAsAQAAAAAAAAAAAAABPwEAACwBAAAAAAAAAAAAAA8VAQAAAQAAAAgFAAAAARYBAAAkAAAACgoAAAAA////AA4AAAAAAAEXAQAAJAAAAAoKAAAAAP///wAOAAAAAAEHGAEAAAABAAAABAAAAAQdQXBsb3Jpcy5CYXNlLk9iamVjdHMuVmFyaWFibGUDAAAAAUABAAAsAQAAAgAAAAAAAAABQQEAACwBAAAAAAAAAAAAAAFCAQAALAEAAAAAAAAAAAAAAUMBAAAsAQAAAAAAAAAAAAAPGQEAAAEAAAAICAAAAAUaAQAAGkFwbG9yaXMuQmFzZS5PYmplY3RzLkNvbG9yBwAAABJEYXRhT2JqZWN0K21QYXJlbnQVRGF0YU9iamVjdCttQ29udGFpbmVyBW1UeXBlBG1SR0IQbVRoZW1lQ29sb3JJbmRleAxtQXV0b1VwZGF0ZWQJbU1vZGlmaWVkBAIAAAAAAB9BcGxvcmlzLkJhc2UuT2JqZWN0cy5MaW5lRm9ybWF0AwAAAAgICAEBAwAAAAnKAAAACgAAAAD///8ADgAAAAAABRsBAAAaQXBsb3Jpcy5CYXNlLk9iamVjdHMuQ29sb3IHAAAAEkRhdGFPYmplY3QrbVBhcmVudBVEYXRhT2JqZWN0K21Db250YWluZXIFbVR5cGUEbVJHQhBtVGhlbWVDb2xvckluZGV4DG1BdXRvVXBkYXRlZAltTW9kaWZpZWQEAgAAAAAAH0FwbG9yaXMuQmFzZS5PYmplY3RzLkxpbmVGb3JtYXQDAAAACAgIAQEDAAAACcoAAAAKAQAAAAAAAAD/////AAEBHAEAACQAAAAKCgAAAADtISUABwAAAAAAAR0BAAAkAAAACgoBAAAAAAAAAP////8AAQ8eAQAAAQAAAAgDAAAAAR8BAAAkAAAACgoAAAAAAAAAAA0AAAAAAAEgAQAAJAAAAAoKAAAAAAAAAAANAAAAAAEHIQEAAAABAAAABAAAAAQdQXBsb3Jpcy5CYXNlLk9iamVjdHMuVmFyaWFibGUDAAAAAUQBAAAsAQAAAwAAAAAAAAABRQEAACwBAAAAAAAAAAAAAAFGAQAALAEAAAAAAAAAAAAAAUcBAAAsAQAAAAAAAAAAAAAPIgEAAAEAAAAIBwAAAAEjAQAAJAAAAAoKAAAAAP///wAOAAAAAAABJAEAACQAAAAKCgAAAAD///8ADgAAAAABByUBAAAAAQAAAAQAAAAEHUFwbG9yaXMuQmFzZS5PYmplY3RzLlZhcmlhYmxlAwAAAAFIAQAALAEAAAIAAAAAAAAAAUkBAAAsAQAAAAAAAAAAAAABSgEAACwBAAAAAAAAAAAAAAFLAQAALAEAAAAAAAAAAAAADyYBAAABAAAACAYAAAAFJwEAABpBcGxvcmlzLkJhc2UuT2JqZWN0cy5Db2xvcgcAAAASRGF0YU9iamVjdCttUGFyZW50FURhdGFPYmplY3QrbUNvbnRhaW5lcgVtVHlwZQRtUkdCEG1UaGVtZUNvbG9ySW5kZXgMbUF1dG9VcGRhdGVkCW1Nb2RpZmllZAQCAAAAAAAfQXBsb3Jpcy5CYXNlLk9iamVjdHMuTGluZUZvcm1hdAMAAAAICAgBAQMAAAAJ7QAAAAoAAAAA////AA4AAAAAAAUoAQAAGkFwbG9yaXMuQmFzZS5PYmplY3RzLkNvbG9yBwAAABJEYXRhT2JqZWN0K21QYXJlbnQVRGF0YU9iamVjdCttQ29udGFpbmVyBW1UeXBlBG1SR0IQbVRoZW1lQ29sb3JJbmRleAxtQXV0b1VwZGF0ZWQJbU1vZGlmaWVkBAIAAAAAAB9BcGxvcmlzLkJhc2UuT2JqZWN0cy5MaW5lRm9ybWF0AwAAAAgICAEBAwAAAAntAAAACgEAAAAAAAAA/////wABASkBAAAkAAAACgoAAAAARjs0AAgAAAAAAAEqAQAAJAAAAAoKAQAAAAAAAAD/////AAEPKwEAAAEAAAAIAgAAAAs=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2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3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4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5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6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7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8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9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1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1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QloloQ5skbhGG+mF.1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6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PIsQEI0sI1B0h4XROTwjEMABB0AAAALU3lzdGVtLkd1aWQLAAAAAl9hAl9iAl9jAl9kAl9lAl9mAl9nAl9oAl9pAl9qAl9rAAAAAAAAAAAAAAAIBwcCAgICAgICAgAAAAAAAAAAAAAAAAAAAAAACgoJHgAAAAAKCgoBAAAAAAAAAP////8BAQEfAAAAFAAAAP//H0H//x9BHIEkRE7spkNcrJtBB+cbQxzBKURObLFDBSAAAAAVU3lzdGVtLkRyYXdpbmcuUG9pbnRGAgAAAAF4AXkAAAsLBAAAAKsi/kO0aXtDBiEAAAAQTzhSSmkvMXVaWVhwRzlNZ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DyLEBC58uVQwEuAAAAIAAAAKEhI0Tny5VDCS8AAAAJMAAAAAkxAAAACTIAAAAAAAAAAAAAAAAAAAAJMwAAAAAAAAAAAAk0AAAACQEAAAAJAQAAAAk1AAAAAQcAAAAGAAAACQEAAAABNgAAACYAAAAAAAAAzcxMPwAAAAgBAAkBAAAACTcAAAAJOAAAAAEAAAAAAAAAAAEAAAAAAADwPwCamZmZmZnJPwAAACBBAAEJOQAAAAoJOgAAAAk7AAAACTwAAAABPQAAACAAAADyLEBC58uVQwE+AAAAIAAAAPIsQEI0sI1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AAAAAgBAAAAAgAAAAMAAAAEAAAABRs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IAAAAPIsQEI0sI1BAWkAAAAgAAAAoSEjROfLlUMJagAAAAlrAAAAAAAAAAoFbAAAABRTeXN0ZW0uRHJhd2luZy5TaXplRgIAAAAFd2lkdGgGaGVpZ2h0AAALCwQAAAAAAAAAAAAAAAFtAAAAbAAAAAAAAAAAAAAAAAAAAAFuAAAAFAAAAAAAAAAAAAAAAAAAAAAAAAAUAAAA/////wEBCglvAAAAAQAKAQ8eAAAAQCcAAAJQSwMEFAAGAAgAAAAhAJJXjTVyAQAAc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0/DMAy+I/EfqlxRm40DQmjdDgyOMInxA0LirtGah+Ls9e9xsw0hNFrQdmnUJN/DduzRZGuabA0BtbMlGxYDloGVTmm7KNn7/Dm/ZxlGYZVonIWS7QDZZHx9NZrvPGBGaIslq2P0D5yjrMEILJwHSyeVC0ZE+g0L7oVcigXw28HgjktnI9iYx5aDjUdTqMSqidnTlrb3TgjOssf9vVaqZML7RksRyShvT/lJ3LoTt7bqh7ncVZWWoJxcGbJUEH4axIbC/0UgQIMdzk4oHEIvCJncY6093hxCeKXcB60gm4kQX4ShQPm24RsXlh/OLYvuPPTHgz6AUFgDRNMUaS2M0PYP+uky8rQML2ykjS8R9/iI9KCAp+/5FhJNjyDGXQN46bQn0j7lWgRQbzHQ27u4ge/cPT6kM20n4KVLfuTtkqc2nAXnkSZEgP8X4dhpLTr3RAQhaujstS9FGi9nVx3a+aVAndDmaV6OPwEAAP//AwBQSwMEFAAGAAgAAAAhAFB8TsHz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KAzEQh++C7xDm3p1tBRFpthcRehOpDzAms3/YTSYkUbdvbxAUF2r14DEzk2++/Mh2N7tJvXJMg3gN66oGxd6IHXyn4elwv7oBlTJ5S5N41nDkBLvm8mL7yBPlcin1Q0iqUHzS0OccbhGT6dlRqiSwL51WoqNcjrHDQGakjnFT19cYvzOgWTDV3mqIe7sGdTiGsvl3trTtYPhOzItjn0+swOVEIVPsOGuYJ3yTOD6LjFURBjztsvm7y8/vRMeZLGVCI5FXIZaUYh5Krl86VsxDKaePiXNCV/8ZDs+ZvWV7XolC+DTCxR9o3gEAAP//AwBQSwMEFAAGAAgAAAAhAIyWxW7zAAAAugI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2rDMAzG74O9g9F9cdKNMUadXsag1y17AGMrcWhiG0v7k7efyaBNoXSXXAyfhL/vJ6Ht7mccxBcm6oNXUBUlCPQm2N53Cj6a17snEMTaWz0EjwomJNjVtzfbNxw050/k+kgiu3hS4Jjjs5RkHI6aihDR504b0qg5y9TJqM1Bdyg3Zfko09ID6jNPsbcK0t7eg2immJP/9w5t2xt8CeZzRM8XIiTxNOQBRKNTh6zgTxeZEeTl+IdV451OaN855e0uKZblazDVmjDfIR3IIfJpHccSyblTXYPZrAnD+WDwBDJLOb9HBnl2cfUvAAAA//8DAFBLAwQUAAYACAAAACEArLoCwqMCAABIBQAADwAAAHhsL3dvcmtib29rLnhtbKRUXW+bMBR9n7T/gHgnBvOREAWqNB9apGmqpq59nBxjglV/UGMaumn/fRcYbbe+dBsP2Nc2x+eecy+ri04K54GZhmuVucHMdx2mqC64OmXul+u9t3CdxhJVEKEVy9xH1rgX+ft3q7M2d0et7xwAUE3mVtbWS4QaWjFJmpmumYKdUhtJLITmhJraMFI0FWNWCoR9P0GScOWOCEvzFgxdlpyyraatZMqOIIYJYoF+U/G6mdAkfQucJOaurT2qZQ0QRy64fRxAXUfS5eGktCFHAWl3QTwhw/QVtOTU6EaXdgZQaCT5Kt/AR0EwppyvSi7YzSi7Q+r6E5H9LcJ1BGnsruCWFZmbQKjP7HkBSJi2vmy5gF28iH3sOih/8uLK9BEwXwvLjCKWbbSyINQvif9XlAF7U2mwwPnM7ltuGDjfa5Ov4E3okhybK2IrpzUic9EDMajUooA80f0Z4SrF1Tda4DAITVA82EjV6qu/8OE5KXSNrKxxWjC/JMkM5uiF5OS1n38hOqGDTgikGennq37+p0z5qq/oG87OzbOofeh0t1wV+gyWzCNokccpTH2IzsPeLS9sBS2Uxv2Jce0D46fKwmKUYFgEc9CLG4ZWgJuG0VFDCaxroQ1vtsQSaLy+Vw5gdQC+LzlMzKGAeY8zfUyJoOB7PwwnozjBcIRqRVtjwPsN7GTueDvr7MfG5isYwSKeud/n6T6O0nniBdt17EVJsPAug2juRZvtLrpM43AdLn48+xD9W+n7KUqnyu+CaDn9PIB4wUrSCnuQ5MS2NVAK8TyZjzkCzd+4xjjcxdvQw/E+9NbxzveCJMReEu1xHG0wjmL8xFV2b6MqCUWso2z4Iy0mkrJbrg2tDltnL8gJinxsNDgJjPr3ICOa8sh/AgAA//8DAFBLAwQUAAYACAAAACEA45F1QucAAACdAQAAFAAAAHhsL3NoYXJlZFN0cmluZ3MueG1sjJDBSgQxDIbvgu8Qenc7elhEOl2WXfS2COoDhGmcKbTN2GTUfXsrIoIo7PH/kvz5E7d5zwleqUrk0pvLVWeAysAhlrE3T4+3F9cGRLEETFyoN0cSs/HnZ05Eoc0W6c2kOt9YK8NEGWXFM5VWeeaaUZuso5W5EgaZiDQne9V1a5sxFgMDL0V7szawlPiy0O5beyfRO/XbsRI5q97ZT/AF91HwL36gRSum3+13SwwU4B51esOjwDbwrO1eaBHhgTPBnmasmqmo2B2nRCPJyS44VJbmmtJJPgeG/wL9rLTtvf4DAAD//wMAUEsDBBQABgAIAAAAIQDnZXW41gAAALgBAAAjAAAAeGwvd29ya3NoZWV0cy9fcmVscy9zaGVldDEueG1sLnJlbHOskMlqAzEMQO+F/oPRPdZMDqGUeHIJhVxD+gHC1ix0vGC5afL3dSiFDAR66VHb05O2u4uf1ZmzTDEYaHUDioONbgqDgffT2+oFlBQKjuYY2MCVBXbd89P2yDOVOiTjlERVShADYynpFVHsyJ5Ex8ShVvqYPZUa5gET2Q8aGNdNs8F8z4BuwVQHZyAfXAvqdE1189/s2PeT5X20n55DebACz37eZ/qqx1Uq5YGLAa3R/eTkrt7q2gv42Gn9n042+puuLIx+k62u/7tp4OLf3TcAAAD//wMAUEsDBBQABgAIAAAAIQDcBge+egYAANkbAAATAAAAeGwvdGhlbWUvdGhlbWUxLnhtbOxZy24bNxTdF+g/ELNPrKdjGZEDS5bsNnZi2EraLKkRNcOIMxyQlB3t+gUFCqRFNwW666KbAO03pWjTj+glOZJIi/IjdtBXbMCWOIf3Xt7H4SXn4aNXGUNnREjK83ZUvV+JEMljPqJ50o6eDfr3tiIkFc5HmPGctKMZkdGjnU8/eYi3VUoygmB+LrdxO0qVKrY3NmQMw1je5wXJ4dmYiwwr+CqSjZHA5yA3Yxu1SmVzI8M0j1COMxD7dDymMUEDLTLamQvvMfiaK6kHYiZOtWjizTDY0aSqEXImu0ygM8zaEegZ8fMBeaUixLBU8KAdVcxPtLHzcANvl5OYWjPXmdc3P+W8csJoUjM6RTJcKK32G60Hewv5BsDUKq7X63V71YU8A8BxDCu1trgyG/2tamcu0wHZj6uyu5VmpeHjHfn1FZtbnU6n2SptsUINyH5srOC3KpuN3ZqHNyCLb67gG53dbnfTwxuQxW+u4PsPWpsNH29AKaP5ZAWtA9rvl9IXkDFnB0H4FsC3KiV8iYJsWGSXVjHmuVqXaxl+yUUfABrIsKI5UrOCjHEMWdzF2VBQHKEC51zCQKVW6Vfq8Ff/NsynhlaPtwl25tmhWK4MaUuQjAUtVDv6HKRGDuTFFO1zldIYHdIkVVaIN+MA54k7491P3/z5w1foj19+fPf62zBeuvg9kidfUpxfpgAKbOmAt9+9+e3XN2+///r3n18H5O8KPHThA5oRiZ6Qc3TCM1ic8Yy/AjIUN5sxSDH1ZuAUZAdE98B1LvDJDLMQrgNOcHHPBXBLCLg/fenZepqKqaIBzY/TzAMecc46XAQd8Fjrcjw8mOZJWLmYurgTjM9Curs490LcmxZAqpCzq77vpsQz85jhXOGE5EQh/YxPCAlMe0Gp59cjGgsu+VihFxR1MA26ZECHXiItJx3QDOIyCxkIofZ8c/QcdTgLrXqPnPlIKAzMAsYPCPPcuI+nCmchkQOcMdfhh1ilISNPZyJ2cT2pINIJYRz1RkTK0JynAtbrBP0xBjoLhv2IzTIfKRSdhGQeYs692uaTboqzImgzzVMX+5mcQIpidMxVCH7E/QrR3yEOwBvrwv2cEi/cVxPBM6A416RlgugnUxGI5T7hfj3O2BgTwzLA+B6RZzS/jNUZBVq/wOrND83qH5DPw6Jvw+S7sO2F6ungAn+vw/0LWXsPT/NjAoWyypwfSfsjaUf/edJeV8t3T9VLdgbiXnbnplfP1rbqY8rYqZoxcihNty5hTxr1YdAcI8xZcnF0K1L4WB4MPFwisJmDBFdfUJWepriAxr5qDp6JLEUnEhVcQr9vhs0RmFyQbQ61FNp5cz5t6pOLZQ6J1REf2eG6e0JdiDHn1cScgueK6lrAdZXVH9xOWdVatdZt/tKqxjRDit7SFkuGGK4uDQYX3oRmB0GLBF7ehIsCbTucgTAjI+13e3qfh0WrvtMQyRSPSBkjve7VGFVNkOa5Mk+jQIz0afOKGDnaWlrsLbRdJ0iuusYadfPo3SZK8yP2Mkq6bi+UI8vd4mQ5Om9HrWatGaEYF+1oDIdr+JgVEHWp+0vMErihipWwaX9lMZt0XUazFU7LKtyXWL+vLNjjgUJItYdlalPDPCpTgOXmKsDYX2uCW+9qATbT38OK+hYkw99mBfjRDy0Zj0ms3GA7I+YuxABKKuVTRcRpOjpHQzYVJxjCr1MV1jOiEm5BDCPoL3Chp71tHvnkXBade41mcHYcsyLFJd3qEp1XsoWbOl7YYL5Za415sLag7WZxN1+KKfk7Woqbxv+zpej9BG4l6iMdgRjukwVGul7bERcq5cBCBdyS9QVcphnugGyBS2F4DEkFt9rmvyBn+r+tOSvDlLW+WTuhCRIU9iOVCkKOgZZM9l0hrFruXVYkKwWZjHLMlYU1e0jOCBtoDtzUe3uEUkh1wyYlDRjcxfzzv5cVNEx0k/NP7XxsMd+0PdDdgW2x7Pxr9iINh/SdraAV3PtMT7Wgg0s29htutZaxVlZca157qy3gbgnulBXkRExFzOwrEr2hDvgJcCuCNx62vUKQ1fds44E0QVp6HELjZAdtMmlRtmEpu9s7b6PgXrzsdBd6oUrfp9O9obMXzZmvzqvFy7vPmzm79LDna7fTDbgaivZiier2aH6QMYEx79bc1198+BICvQcvGqZMSfsK4RXcJMIpw76qgOK3wTVTd/4CAAD//wMAUEsDBBQABgAIAAAAIQA0fHNhvgIAAF0HAAANAAAAeGwvc3R5bGVzLnhtbMRVyW7bMBC9F+g/CLw7sh07sQxJAbwICJAWBewCvVISJRPhIpBUarXov3dISbbSNMjSQ33xcDh873FmOApvjpx5D0RpKkWEJhdj5BGRyZyKMkJf98logTxtsMgxk4JEqCEa3cQfP4TaNIzsDoQYDyCEjtDBmGrp+zo7EI71hayIgJ1CKo4NLFXp60oRnGt7iDN/Oh5f+RxTgVqEJc9eA8Kxuq+rUSZ5hQ1NKaOmcVjI49nythRS4ZSB1ONkhrMe2y2ewHOaKallYS4AzpdFQTPyVGXgBz4gxWEhhdFeJmthIjQFaMuwvBfyu0jsFiSwi4pD/cN7wAw8E+T5cZhJJpVnIDWgrHUJzEkbs8aMpoq6wAJzyprWDxRw1CW0i+QUrue8vhXTSorD1MV1jMGAkIqcHEkeocWfnHt8kBw/Q9mBuz8NJJSx071n9orgiEPIvyFKJLDwOnvfVHA/Aa3SiXSBL4SXCjeT6fwNJ7RkNLc6yrXLqyrTCCXwW287nLTbOSXgatbiD0THod8qe0Hfs2zb6yBxqG9ic6SQ1VSqHB5e30+2dVpXHDJSGFtSRcuDM4ys7DqVxkhurZziUgrMrO33xzoDsDPC2M6+0G/FI4Jj4YmaJ9zcQk/AW7dN1JtQqs5s8bqFJRjCteAD3DkIfwfusTgT/MfjuKpYY1u4f5av0ALv8lGKTld5D9jlq8FcGSDxg/I+Ku6pSp4dLRH6bEcvgzHVZzqtKTNU/K2wAJofz70CrQF1N3aQujY68cBGTgpcM7M/bUbobH8iOa05JKiL+kIfpHEQETrbd7avJ1eOhBzNnYZJBv9erWiEfm5X18Fmm0xHi/FqMZpdkvkomK82o/lsvdpskmA8Ha9/DQb7P4x19/mB9p3MlprB8FfdbTv1u7MvQoNFq78dKKAbXkh/C//8XYx/AwAA//8DAFBLAwQUAAYACAAAACEAzR6wwsMCAABNBwAAGAAAAHhsL3dvcmtzaGVldHMvc2hlZXQxLnhtbIxV2W6jMBR9H2n+wfJ72bJHIVUbppo+jFTN+uwYA1YBM7az/f1c2w0B0qmSB2LM4dxz7mJW98eqRHsmFRd1jEMvwIjVVKS8zmP86+fT3RwjpUmdklLULMYnpvD9+vOn1UHIV1UwphEw1CrGhdbN0vcVLVhFlCcaVsOTTMiKaLiVua8ayUhqX6pKPwqCqV8RXmPHsJS3cIgs45Qlgu4qVmtHIllJNOhXBW/Ume2Y3sSXSnIAr2c9HYmJe9LyheMrfRWnUiiRaY+KynfSrl0u/EXPZ0VvMVoR+bpr7oC4AXNbXnJ9snYxqujyOa+FJNsSKnIMx4R2VJJr+tt1AtN6lXLIrWkIJFkW44dwmYwx8tcrW7rfnB1UZ4002f5gJaOapdBBGJnO2ArxaoDPsBUApbIAQ0mo5nu2YWUZ4y8zaK6/NohZQgS/DdFdn8M92WZ6kWhLFNuI8g9PdQExoWlTlpFdqS+bc28+ioJRGE3ah9/F4SvjeaHhFdi1iVump4QpCr0EQr3IiqCihIhwRRU3QwEZJ0dnzQXscit9MlVwCfLdq9ZEQjRZr6Q4IGhE4FANMWMSLgEK/yOM6E5pUTlTFvKuIlBiGB4MRYzfFJqdR7cDRKBdQZL36/HK30Pi6Ns7m2vEqI9IrhGTFuGD+NYBBO46+FCqwdqUtMLCfthHhwit6MALZ2HQ/Q3QmyF6uuj9Bpb66Gg27XFH79uDLN5sz2D79i6ktlaPDnG2Nw76gmeDKg3Q08l/BFvuZIAe99GX1PWqZ3qu038fVs/1J1zb6gWD6jlEay8KPqrHpo8eTWY99HxQvT46mi16ybi0r7Pnzgs3ag3J2Tcic14rVLLMDjScKtJNfODBWovGjPkMpn8rNAzf+a6ADxODmQo8SG8mhG5v4FAqWU7o6e17gOSSw6Emn1MYHXNitR/C9T8AAAD//wMAUEsDBBQABgAIAAAAIQCMULy2mgIAAD0HAAAbAAAAeGwvZHJhd2luZ3Mvdm1sRHJhd2luZzEudm1s7FXLbtswELwX6D8QysEXG3o0SVtGMhCkyK0t0PRxDGiJtpiQXEFcy3K+PktKduwiLQLk0EsFSyJ3l8uZ4QjOe6MZ3dbxrojWreWurKURbmZU2YKDJc5KMLwzOnr7ZqyEv1XCcqlKyYfX05r+BWtkX8qDbQwhqhEbHsdGlD+NvgnQfrQqmhOWHLirRSO12MIaWcdlj0UkK4Uh7fOqMqI5yrBKoCiiNIpDi/ioxzzvhpa4bSRTVRHd9gldt5glWcRKgLZy6kEWUZaeJ8k0PCNGPRra2dcQLNYIrIvIJNNEjyVD4dEz6eWIkrbEFu4luwNlHW41tTcKZTtAZITJd2SrVlRKWgyc4b6I0O9cgrWyRA+4iFoa7YgdMNnTOqTk0iQ7i9iw8OSI5wBi0oBTqMBysXCg1ygvPDsj2pWyMy2XyM8/NHgxBhAaniY036gKa55mpzSupVrVyDMff5gpW8mep6FNp5xaKK1wy2tVVdJeGAezTSuaWdieo185YUuldQka2iI6WdIlU8+ahJJooCLOYo2wV9JX0zFRefZUH07ay0jKVbBhYAftFq5ct5IOedRsr/Rvqlqw8ukskFy2gJ6NInnUlfLCk1IzoZF7QBNvLsbySnW7Qr+O8mpludduMs9jyoa6PO742HaY9/xK+6P+RF5lXxd31P17OOAvgKNtWN7zz9DJXwrrK6m1G1j68A059JnwpS1raAdgLJ2y9GzKEnrR/Y5+dPvgxzzu+WEpNbwkRtek7PxaaCdDwS4y0Oz5N9jMU5/xg13wilxj7Dzx8XHsU2G65zd8hqNb/+jU81c6Nc3SY6tmB071Lt451cd3Ts3+O/XfOzXbO5VGp2TU98Gor/Bp8OMzPg3+falPY/rPnD8CAAD//wMAUEsDBBQABgAIAAAAIQCN7b9L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U9Lw0AQxe+C3yHsPdkkpVqWJAWVniwKtijeltlJu5j9w+5q2m/vNq2xUo/De/PjvZlqvlNd8oXOS6NrUmQ5SVCDEVJvarJeLdIZSXzgWvDOaKzJHj2ZN9dXFVgGxuGzMxZdkOiTSNKega3JNgTLKPWwRcV9Fh06iq1xioc4ug21HD74BmmZ5zdUYeCCB04PwNSORHJCChiR9tN1A0AAxQ4V6uBpkRX01xvQKf/vwqCcOZUMexs7neKeswUcxdG983I09n2f9ZMhRsxf0Lfl48tQNZX6cCtA0lQCGDjkwbimoudDPFzHfVjGG7cSxd2+WUpwxps2JE9tKwGTtUdX0UtjhA4dmDotJzEWO5b4kV4n9w+rBWnKvLhN81lalqtiyqZTNinfD0H+AmK2i0c23wAAAP//AwBQSwMEFAAGAAgAAAAhAN9SO6ISAQAALQIAABAAAAB4bC9jb21tZW50czEueG1sxFDLTsMwELwj8Q/W3qnTHlBBsatyKELigET5ABNvGkt+RF63Svl6tknDgRM3JMvyjGdnRltvhuDFCTO5FBUsFxUIjE2yLh4UfOx3d2sQVEy0xqeICs5IsNG3N3WTQsBYSLBBJAVdKf2jlNR0GAwtUo+Rf9qUgykM80FSn9FY6hBL8HJVVfcyGBdB1+ZYupRpfgipa/nDXYNeHRU9p4qMrYKnJYhJ9mIVVGxUcGBR5vPG1+fFiL7EyXgFD3BBTfIpCxctDsgza3ZgNu9SLJNsb7oUzMi2Jjh/nujVyMjRtujnnI69sEhNdn3hzVEtOVdyppwqyGvrX4237PMvjd8xO6Q/Vp7LTyufEelv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Ky6AsKjAgAASAUAAA8AAAAAAAAAAAAAAAAAAgkAAHhsL3dvcmtib29rLnhtbFBLAQItABQABgAIAAAAIQDjkXVC5wAAAJ0BAAAUAAAAAAAAAAAAAAAAANILAAB4bC9zaGFyZWRTdHJpbmdzLnhtbFBLAQItABQABgAIAAAAIQDnZXW41gAAALgBAAAjAAAAAAAAAAAAAAAAAOsMAAB4bC93b3Jrc2hlZXRzL19yZWxzL3NoZWV0MS54bWwucmVsc1BLAQItABQABgAIAAAAIQDcBge+egYAANkbAAATAAAAAAAAAAAAAAAAAAIOAAB4bC90aGVtZS90aGVtZTEueG1sUEsBAi0AFAAGAAgAAAAhADR8c2G+AgAAXQcAAA0AAAAAAAAAAAAAAAAArRQAAHhsL3N0eWxlcy54bWxQSwECLQAUAAYACAAAACEAzR6wwsMCAABNBwAAGAAAAAAAAAAAAAAAAACWFwAAeGwvd29ya3NoZWV0cy9zaGVldDEueG1sUEsBAi0AFAAGAAgAAAAhAIxQvLaaAgAAPQcAABsAAAAAAAAAAAAAAAAAjxoAAHhsL2RyYXdpbmdzL3ZtbERyYXdpbmcxLnZtbFBLAQItABQABgAIAAAAIQCN7b9LOAEAABUCAAARAAAAAAAAAAAAAAAAAGIdAABkb2NQcm9wcy9jb3JlLnhtbFBLAQItABQABgAIAAAAIQDfUjuiEgEAAC0CAAAQAAAAAAAAAAAAAAAAANEfAAB4bC9jb21tZW50czEueG1sUEsBAi0AFAAGAAgAAAAhAF6k9QCLAQAADQMAABAAAAAAAAAAAAAAAAAAESEAAGRvY1Byb3BzL2FwcC54bWxQSwUGAAAAAA0ADQBYAwAA0i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ChBBnAAAAAFQXJpYWwGcQAAABbvvK3vvLMg77yw44K044K344OD44KvCXIAAAABAAlzAAAAByMAAAAAAQAAABEAAAAEFFN5c3RlbS5EcmF3aW5nLkNvbG9yBAAAAAV0AAAAFFN5c3RlbS5EcmF3aW5nLkNvbG9yBAAAAAV2YWx1ZQVzdGF0ZQprbm93bkNvbG9yBG5hbWUAAAABCQcHBAAAAAAAAAAAAAAAAAAAAAoBdQAAAHQAAAAAAAD//////wIAAAAKAXYAAAB0AAAA//////////8CAAAACgF3AAAAdAAAAE5BIv//////AgAAAAoBeAAAAHQAAADe3Nv//////wIAAAAKAXkAAAB0AAAAfmk///////8CAAAACgF6AAAAdAAAAIyEcv//////AgAAAAoBewAAAHQAAAAlIe3//////wIAAAAKAXwAAAB0AAAANDtG//////8CAAAACgF9AAAAdAAAAHSYw///////AgAAAAoBfgAAAHQAAAAelPf//////wIAAAAKAX8AAAB0AAAAHpT3//////8CAAAACgGAAAAAdAAAACUh7f//////AgAAAAoBgQAAAHQAAAAAAAD//////wIAAAAKAYIAAAB0AAAA//////////8CAAAACgGDAAAAdAAAAE5BIv//////AgAAAAoBhAAAAHQAAADe3Nv//////wIAAAAKBCQAAACYAVN5c3RlbS5Db2xsZWN0aW9ucy5HZW5lcmljLkxpc3RgMVtbQXBsb3Jpcy5CYXNlLk9iamVjdHMuRGF0YU9iamVjdCwgQXBsb3Jpcy5CYXNlLCBWZXJzaW9uPTQuMi4wLjE5MDgsIEN1bHR1cmU9bmV1dHJhbCwgUHVibGljS2V5VG9rZW49MTZmYzEzYTIyNmMwZTk1MV1dAwAAAAZfaXRlbXMFX3NpemUIX3ZlcnNpb24EAAAhQXBsb3Jpcy5CYXNlLk9iamVjdHMuRGF0YU9iamVjdFtdAwAAAAgICYUAAAAMAAAADAAAAAQlAAAAlQFTeXN0ZW0uQ29sbGVjdGlvbnMuR2VuZXJpYy5MaXN0YDFbW0FwbG9yaXMuQmFzZS5VSS5WaXN1YWxPYmplY3QsIEFwbG9yaXMuQmFzZSwgVmVyc2lvbj00LjIuMC4xOTA4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A4LCBDdWx0dXJlPW5ldXRyYWwsIFB1YmxpY0tleVRva2VuPTE2ZmMxM2EyMjZjMGU5NTFdXQMAAACRAVN5c3RlbS5Db2xsZWN0aW9ucy5HZW5lcmljLkxpc3RgMVtbQXBsb3Jpcy5DaGFydC5WYWx1ZUxpbm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hwAAAAmIAAAACQYAAAAJAQAAAAmJAAAABSgAAACbAUFwbG9yaXMuQmFzZS5PYmplY3RzLkRhdGFPYmplY3RDb2xsZWN0aW9uYDFbW0FwbG9yaXMuQ2hhcnQuQXhpc0JyZWFr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wOCwgQ3VsdHVyZT1uZXV0cmFsLCBQdWJsaWNLZXlUb2tlbj0xNmZjMTNhMjI2YzBlOTUxXV0DAAAAkQFTeXN0ZW0uQ29sbGVjdGlvbnMuR2VuZXJpYy5MaXN0YDFbW0FwbG9yaXMuQ2hhcnQuQXhpc0JyZWF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A4LCBDdWx0dXJlPW5ldXRyYWwsIFB1YmxpY0tleVRva2VuPTE2ZmMxM2EyMjZjMGU5NTFdXQMAAACQAVN5c3RlbS5Db2xsZWN0aW9ucy5HZW5lcmljLkxpc3RgMVtbQXBsb3Jpcy5DaGFydC5UaWNrTWFy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PIsQELny5VDAZIAAAAgAAAAoSEjROfLlUMJkwAAALgBAAD/////AQEKCZQAAAABAAoBBzAAAAAAAQAAAAUAAAAEFVN5c3RlbS5EcmF3aW5nLlBvaW50RgQAAAABlQAAACAAAACh4SNE58uVQwGWAAAAIAAAAPIsQELnS6xDAZcAAAAgAAAAcCSvQ+dLrEMBmAAAACAAAAChISNE50usQwGZAAAAIAAAAKHhI0TnS5hDBzEAAAAAAQAAAAUAAAAEF0FwbG9yaXMuQmFzZS5BbmNob3JNb2RlAwAAAAWaAAAAF0FwbG9yaXMuQmFzZS5BbmNob3JNb2RlAQAAAAd2YWx1ZV9fAAgDAAAABAAAAAGbAAAAmgAAAAUAAAABnAAAAJoAAAADAAAAAZ0AAACaAAAABgAAAAGeAAAAmgAAAAUAAAAPMgAAAAUAAAABAAAAAAEFMwAAABVBcGxvcmlzLkJhc2UuVUkuTGFiZWwdAAAAD21BbmNob3JQb3NpdGlvbgttQW5jaG9yTW9kZQ9tQWRkSW5uZXJNYXJnaW4WbU9mZnNldERpcmVjdGlvbkFuY2hvchdtT2Zmc2V0T3J0aG9nb25hbEFuY2hvcgttVGV4dEZvcm1hdAltUm90YXRpb24KbUJhY2tDb2xvcg1tVXNlQmFja0NvbG9yDm1Vc2VCYWNrZ3JvdW5kEW1DdXN0b21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AAQEBAABAwMB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wAAAAGfAAAAIAAAAKHhI0Tny5VDAaAAAACaAAAABAAAAAAAAAAAAAAAAAmhAAAAAAAAAAmiAAAAAAAABaMAAAAqQXBsb3Jpcy5CYXNlLlVJLkxhYmVsK0xpbmVBbGlnbm1lbnRPcHRpb25zAQAAAAd2YWx1ZV9fAAgDAAAAAAAAAAGkAAAAbAAAAAAAAAAAAAAAAaUAAAAUAAAAAAAAAAAAAAAAAAAAAAAAAAAAAAAGpgAAAA1DYXRlZ29yeSBheGlzCgmnAAAACaYAAADkAgAA/////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axAAAAASUJZgAAAAAAAAAKAAAAAAA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JsQAAAA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ATwAAAAsAAAACgmyAAAACbMAAAAJBwAAAAkBAAAACbQAAAABPwAAAC8AAAABtQAAACAAAADyLEBC58uVQwG2AAAAIAAAAPIsQEI0sI1BCbcAAAC4AQAA/////wEBCgm4AAAAAQAKAQdAAAAAAAEAAAAFAAAABBVTeXN0ZW0uRHJhd2luZy5Qb2ludEYEAAAAAbkAAAAgAAAA8ixAQt7CMkEBugAAACAAAACAfC1B58uVQwG7AAAAIAAAAIB8LUHqph5DAbwAAAAgAAAAgHwtQTSwjUEBvQAAACAAAACAfC1B3sIyQQdBAAAAAAEAAAAFAAAABBdBcGxvcmlzLkJhc2UuQW5jaG9yTW9kZQMAAAABvgAAAJoAAAABAAAAAb8AAACaAAAACAAAAAHAAAAAmgAAAAIAAAABwQAAAJoAAAAGAAAAAcIAAACaAAAABwAAAA9CAAAABQAAAAEAAAAAAQFDAAAAMwAAAAHDAAAAIAAAAPIsQELewjJBAcQAAACaAAAAAQAAAAAAAAAAAAAAAAnFAAAAAAAAAAnGAAAAAAAAAccAAACjAAAAAAAAAAHIAAAAbAAAAAAAAAAAAAAAAckAAAAUAAAAAAAAAAAAAAAAAAAAAAAAAAAAAAAGygAAAApWYWx1ZSBheGlzCgnLAAAACcoAAADkAgAA/////wABCgnMAAAAAQAKAQFEAAAAJAAAAAnNAAAABgAAAAYAAAABRQAAACUAAAAJzgAAAAIAAAACAAAAB0YAAAAAAQAAAAAAAAAELkFwbG9yaXMuQ2hhcnQuQ29sdW1uT3JpZW50ZWRDaGFydCtVbnVzZWRTZXJpZXMCAAAABEcAAACXAVN5c3RlbS5Db2xsZWN0aW9ucy5HZW5lcmljLkxpc3RgMVtbQXBsb3Jpcy5DaGFydC5DaGFydERhdGFTZXJpZXMsIEFwbG9yaXMuQ2hhcnQsIFZlcnNpb249NC4yLjAuMTkwOCwgQ3VsdHVyZT1uZXV0cmFsLCBQdWJsaWNLZXlUb2tlbj0xNmZjMTNhMjI2YzBlOTUxXV0DAAAABl9pdGVtcwVfc2l6ZQhfdmVyc2lvbgQAAB9BcGxvcmlzLkNoYXJ0LkNoYXJ0RGF0YVNlcmllc1tdAgAAAAgICc8AAAADAAAAFwAAAAFIAAAAJAAAAAnQAAAAAwAAAAMAAAABSQAAACUAAAAJ0QAAAAAAAAAAAAAABEoAAACcAVN5c3RlbS5Db2xsZWN0aW9ucy5HZW5lcmljLkxpc3RgMVtbQXBsb3Jpcy5DaGFydC5Bbm5vdGF0aW9uRGF0YVNlcmllcywgQXBsb3Jpcy5DaGFydCwgVmVyc2lvbj00LjIuMC4xOTA4LCBDdWx0dXJlPW5ldXRyYWwsIFB1YmxpY0tleVRva2VuPTE2ZmMxM2EyMjZjMGU5NTFdXQMAAAAGX2l0ZW1zBV9zaXplCF92ZXJzaW9uBAAAJEFwbG9yaXMuQ2hhcnQuQW5ub3RhdGlvbkRhdGFTZXJpZXNbXQIAAAAICAnSAAAAAAAAAAAAAAABSwAAACQAAAAJ0wAAAAAAAAAAAAAAAUwAAAAlAAAACdEAAAAAAAAAAAAAAARNAAAAlwFTeXN0ZW0uQ29sbGVjdGlvbnMuR2VuZXJpYy5MaXN0YDFbW0FwbG9yaXMuQ2hhcnQuQW5ub3RhdGlvbkdyb3VwLCBBcGxvcmlzLkNoYXJ0LCBWZXJzaW9uPTQuMi4wLjE5MDgsIEN1bHR1cmU9bmV1dHJhbCwgUHVibGljS2V5VG9rZW49MTZmYzEzYTIyNmMwZTk1MV1dAwAAAAZfaXRlbXMFX3NpemUIX3ZlcnNpb24EAAAfQXBsb3Jpcy5DaGFydC5Bbm5vdGF0aW9uR3JvdXBbXQIAAAAICAnUAAAAAAAAAAAAAAABTgAAACQAAAAJ0wAAAAAAAAAAAAAAAU8AAAAlAAAACdEAAAAAAAAAAAAAAARQAAAAlgFTeXN0ZW0uQ29sbGVjdGlvbnMuR2VuZXJpYy5MaXN0YDFbW0FwbG9yaXMuQ2hhcnQuQ2hhcnREYXRhR3JvdXAsIEFwbG9yaXMuQ2hhcnQsIFZlcnNpb249NC4yLjAuMTkwOCwgQ3VsdHVyZT1uZXV0cmFsLCBQdWJsaWNLZXlUb2tlbj0xNmZjMTNhMjI2YzBlOTUxXV0DAAAABl9pdGVtcwVfc2l6ZQhfdmVyc2lvbgQAAB5BcGxvcmlzLkNoYXJ0LkNoYXJ0RGF0YUdyb3VwW10CAAAACAgJ1QAAAAMAAAADAAAAAVEAAAAkAAAACdYAAAADAAAAAwAAAAFSAAAAJQAAAAnRAAAAAAAAAAAAAAAEUwAAAJABU3lzdGVtLkNvbGxlY3Rpb25zLkdlbmVyaWMuTGlzdGAxW1tBcGxvcmlzLkNoYXJ0LkRlbHRhQmFyLCBBcGxvcmlzLkNoYXJ0LCBWZXJzaW9uPTQuMi4wLjE5MDgsIEN1bHR1cmU9bmV1dHJhbCwgUHVibGljS2V5VG9rZW49MTZmYzEzYTIyNmMwZTk1MV1dAwAAAAZfaXRlbXMFX3NpemUIX3ZlcnNpb24EAAAYQXBsb3Jpcy5DaGFydC5EZWx0YUJhcltdAgAAAAgICdcAAAAAAAAAAAAAAAFUAAAAJAAAAAnTAAAAAAAAAAAAAAABVQAAACUAAAAJ0QAAAAAAAAAAAAAABFYAAACTAVN5c3RlbS5Db2xsZWN0aW9ucy5HZW5lcmljLkxpc3RgMVtbQXBsb3Jpcy5DaGFydC5EZWx0YUJyaWRnZSwgQXBsb3Jpcy5DaGFydCwgVmVyc2lvbj00LjIuMC4xOTA4LCBDdWx0dXJlPW5ldXRyYWwsIFB1YmxpY0tleVRva2VuPTE2ZmMxM2EyMjZjMGU5NTFdXQMAAAAGX2l0ZW1zBV9zaXplCF92ZXJzaW9uBAAAG0FwbG9yaXMuQ2hhcnQuRGVsdGFCcmlkZ2VbXQIAAAAICAnYAAAAAAAAAAAAAAABVwAAACQAAAAJ0wAAAAAAAAAAAAAAAVgAAAAlAAAACdEAAAAAAAAAAAAAAARZAAAAkwFTeXN0ZW0uQ29sbGVjdGlvbnMuR2VuZXJpYy5MaXN0YDFbW0FwbG9yaXMuQ2hhcnQuR3Jvd3RoQXJyb3csIEFwbG9yaXMuQ2hhcnQsIFZlcnNpb249NC4yLjAuMTkwOCwgQ3VsdHVyZT1uZXV0cmFsLCBQdWJsaWNLZXlUb2tlbj0xNmZjMTNhMjI2YzBlOTUxXV0DAAAABl9pdGVtcwVfc2l6ZQhfdmVyc2lvbgQAABtBcGxvcmlzLkNoYXJ0Lkdyb3d0aEFycm93W10CAAAACAgJ2QAAAAAAAAAAAAAAAVoAAAAkAAAACdMAAAAAAAAAAAAAAAFbAAAAJQAAAAnRAAAAAAAAAAAAAAAEXAAAAJoBU3lzdGVtLkNvbGxlY3Rpb25zLkdlbmVyaWMuTGlzdGAxW1tBcGxvcmlzLkNoYXJ0LldhdGVyZmFsbENvbm5lY3RvciwgQXBsb3Jpcy5DaGFydCwgVmVyc2lvbj00LjIuMC4xOTA4LCBDdWx0dXJlPW5ldXRyYWwsIFB1YmxpY0tleVRva2VuPTE2ZmMxM2EyMjZjMGU5NTFdXQMAAAAGX2l0ZW1zBV9zaXplCF92ZXJzaW9uBAAAIkFwbG9yaXMuQ2hhcnQuV2F0ZXJmYWxsQ29ubmVjdG9yW10CAAAACAgJ2gAAAAAAAAAAAAAAAV0AAAAkAAAACdMAAAAAAAAAAAAAAAFeAAAAJQAAAAnRAAAAAAAAAAAAAAAEXwAAAJgBU3lzdGVtLkNvbGxlY3Rpb25zLkdlbmVyaWMuTGlzdGAxW1tBcGxvcmlzLkNoYXJ0LkVsZW1lbnRDb25uZWN0b3IsIEFwbG9yaXMuQ2hhcnQsIFZlcnNpb249NC4yLjAuMTkwOCwgQ3VsdHVyZT1uZXV0cmFsLCBQdWJsaWNLZXlUb2tlbj0xNmZjMTNhMjI2YzBlOTUxXV0DAAAABl9pdGVtcwVfc2l6ZQhfdmVyc2lvbgQAACBBcGxvcmlzLkNoYXJ0LkVsZW1lbnRDb25uZWN0b3JbXQIAAAAICAnbAAAAAAAAAAAAAAABYAAAACQAAAAJ0wAAAAAAAAAAAAAAAWEAAAAlAAAACdE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wAAAAJ3QAAAAEAAAD+////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gAAAAnfAAAAAQAAAAAAAAAAAAAAAAAAAAABBW8AAAAfQXBsb3Jpcy5CYXNlLk9iamVjdHMuUGVyc0lkRGF0YQIAAAADbUlkC21DdXN0b21EYXRhBwIIAwAAAAngAAAACgVyAAAAGkFwbG9yaXMuQmFzZS5PYmplY3RzLkNvbG9yBwAAABJEYXRhT2JqZWN0K21QYXJlbnQVRGF0YU9iamVjdCttQ29udGFpbmVyBW1UeXBlBG1SR0IQbVRoZW1lQ29sb3JJbmRleAxtQXV0b1VwZGF0ZWQJbU1vZGlmaWVkAgIAAAAAAAgICAEBAwAAAAoKAAAAAAAAAAANAAAAAAEBcwAAAHIAAAAKCgEAAAAAAAAA/////wABB4UAAAAAAQAAABAAAAAEH0FwbG9yaXMuQmFzZS5PYmplY3RzLkRhdGFPYmplY3QDAAAACQkAAAAJCgAAAAkLAAAACQwAAAAJEAAAAAkRAAAACQ0AAAAJDgAAAAkPAAAACQcAAAAJBgAAAAkXAAAADQQHhgAAAAABAAAABAAAAAQcQXBsb3Jpcy5CYXNlLlVJLlZpc3VhbE9iamVjdAMAAAAJGwAAAA0DBIcAAACRAVN5c3RlbS5Db2xsZWN0aW9ucy5HZW5lcmljLkxpc3RgMVtbQXBsb3Jpcy5DaGFydC5WYWx1ZUxpbmUsIEFwbG9yaXMuQ2hhcnQsIFZlcnNpb249NC4yLjAuMTkwOCwgQ3VsdHVyZT1uZXV0cmFsLCBQdWJsaWNLZXlUb2tlbj0xNmZjMTNhMjI2YzBlOTUxXV0DAAAABl9pdGVtcwVfc2l6ZQhfdmVyc2lvbgQAABlBcGxvcmlzLkNoYXJ0LlZhbHVlTGluZVtdAgAAAAgICeEAAAAAAAAAAAAAAAGIAAAAJAAAAAnTAAAAAAAAAAAAAAABiQAAACUAAAAJ0QAAAAAAAAAAAAAABIoAAACRAVN5c3RlbS5Db2xsZWN0aW9ucy5HZW5lcmljLkxpc3RgMVtbQXBsb3Jpcy5DaGFydC5BeGlzQnJlYWssIEFwbG9yaXMuQ2hhcnQsIFZlcnNpb249NC4yLjAuMTkwOCwgQ3VsdHVyZT1uZXV0cmFsLCBQdWJsaWNLZXlUb2tlbj0xNmZjMTNhMjI2YzBlOTUxXV0DAAAABl9pdGVtcwVfc2l6ZQhfdmVyc2lvbgQAABlBcGxvcmlzLkNoYXJ0LkF4aXNCcmVha1tdAgAAAAgICeIAAAAAAAAAAAAAAAGLAAAAJAAAAAnTAAAAAAAAAAAAAAABjAAAACUAAAAJ0QAAAAAAAAAAAAAABI4AAACQAVN5c3RlbS5Db2xsZWN0aW9ucy5HZW5lcmljLkxpc3RgMVtbQXBsb3Jpcy5DaGFydC5UaWNrTWFyaywgQXBsb3Jpcy5DaGFydCwgVmVyc2lvbj00LjIuMC4xOTA4LCBDdWx0dXJlPW5ldXRyYWwsIFB1YmxpY0tleVRva2VuPTE2ZmMxM2EyMjZjMGU5NTFdXQMAAAAGX2l0ZW1zBV9zaXplCF92ZXJzaW9uBAAAGEFwbG9yaXMuQ2hhcnQuVGlja01hcmtbXQIAAAAICAnjAAAAAAAAAAAAAAABjwAAACQAAAAJ0wAAAAAAAAAAAAAAAZAAAAAlAAAACdEAAAAAAAAAAAAAAAGTAAAAagAAAAoKAAAAQD8J5AAAAAnlAAAAAQAAAP7///8AAAAAAQAAAAAAAAAAAAAAAQAAAAAAAAAAAAABlAAAAG8AAAAJ5gAAAAoFo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ChBCXAAAAAJcQAAAAnnAAAAAQAJ6AAAAAGiAAAAcgAAAAoKAQAAAAAAAAD/////AAEEpwAAAJYBU3lzdGVtLkNvbGxlY3Rpb25zLkdlbmVyaWMuTGlzdGAxW1tBcGxvcmlzLkJhc2UuT2JqZWN0cy5WYXJpYWJsZSwgQXBsb3Jpcy5CYXNlLCBWZXJzaW9uPTQuMi4wLjE5MDgsIEN1bHR1cmU9bmV1dHJhbCwgUHVibGljS2V5VG9rZW49MTZmYzEzYTIyNmMwZTk1MV1dAwAAAAZfaXRlbXMFX3NpemUIX3ZlcnNpb24EAAAfQXBsb3Jpcy5CYXNlLk9iamVjdHMuVmFyaWFibGVbXQMAAAAICAnpAAAAAAAAAAAAAAABqAAAAG8AAAAJ6gAAAAoHqQAAAAABAAAACAAAAAQfQXBsb3Jpcy5CYXNlLk9iamVjdHMuRGF0YU9iamVjdAMAAAAJKQAAAAkqAAAACSsAAAAJLAAAAAknAAAACSgAAAAKCgeqAAAAAAEAAAAEAAAABBxBcGxvcmlzLkJhc2UuVUkuVmlzdWFsT2JqZWN0AwAAAAkvAAAACTMAAAAKCgGrAAAAhwAAAAnhAAAAAAAAAAAAAAABrAAAACQAAAAJ0wAAAAAAAAAAAAAAAa0AAAAlAAAACdEAAAAAAAAAAAAAAAGuAAAAigAAAAniAAAAAAAAAAAAAAABrwAAACQAAAAJ0wAAAAAAAAAAAAAAAbAAAAAlAAAACdEAAAAAAAAAAAAAAAGyAAAAjgAAAAnrAAAABgAAACYAAAABswAAACQAAAAJ7AAAAAYAAAAmAAAAAbQAAAAlAAAACdEAAAAAAAAAAAAAAAG3AAAAagAAAAoKAAAAQD8J7QAAAAnuAAAAAQAAAP7///8AAAAAAQAAAAAAAAAAAAAAAQAAAAAAAAAAAAABuAAAAG8AAAAJ7wAAAAoFx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ChBCXAAAAAJcQAAAAnwAAAAAQAJ8QAAAAHGAAAAcgAAAAoKAQAAAAAAAAD/////AAEBywAAAKcAAAAJ6QAAAAAAAAAAAAAAAcwAAABvAAAACfIAAAAKB80AAAAAAQAAAAgAAAAEH0FwbG9yaXMuQmFzZS5PYmplY3RzLkRhdGFPYmplY3QDAAAACTkAAAAJOgAAAAk7AAAACTwAAAAJNwAAAAk4AAAACgoHzgAAAAABAAAABAAAAAQcQXBsb3Jpcy5CYXNlLlVJLlZpc3VhbE9iamVjdAMAAAAJPwAAAAlDAAAACgoHzwAAAAABAAAABAAAAAQdQXBsb3Jpcy5DaGFydC5DaGFydERhdGFTZXJpZXMCAAAACfMAAAAJ9AAAAAn1AAAACgfQAAAAAAEAAAAEAAAABB9BcGxvcmlzLkJhc2UuT2JqZWN0cy5EYXRhT2JqZWN0AwAAAAnzAAAACfQAAAAJ9QAAAAo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QAAAAEHEFwbG9yaXMuQ2hhcnQuQ2hhcnREYXRhR3JvdXACAAAACfYAAAAJ9wAAAAn4AAAACgfWAAAAAAEAAAAEAAAABB9BcGxvcmlzLkJhc2UuT2JqZWN0cy5EYXRhT2JqZWN0AwAAAAn2AAAACfcAAAAJ+AAAAAoH1wAAAAABAAAAAAAAAAQWQXBsb3Jpcy5DaGFydC5EZWx0YUJhcgIAAAAH2AAAAAABAAAAAAAAAAQZQXBsb3Jpcy5DaGFydC5EZWx0YUJyaWRnZQIAAAAH2QAAAAABAAAAAAAAAAQZQXBsb3Jpcy5DaGFydC5Hcm93dGhBcnJvdwIAAAAH2gAAAAABAAAAAAAAAAQgQXBsb3Jpcy5DaGFydC5XYXRlcmZhbGxDb25uZWN0b3ICAAAAB9sAAAAAAQAAAAAAAAAEHkFwbG9yaXMuQ2hhcnQuRWxlbWVudENvbm5lY3RvcgIAAAAB3AAAAHIAAAAKCgAAAAAAAAAADQAAAAABAd0AAAByAAAACgoBAAAAAAAAAP////8AAQHeAAAAcgAAAAoKAQAAAP///wD/////AAEB3wAAAHIAAAAKCgEAAAAAAAAA/////wABD+AAAAABAAAACAAAAAAH4QAAAAABAAAAAAAAAAQXQXBsb3Jpcy5DaGFydC5WYWx1ZUxpbmUCAAAAB+IAAAAAAQAAAAAAAAAEF0FwbG9yaXMuQ2hhcnQuQXhpc0JyZWFrAgAAAAfjAAAAAAEAAAAAAAAABBZBcGxvcmlzLkNoYXJ0LlRpY2tNYXJrAgAAAAXkAAAAGkFwbG9yaXMuQmFzZS5PYmplY3RzLkNvbG9yBwAAABJEYXRhT2JqZWN0K21QYXJlbnQVRGF0YU9iamVjdCttQ29udGFpbmVyBW1UeXBlBG1SR0IQbVRoZW1lQ29sb3JJbmRleAxtQXV0b1VwZGF0ZWQJbU1vZGlmaWVkBAIAAAAAAB9BcGxvcmlzLkJhc2UuT2JqZWN0cy5MaW5lRm9ybWF0AwAAAAgICAEBAwAAAAmTAAAACgAAAAAAAAAADQAAAAAABeUAAAAaQXBsb3Jpcy5CYXNlLk9iamVjdHMuQ29sb3IHAAAAEkRhdGFPYmplY3QrbVBhcmVudBVEYXRhT2JqZWN0K21Db250YWluZXIFbVR5cGUEbVJHQhBtVGhlbWVDb2xvckluZGV4DG1BdXRvVXBkYXRlZAltTW9kaWZpZWQEAgAAAAAAH0FwbG9yaXMuQmFzZS5PYmplY3RzLkxpbmVGb3JtYXQDAAAACAgIAQEDAAAACZMAAAAKAQAAAAAAAAD/////AAEP5gAAAAEAAAAISwAAAAHnAAAAcgAAAAoKAAAAAAAAAAANAAAAAAEB6AAAAHIAAAAKCgEAAAAAAAAA/////wABB+kAAAAAAQAAAAAAAAAEHUFwbG9yaXMuQmFzZS5PYmplY3RzLlZhcmlhYmxlAwAAAA/qAAAAAQAAAAgAAAAAB+sAAAAAAQAAABAAAAAEFkFwbG9yaXMuQ2hhcnQuVGlja01hcmsCAAAACfkAAAAJ+gAAAAn7AAAACfwAAAAJ/QAAAAn+AAAADQoH7AAAAAABAAAAEAAAAAQfQXBsb3Jpcy5CYXNlLk9iamVjdHMuRGF0YU9iamVjdAMAAAAJ+QAAAAn6AAAACfsAAAAJ/AAAAAn9AAAACf4AAAANCg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/////AAEP7wAAAAEAAAAISgAAAAHwAAAAcgAAAAoKAAAAAAAAAAANAAAAAAEB8QAAAHIAAAAKCgEAAAAAAAAA/////wABD/IAAAABAAAAC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f8AAAATAAAAAAAAAAIAAAD/////CQcAAAAJAAEAAAYBAQAACERpc2FncmVlCgoAAAAAAAAAAAAAAAAKCgAJAgEAAAkDAQAACQQBAAAAAAAAAAAAAAAAAAAAAAAAAAAJBQEAAAkBAAAACQEAAAAJBgEAAAH0AAAA8wAAAAkBAAAAAQcBAAATAAAAAAAAAAMAAAD/////CQcAAAAJCAEAAAYJAQAAB05ldXRyYWwKCgAAAAAAAAAAAAAAAAoKAAkKAQAACQsBAAAJDAEAAAAAAAAAAQAAAAAAAAAAAAAAAAkNAQAACQEAAAAJAQAAAAkOAQAAAfUAAADzAAAACQEAAAABDwEAABMAAAAAAAAABAAAAP////8JBwAAAAkQAQAABhEBAAAFQWdyZWUKCgAAAAAAAAAAAAAAAAoKAAkSAQAACRMBAAAJFAEAAAAAAAAAAgAAAAAAAAAAAAAAAAkVAQAACQEAAAAJAQAAAAkWAQAABfY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FwEAADhHdWlkZWQgUGF0aHdheXMgQWRvcHRpb24gYWNyb3NzIEFsbCBEZXBhcnRtZW50cy9Db2xsZWdlcwAFGAEAAB5BcGxvcmlzLkNoYXJ0LkNoYXJ0R3JvdXBBbmNob3IBAAAAB3ZhbHVlX18ACAIAAAAAAAAACgAAAAABAAAAAQAAAAkZAQAACRoBAAAJGwEAAAoJBwAAAAkcAQAACQEAAAAJAQAAAAkdAQAAAfcAAAD2AAAACQEAAAAGHgEAADZHdWlkZWQgUGF0aHdheXMgQWRvcHRpb24gZm9yIFNvbWUgRGVwYXJ0bWVudHMvQ29sbGVnZXMAAR8BAAAYAQAAAAAAAAoAAAAAAQAAAAEAAAAJIAEAAAkhAQAACSIBAAAKCQcAAAAJIwEAAAkBAAAACQEAAAAJJAEAAAH4AAAA9gAAAAkBAAAABiUBAAAbTm8gR3VpZGVkIFBhdGh3YXlzIEFkb3B0aW9uAAEmAQAAGAEAAAAAAAAKAAAAAAEAAAABAAAACScBAAAJKAEAAAkpAQAACgkHAAAACSoBAAAJAQAAAAkBAAAACSsBAAAF+Q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SwBAAAKCS0BAAAJBwAAAAEAAAAAAAAAAAEuAQAAIAAAAPIsQELny5VDAS8BAAAgAAAA8iwwQufLlUMACTABAAAJBwAAAAkBAAAACTEBAAAB+gAAAPkAAAAJMgEAAAoJMwEAAAkHAAAAAZqZmZmZmck/ATQBAAAgAAAA8ixAQnM3c0MBNQEAACAAAADyLDBCczdzQwAJNgEAAAkHAAAACQEAAAAJNwEAAAH7AAAA+QAAAAk4AQAACgk5AQAACQcAAAABmpmZmZmZ2T8BOgEAACAAAADyLEBCGNc6QwE7AQAAIAAAAPIsMEIY1zpDAAk8AQAACQcAAAAJAQAAAAk9AQAAAfwAAAD5AAAACT4BAAAKCT8BAAAJBwAAAAEzMzMzMzPjPwFAAQAAIAAAAPIsQEK9dgJDAUEBAAAgAAAA8iwwQr12AkMACUIBAAAJBwAAAAkBAAAACUMBAAAB/QAAAPkAAAAJRAEAAAoJRQEAAAkHAAAAAZqZmZmZmek/AUYBAAAgAAAA8ixAQsMslEIBRwEAACAAAADyLDBCwyyUQgAJSAEAAAkHAAAACQEAAAAJSQEAAAH+AAAA+QAAAAlKAQAACglLAQAACQcAAAABAAAAAAAA8D8BTAEAACAAAADyLEBCNLCNQQFNAQAAIAAAAPIsMEI0sI1BAAlOAQAACQcAAAAJAQAAAAlPAQAABQABAACiAUFwbG9yaXMuQmFzZS5PYmplY3RzLkRhdGFPYmplY3RDb2xsZWN0aW9uYDFbW0FwbG9yaXMuQ2hhcnQuQ2hhcnREYXRh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IuMC4xOTA4LCBDdWx0dXJlPW5ldXRyYWwsIFB1YmxpY0tleVRva2VuPTE2ZmMxM2EyMjZjMGU5NTFdXQMAAACYAVN5c3RlbS5Db2xsZWN0aW9ucy5HZW5lcmljLkxpc3RgMVtbQXBsb3Jpcy5DaGFydC5DaGFydERhdGFFbGVtZW50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ABAAAJUQEAAAnzAAAACQEAAAAJUgEAAAUCAQAAHEFwbG9yaXMuQ2hhcnQuQ29ubmVjdGVkTGFiZWwl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gAAAApYAgAABVMBAAArQXBsb3Jpcy5DaGFydC5Db25uZWN0ZWRMYWJlbCtlQ29ubmVjdG9yTW9kZQEAAAAHdmFsdWVfXwAIAgAAAAEAAAAFVAEAADZBcGxvcmlzLkNoYXJ0LkNvbm5lY3RlZExhYmVsK2VBbmdsZWRDb25uZWN0b3JEaXJlY3Rpb24BAAAAB3ZhbHVlX18ACAIAAAAAAAAAAVUBAAAUAAAA5ef1QzSwpUEM3u9CTZmPQgVWAQAALUFwbG9yaXMuQ2hhcnQuQ29ubmVjdGVkTGFiZWwrZVRhcmdldEFyZWFTaGFwZQEAAAAHdmFsdWVfXwAIAgAAAAAAAAAAABBBAQFXAQAAIAAAALTvGkRncWJCAVgBAACaAAAABAAAAAAAAAAAAAAAAAlZAQAAAAAAAAlaAQAAAAAAAVsBAACjAAAAAAAAAAFcAQAAbAAAAAAAeEIAAIhBAV0BAAAUAAAAEzsaRE7sREKRYExCEztRQV662T8JAQEAAAoJXgEAAAZfAQAAACADAAD/////AQEKCWABAAABAAoBBwMBAAAAAQAAAAIAAAAEFVN5c3RlbS5EcmF3aW5nLlBvaW50RgQAAAABYQEAACAAAAC07xpEZ3FiQgFiAQAAIAAAAPIsLEIUYChCBwQBAAAAAQAAAAIAAAAEF0FwbG9yaXMuQmFzZS5BbmNob3JNb2RlAwAAAAFjAQAAmgAAAAQAAAABZAEAAJoAAAACAAAAAQUBAAAkAAAACWUBAAABAAAAAQAAAAEGAQAAJQAAAAlmAQAAAQAAAAEAAAABCAEAAAABAAAKCWcBAAAJaAEAAAn0AAAACQEAAAAJaQEAAAEKAQAAAgEAAApYAgAAAWoBAABTAQAAAQAAAAFrAQAAVAEAAAAAAAABbAEAABQAAADl5/VDWgXFQgze70L83+5CAW0BAABWAQAAAAAAAAAAEEEBAW4BAAAgAAAAtO8aRKw6HkMBbwEAAJoAAAAEAAAAAAAAAAAAAAAACXABAAAAAAAACXEBAAAAAAABcgEAAKMAAAAAAAAAAXMBAABsAAAAAABIQgAAiEEBdAEAABQAAAATOxpE7MQWQ0N0J0ITO1FBXrrZPwkJAQAACgl1AQAACV8BAAAgAwAA/////wEBCgl2AQAAAQAKAQcLAQAAAAEAAAACAAAABBVTeXN0ZW0uRHJhd2luZy5Qb2ludEYEAAAAAXcBAAAgAAAAtO8aRKw6HkMBeAEAACAAAABT+YdBjB33QgcMAQAAAAEAAAACAAAABBdBcGxvcmlzLkJhc2UuQW5jaG9yTW9kZQMAAAABeQEAAJoAAAAEAAAAAXoBAACaAAAAAgAAAAENAQAAJAAAAAl7AQAAAQAAAAEAAAABDgEAACUAAAAJfAEAAAEAAAABAAAAARABAAAAAQAACgl9AQAACX4BAAAJ9QAAAAkBAAAACX8BAAABEgEAAAIBAAAKWAIAAAGAAQAAUwEAAAEAAAABgQEAAFQBAAAAAAAAAYIBAAAUAAAA5ef1Q6vyX0MM3u9CRkqRQgGDAQAAVgEAAAAAAAAAABBBAQGEAQAAIAAAALTvGkSeIoJDAYUBAACaAAAABAAAAAAAAAAAAAAAAAmGAQAAAAAAAAmHAQAAAAAAAYgBAACjAAAAAAAAAAGJAQAAbAAAAAAAJEIAAIhBAYoBAAAUAAAAEzsaRLATfUMIwwtCEztRQV662T8JEQEAAAoJiwEAAAlfAQAAIAMAAP////8BAQoJjAEAAAEACgEHEwEAAAABAAAAAgAAAAQVU3lzdGVtLkRyYXdpbmcuUG9pbnRGBAAAAAGNAQAAIAAAALTvGkSeIoJDAY4BAAAgAAAAU/mHQcBBcEMHFAEAAAABAAAAAgAAAAQXQXBsb3Jpcy5CYXNlLkFuY2hvck1vZGUDAAAAAY8BAACaAAAABAAAAAGQAQAAmgAAAAIAAAABFQEAACQAAAAJkQEAAAEAAAABAAAAARYBAAAlAAAACZIBAAABAAAAAQAAAA8ZAQAAAQAAAAgAAAAABxoBAAAAAQAAAAEAAAAEFUFwbG9yaXMuQmFzZS5VSS5MYWJlbAMAAAAJkwEAAAEbAQAAMwAAAAGUAQAAIAAAAHPKFEPnS5hDAZUBAACaAAAAAwAAAAAAAAAAAAAAAAmWAQAAAAAAAAmXAQAAAAAAAZgBAACjAAAAAAAAAAGZAQAAbAAAAAAAGkMAAFBCAZoBAAAUAAAAnditQk7sl0MiuvNC//8fQl662T8GmwEAADpHdWlkZWQgUGF0aHdheXMNCkFkb3B0aW9uIGFjcm9zcyBBbGwNCkRlcGFydG1lbnRzL0NvbGxlZ2VzCgmcAQAACZsBAAAgAwAA/////wEBCgmdAQAAAQAKAQEcAQAAJAAAAAnTAAAAAAAAAAAAAAABHQEAACUAAAAJngEAAAIAAAACAAAADyABAAABAAAACAAAAAAHIQEAAAABAAAAAQAAAAQVQXBsb3Jpcy5CYXNlLlVJLkxhYmVsAwAAAAmfAQAAASIBAAAzAAAAAaABAAAgAAAAcCSvQ+dLmEMBoQEAAJoAAAADAAAAAAAAAAAAAAAACaIBAAAAAAAACaMBAAAAAAABpAEAAKMAAAAAAAAAAaUBAABsAAAAAAAaQwAAUEIBpgEAABQAAAATO5BDTuyXQyK680L//x9CXrrZPwanAQAAOEd1aWRlZCBQYXRod2F5cw0KQWRvcHRpb24gZm9yIFNvbWUNCkRlcGFydG1lbnRzL0NvbGxlZ2VzCgmoAQAACacBAAAgAwAA/////wEBCgmpAQAAAQAKAQEjAQAAJAAAAAnTAAAAAAAAAAAAAAABJAEAACUAAAAJqgEAAAIAAAACAAAADycBAAABAAAACAAAAAAHKAEAAAABAAAAAQAAAAQVQXBsb3Jpcy5CYXNlLlVJLkxhYmVsAwAAAAmrAQAAASkBAAAzAAAAAawBAAAgAAAA0/EJROdLmEMBrQEAAJoAAAADAAAAAAAAAAAAAAAACa4BAAAAAAAACa8BAAAAAAABsAEAAKMAAAAAAAAAAbEBAABsAAAAAAAbQwAACEIBsgEAABQAAACJnfRDTuyXQ/pD9UITO9FBXrrZPwazAQAAHE5vIEd1aWRlZCBQYXRod2F5cw0KQWRvcHRpb24KCbQBAAAJswEAACADAAD/////AQEKCbUBAAABAAoBASoBAAAkAAAACdMAAAAAAAAAAAAAAAErAQAAJQAAAAm2AQAAAgAAAAIAAAABLAEAAC8AAAABtwEAACAAAADyLEBC58uVQwG4AQAAIAAAAPIsMELny5VDCbkBAADMAQAA/////wEBCgm6AQAAAQAKAQEtAQAAMwAAAAG7AQAAIAAAAPIsKkLny5VDAbwBAACaAAAAAgAAAAAAAAAAAAAAAAm9AQAAAAAAAAm+AQAAAAAAAb8BAACjAAAAAAAAAAHAAQAAbAAAAAAAsEEAAIhBAcEBAAAUAAAAiZ24QWInkkPBmaJBEztRQV662T8GwgEAAAIwJQoJwwEAAAlfAQAA0AIAAP////8BAQoJxAEAAAEACgEBMAEAACQAAAAJ0wAAAAAAAAAAAAAAATEBAAAlAAAACcUBAAACAAAAAgAAAAEyAQAALwAAAAHGAQAAIAAAAPIsQEJzN3NDAccBAAAgAAAA8iwwQnM3c0MJyAEAAMwBAAD/////AQEKCckBAAABAAoBATMBAAAzAAAAAcoBAAAgAAAA8iwqQnM3c0MBywEAAJoAAAACAAAAAAAAAAAAAAAACcwBAAAAAAAACc0BAAAAAAABzgEAAKMAAAAAAAAAAc8BAABsAAAAAAD4QQAAiEEB0AEAABQAAAATO4FBdWJrQzf82UETO1FBXrrZPwbRAQAAAzIwJQoJ0gEAAAlfAQAA0AIAAP////8BAQoJ0wEAAAEACgEBNgEAACQAAAAJ0wAAAAAAAAAAAAAAATcBAAAlAAAACdQBAAACAAAAAgAAAAE4AQAALwAAAAHVAQAAIAAAAPIsQEIY1zpDAdYBAAAgAAAA8iwwQhjXOkMJ1wEAAMwBAAD/////AQEKCdgBAAABAAoBATkBAAAzAAAAAdkBAAAgAAAA8iwqQhjXOkMB2gEAAJoAAAACAAAAAAAAAAAAAAAACdsBAAAAAAAACdwBAAAAAAAB3QEAAKMAAAAAAAAAAd4BAABsAAAAAAD4QQAAiEEB3wEAABQAAAATO4FBEzszQzf82UETO1FBXrrZPwbgAQAAAzQwJQoJ4QEAAAlfAQAA0AIAAP////8BAQoJ4gEAAAEACgEBPAEAACQAAAAJ0wAAAAAAAAAAAAAAAT0BAAAlAAAACeMBAAACAAAAAgAAAAE+AQAALwAAAAHkAQAAIAAAAPIsQEK9dgJDAeUBAAAgAAAA8iwwQr12AkMJ5gEAAMwBAAD/////AQEKCecBAAABAAoBAT8BAAAzAAAAAegBAAAgAAAA8iwqQr12AkMB6QEAAJoAAAACAAAAAAAAAAAAAAAACeoBAAAAAAAACesBAAAAAAAB7AEAAKMAAAAAAAAAAe0BAABsAAAAAAD4QQAAiEEB7gEAABQAAAATO4FBYif2Qjf82UETO1FBXrrZPwbvAQAAAzYwJQoJ8AEAAAlfAQAA0AIAAP////8BAQoJ8QEAAAEACgEBQgEAACQAAAAJ0wAAAAAAAAAAAAAAAUMBAAAlAAAACfIBAAACAAAAAgAAAAFEAQAALwAAAAHzAQAAIAAAAPIsQELDLJRCAfQBAAAgAAAA8iwwQsMslEIJ9QEAAMwBAAD/////AQEKCfYBAAABAAoBAUUBAAAzAAAAAfcBAAAgAAAA8iwqQsMslEIB+AEAAJoAAAACAAAAAAAAAAAAAAAACfkBAAAAAAAACfoBAAAAAAAB+wEAAKMAAAAAAAAAAfwBAABsAAAAAAD4QQAAiEEB/QEAABQAAAATO4FBndiFQjf82UETO1FBXrrZPwb+AQAAAzgwJQoJ/wEAAAlfAQAA0AIAAP////8BAQoJAAIAAAEACgEBSAEAACQAAAAJ0wAAAAAAAAAAAAAAAUkBAAAlAAAACQECAAACAAAAAgAAAAFKAQAALwAAAAECAgAAIAAAAPIsQEI0sI1BAQMCAAAgAAAA8iwwQjSwjUEJBAIAAMwBAAD/////AQEKCQUCAAABAAoBAUsBAAAzAAAAAQYCAAAgAAAA8iwqQjSwjUEBBwIAAJoAAAACAAAAAAAAAAAAAAAACQgCAAAAAAAACQkCAAAAAAABCgIAAKMAAAAAAAAAAQsCAABsAAAAAAAcQgAAiEEBDAIAABQAAAD//x9B//8fQaWbBUITO1FBXrrZPwYNAgAABDEwMCUKCQ4CAAAJXwEAANACAAD/////AQEKCQ8CAAABAAoBAU4BAAAkAAAACdMAAAAAAAAAAAAAAAFPAQAAJQAAAAkQAgAAAgAAAAIAAAAEUAEAAJgBU3lzdGVtLkNvbGxlY3Rpb25zLkdlbmVyaWMuTGlzdGAxW1tBcGxvcmlzLkNoYXJ0LkNoYXJ0RGF0YUVsZW1lbnQsIEFwbG9yaXMuQ2hhcnQsIFZlcnNpb249NC4yLjAuMTkwOCwgQ3VsdHVyZT1uZXV0cmFsLCBQdWJsaWNLZXlUb2tlbj0xNmZjMTNhMjI2YzBlOTUxXV0DAAAABl9pdGVtcwVfc2l6ZQhfdmVyc2lvbgQAACBBcGxvcmlzLkNoYXJ0LkNoYXJ0RGF0YUVsZW1lbnRbXQIAAAAICAkRAgAAAwAAAAMAAAABUQEAACQAAAAJEgIAAAMAAAADAAAAAVIBAAAlAAAACdEAAAAAAAAAAAAAAAFZAQAAIgAAAAoKAAAAAABAQQlwAAAACXEAAAAJEwIAAAAACRQCAAABWgEAAHIAAAAKCgAAAAD///8ADgAAAAABAV4BAACnAAAACRUCAAABAAAAAQAAAAFgAQAAbwAAAAkWAgAACgdlAQAAAAEAAAAEAAAABB9BcGxvcmlzLkJhc2UuT2JqZWN0cy5EYXRhT2JqZWN0AwAAAAkAAQAADQMHZgEAAAABAAAABAAAAAQcQXBsb3Jpcy5CYXNlLlVJLlZpc3VhbE9iamVjdAMAAAAJAgEAAA0DAWcBAABQAQAACRcCAAADAAAAAwAAAAFoAQAAJAAAAAkYAgAAAwAAAAMAAAABaQEAACUAAAAJ0QAAAAAAAAAAAAAAAXABAAAiAAAACgoAAAAAAEBBCXAAAAAJcQAAAAkZAgAAAAAJGgIAAAFxAQAAcgAAAAoKAAAAAP///wAOAAAAAAEBdQEAAKcAAAAJGwIAAAEAAAABAAAAAXYBAABvAAAACRwCAAAKB3sBAAAAAQAAAAQAAAAEH0FwbG9yaXMuQmFzZS5PYmplY3RzLkRhdGFPYmplY3QDAAAACQgBAAANAwd8AQAAAAEAAAAEAAAABBxBcGxvcmlzLkJhc2UuVUkuVmlzdWFsT2JqZWN0AwAAAAkKAQAADQMBfQEAAFABAAAJHQIAAAMAAAADAAAAAX4BAAAkAAAACR4CAAADAAAAAwAAAAF/AQAAJQAAAAnRAAAAAAAAAAAAAAABhgEAACIAAAAKCgAAAAAAQEEJcAAAAAlxAAAACR8CAAAAAAkgAgAAAYcBAAByAAAACgoAAAAA////AA4AAAAAAQGLAQAApwAAAAkhAgAAAQAAAAEAAAABjAEAAG8AAAAJIgIAAAoHkQEAAAABAAAABAAAAAQfQXBsb3Jpcy5CYXNlLk9iamVjdHMuRGF0YU9iamVjdAMAAAAJEAEAAA0DB5IBAAAAAQAAAAQAAAAEHEFwbG9yaXMuQmFzZS5VSS5WaXN1YWxPYmplY3QDAAAACRIBAAANAwGTAQAAMwAAAAEjAgAAIAAAAHPKFEP+4m9BASQCAACaAAAAAQAAAAAAAAAAAAAAAAklAgAAAAAAAAkmAgAAAAAAAScCAACjAAAAAAAAAAEoAgAAbAAAAAAAUEIAAIhBASkCAAAUAAAAAAAAAAAAAAAAAAAAAAAAAF662T8GKgIAAAduID0gMjE2CgkrAgAACSoCAAA0AwAA/////wABCgksAgAAAQAKAQGWAQAAIgAAAAoKAAAAAABAQQlwAAAACXEAAAAJLQIAAAAACS4CAAABlwEAAHIAAAAKCgAAAAD///8ADgAAAAABAZwBAACnAAAACS8CAAAAAAAAAgAAAAGdAQAAbwAAAAkwAgAACgeeAQAAAAEAAAAEAAAABBxBcGxvcmlzLkJhc2UuVUkuVmlzdWFsT2JqZWN0AwAAAAkbAQAACZMBAAAKCgGfAQAAMwAAAAExAgAAIAAAAHAkr0NoYGtBATICAACaAAAAAQAAAAAAAAAAAAAAAAkzAgAAAAAAAAk0AgAAAAAAATUCAACjAAAAAAAAAAE2AgAAbAAAAAAA0EEAAIhBATcCAAAUAAAAAAAAAAAAAAAAAAAAAAAAAF662T8GOAIAAAMyNTQKCTkCAAAJOAIAADQDAAD/////AAEKCToCAAABAAoBAaIBAAAiAAAACgoAAAAAAEBBCXAAAAAJcQAAAAk7AgAAAAAJPAIAAAGjAQAAcgAAAAoKAAAAAP///wAOAAAAAAEBqAEAAKcAAAAJPQIAAAAAAAACAAAAAakBAABvAAAACT4CAAAKB6oBAAAAAQAAAAQAAAAEHEFwbG9yaXMuQmFzZS5VSS5WaXN1YWxPYmplY3QDAAAACSIBAAAJnwEAAAoKAasBAAAzAAAAAT8CAAAgAAAA0/EJRGhga0EBQAIAAJoAAAABAAAAAAAAAAAAAAAACUECAAAAAAAACUICAAAAAAABQwIAAKMAAAAAAAAAAUQCAABsAAAAAADQQQAAiEEBRQIAABQAAAAAAAAAAAAAAAAAAAAAAAAAXrrZPwZGAgAAAzQwMgoJRwIAAAlGAgAANAMAAP////8AAQoJSAIAAAEACgEBrgEAACIAAAAKCgEAAAAAQEEJcAAAAAlxAAAACUkCAAAAAAlKAgAAAa8BAAByAAAACgoAAAAA////AA4AAAAAAQG0AQAApwAAAAlLAgAAAAAAAAIAAAABtQEAAG8AAAAJTAIAAAoHtgEAAAABAAAABAAAAAQcQXBsb3Jpcy5CYXNlLlVJLlZpc3VhbE9iamVjdAMAAAAJKQEAAAmrAQAACgoBuQEAAGoAAAAKCgAAAEA/CU0CAAAJTgIAAAEAAAD+////AAAAAAEAAAAAAAAAAAAAAAEAAAAAAAAAAAAAAboBAABvAAAACU8CAAAKAb0BAAAiAAAACgoAAAAAAEBBCXAAAAAJcQAAAAlQAgAAAAAJUQIAAAG+AQAAcgAAAAoKAAAAAP///wAOAAAAAAEBwwEAAKcAAAAJUgIAAAEAAAABAAAAAcQBAABvAAAACVMCAAAKB8UBAAAAAQAAAAQAAAAEHEFwbG9yaXMuQmFzZS5VSS5WaXN1YWxPYmplY3QDAAAACSwBAAAJLQEAAAoKAcgBAABqAAAACgoAAABAPwlUAgAACVUCAAABAAAA/v///wAAAAABAAAAAAAAAAAAAAABAAAAAAAAAAAAAAHJAQAAbwAAAAlWAgAACgHMAQAAIgAAAAoKAAAAAABAQQlwAAAACXEAAAAJVwIAAAAACVgCAAABzQEAAHIAAAAKCgAAAAD///8ADgAAAAABAdIBAACnAAAACVkCAAABAAAAAwAAAAHTAQAAbwAAAAlaAgAACgfUAQAAAAEAAAAEAAAABBxBcGxvcmlzLkJhc2UuVUkuVmlzdWFsT2JqZWN0AwAAAAkyAQAACTMBAAAKCgHXAQAAagAAAAoKAAAAQD8JWwIAAAlcAgAAAQAAAP7///8AAAAAAQAAAAAAAAAAAAAAAQAAAAAAAAAAAAAB2AEAAG8AAAAJXQIAAAoB2wEAACIAAAAKCgAAAAAAQEEJcAAAAAlxAAAACV4CAAAAAAlfAgAAAdwBAAByAAAACgoAAAAA////AA4AAAAAAQHhAQAApwAAAAlgAgAAAQAAAAMAAAAB4gEAAG8AAAAJYQIAAAoH4wEAAAABAAAABAAAAAQcQXBsb3Jpcy5CYXNlLlVJLlZpc3VhbE9iamVjdAMAAAAJOAEAAAk5AQAACgoB5gEAAGoAAAAKCgAAAEA/CWICAAAJYwIAAAEAAAD+////AAAAAAEAAAAAAAAAAAAAAAEAAAAAAAAAAAAAAecBAABvAAAACWQCAAAKAeoBAAAiAAAACgoAAAAAAEBBCXAAAAAJcQAAAAllAgAAAAAJZgIAAAHrAQAAcgAAAAoKAAAAAP///wAOAAAAAAEB8AEAAKcAAAAJZwIAAAEAAAADAAAAAfEBAABvAAAACWgCAAAKB/IBAAAAAQAAAAQAAAAEHEFwbG9yaXMuQmFzZS5VSS5WaXN1YWxPYmplY3QDAAAACT4BAAAJPwEAAAoKAfUBAABqAAAACgoAAABAPwlpAgAACWoCAAABAAAA/v///wAAAAABAAAAAAAAAAAAAAABAAAAAAAAAAAAAAH2AQAAbwAAAAlrAgAACgH5AQAAIgAAAAoKAAAAAABAQQlwAAAACXEAAAAJbAIAAAAACW0CAAAB+gEAAHIAAAAKCgAAAAD///8ADgAAAAABAf8BAACnAAAACW4CAAABAAAAAwAAAAEAAgAAbwAAAAlvAgAACgcBAgAAAAEAAAAEAAAABBxBcGxvcmlzLkJhc2UuVUkuVmlzdWFsT2JqZWN0AwAAAAlEAQAACUUBAAAKCgEEAgAAagAAAAoKAAAAQD8JcAIAAAlxAgAAAQAAAP7///8AAAAAAQAAAAAAAAAAAAAAAQAAAAAAAAAAAAABBQIAAG8AAAAJcgIAAAoBCAIAACIAAAAKCgAAAAAAQEEJcAAAAAlxAAAACXMCAAAAAAl0AgAAAQkCAAByAAAACgoAAAAA////AA4AAAAAAQEOAgAApwAAAAl1AgAAAQAAAAMAAAABDwIAAG8AAAAJdgIAAAoHEAIAAAABAAAABAAAAAQcQXBsb3Jpcy5CYXNlLlVJLlZpc3VhbE9iamVjdAMAAAAJSgEAAAlLAQAACgoHEQIAAAABAAAABAAAAAQeQXBsb3Jpcy5DaGFydC5DaGFydERhdGFFbGVtZW50AgAAAAl3AgAACXgCAAAJeQIAAAoHEgIAAAABAAAABAAAAAQfQXBsb3Jpcy5CYXNlLk9iamVjdHMuRGF0YU9iamVjdAMAAAAJdwIAAAl4AgAACXkCAAAKARMCAAByAAAACgoAAAAAAAAAAA0AAAAAAAEUAgAAcgAAAAoKAAAAAAAAAAANAAAAAAEHFQIAAAABAAAABAAAAAQdQXBsb3Jpcy5CYXNlLk9iamVjdHMuVmFyaWFibGUDAAAABXoCAAAdQXBsb3Jpcy5CYXNlLk9iamVjdHMuVmFyaWFibGUCAAAABk51bWJlcghQb3NpdGlvbgAACAgDAAAAAQAAAAAAAAABewIAAHoCAAAAAAAAAAAAAAF8AgAAegIAAAAAAAAAAAAAAX0CAAB6AgAAAAAAAAAAAAAPFgIAAAEAAAAIGgAAAAcXAgAAAAEAAAAEAAAABB5BcGxvcmlzLkNoYXJ0LkNoYXJ0RGF0YUVsZW1lbnQCAAAACX4CAAAJfwIAAAmAAgAACgcYAgAAAAEAAAAEAAAABB9BcGxvcmlzLkJhc2UuT2JqZWN0cy5EYXRhT2JqZWN0AwAAAAl+AgAACX8CAAAJgAIAAAoBGQIAAHIAAAAKCgAAAAAAAAAADQAAAAAAARoCAAByAAAACgoAAAAAAAAAAA0AAAAAAQcbAgAAAAEAAAAEAAAABB1BcGxvcmlzLkJhc2UuT2JqZWN0cy5WYXJpYWJsZQMAAAABgQIAAHoCAAABAAAAAAAAAAGCAgAAegIAAAAAAAAAAAAAAYMCAAB6AgAAAAAAAAAAAAABhAIAAHoCAAAAAAAAAAAAAA8cAgAAAQAAAAgZAAAABx0CAAAAAQAAAAQAAAAEHkFwbG9yaXMuQ2hhcnQuQ2hhcnREYXRhRWxlbWVudAIAAAAJhQIAAAmGAgAACYcCAAAKBx4CAAAAAQAAAAQAAAAEH0FwbG9yaXMuQmFzZS5PYmplY3RzLkRhdGFPYmplY3QDAAAACYUCAAAJhgIAAAmHAgAACgEfAgAAcgAAAAoKAAAAAAAAAAANAAAAAAABIAIAAHIAAAAKCgAAAAAAAAAADQAAAAABByECAAAAAQAAAAQAAAAEHUFwbG9yaXMuQmFzZS5PYmplY3RzLlZhcmlhYmxlAwAAAAGIAgAAegIAAAEAAAAAAAAAAYkCAAB6AgAAAAAAAAAAAAABigIAAHoCAAAAAAAAAAAAAAGLAgAAegIAAAAAAAAAAAAADyICAAABAAAACBsAAAAFJ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gAAAAoAAAAAAEBBCXAAAAAJcQAAAAmMAgAAAAAJjQIAAAEmAgAAcgAAAAoKAAAAAP///wAOAAAAAAEBKwIAAKcAAAAJjgIAAAAAAAACAAAAASwCAABvAAAACY8CAAAKAS0CAAByAAAACgoAAAAAAAAAAA0AAAAAAAEuAgAAcgAAAAoKAAAAAAAAAAANAAAAAAEHLwIAAAABAAAABAAAAAQdQXBsb3Jpcy5CYXNlLk9iamVjdHMuVmFyaWFibGUDAAAAAZACAAB6AgAAAAAAAAAAAAABkQIAAHoCAAAAAAAAAAAAAAGSAgAAegIAAAAAAAAAAAAAAZMCAAB6AgAAAAAAAAAAAAAPMAIAAAEAAAAIHQAAAAUz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3AAAACgAAAAAAQEEJcAAAAAlxAAAACZQCAAAAAAmVAgAAATQCAAByAAAACgoAAAAA////AA4AAAAAAQE5AgAApwAAAAmWAgAAAAAAAAQAAAABOgIAAG8AAAAJlwIAAAoBOwIAAHIAAAAKCgAAAAAAAAAADQAAAAAAATwCAAByAAAACgoAAAAAAAAAAA0AAAAAAQc9AgAAAAEAAAAEAAAABB1BcGxvcmlzLkJhc2UuT2JqZWN0cy5WYXJpYWJsZQMAAAABmAIAAHoCAAAAAAAAAAAAAAGZAgAAegIAAAAAAAAAAAAAAZoCAAB6AgAAAAAAAAAAAAABmwIAAHoCAAAAAAAAAAAAAA8+AgAAAQAAAAgcAAAABUE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gAAAAKAAAAAABAQQlwAAAACXEAAAAJnAIAAAAACZ0CAAABQgIAAHIAAAAKCgAAAAD///8ADgAAAAABAUcCAACnAAAACZ4CAAAAAAAABAAAAAFIAgAAbwAAAAmfAgAACgFJAgAAcgAAAAoKAAAAAAAAAAANAAAAAAABSgIAAHIAAAAKCgAAAAAAAAAADQAAAAABB0sCAAAAAQAAAAQAAAAEHUFwbG9yaXMuQmFzZS5PYmplY3RzLlZhcmlhYmxlAwAAAAGgAgAAegIAAAAAAAAAAAAAAaECAAB6AgAAAAAAAAAAAAABogIAAHoCAAAAAAAAAAAAAAGjAgAAegIAAAAAAAAAAAAAD0wCAAABAAAACBgAAAABTQIAAHIAAAAKCgAAAAAAAAAADQAAAAAABU4CAAAaQXBsb3Jpcy5CYXNlLk9iamVjdHMuQ29sb3IHAAAAEkRhdGFPYmplY3QrbVBhcmVudBVEYXRhT2JqZWN0K21Db250YWluZXIFbVR5cGUEbVJHQhBtVGhlbWVDb2xvckluZGV4DG1BdXRvVXBkYXRlZAltTW9kaWZpZWQEAgAAAAAAH0FwbG9yaXMuQmFzZS5PYmplY3RzLkxpbmVGb3JtYXQDAAAACAgIAQEDAAAACbkBAAAKAQAAAAAAAAD/////AAEPTwIAAAEAAAAITwAAAAFQAgAAcgAAAAoKAAAAAAAAAAANAAAAAAABUQIAAHIAAAAKCgAAAAAAAAAADQAAAAABB1ICAAAAAQAAAAQAAAAEHUFwbG9yaXMuQmFzZS5PYmplY3RzLlZhcmlhYmxlAwAAAAGkAgAAegIAAAEAAAAAAAAAAaUCAAB6AgAAAAAAAAAAAAABpgIAAHoCAAAAAAAAAAAAAAGnAgAAegIAAAAAAAAAAAAAD1MCAAABAAAACBUAAAABVAIAAHIAAAAKCgAAAAAAAAAADQAAAAAABVUCAAAaQXBsb3Jpcy5CYXNlLk9iamVjdHMuQ29sb3IHAAAAEkRhdGFPYmplY3QrbVBhcmVudBVEYXRhT2JqZWN0K21Db250YWluZXIFbVR5cGUEbVJHQhBtVGhlbWVDb2xvckluZGV4DG1BdXRvVXBkYXRlZAltTW9kaWZpZWQEAgAAAAAAH0FwbG9yaXMuQmFzZS5PYmplY3RzLkxpbmVGb3JtYXQDAAAACAgIAQEDAAAACcgBAAAKAQAAAAAAAAD/////AAEPVgIAAAEAAAAITAAAAAFXAgAAcgAAAAoKAAAAAAAAAAANAAAAAAABWAIAAHIAAAAKCgAAAAAAAAAADQAAAAABB1kCAAAAAQAAAAQAAAAEHUFwbG9yaXMuQmFzZS5PYmplY3RzLlZhcmlhYmxlAwAAAAGoAgAAegIAAAEAAAAAAAAAAakCAAB6AgAAAAAAAAAAAAABqgIAAHoCAAAAAAAAAAAAAAGrAgAAegIAAAAAAAAAAAAAD1oCAAABAAAACBMAAAABWwIAAHIAAAAKCgAAAAAAAAAADQAAAAAABVwCAAAaQXBsb3Jpcy5CYXNlLk9iamVjdHMuQ29sb3IHAAAAEkRhdGFPYmplY3QrbVBhcmVudBVEYXRhT2JqZWN0K21Db250YWluZXIFbVR5cGUEbVJHQhBtVGhlbWVDb2xvckluZGV4DG1BdXRvVXBkYXRlZAltTW9kaWZpZWQEAgAAAAAAH0FwbG9yaXMuQmFzZS5PYmplY3RzLkxpbmVGb3JtYXQDAAAACAgIAQEDAAAACdcBAAAKAQAAAAAAAAD/////AAEPXQIAAAEAAAAITQAAAAFeAgAAcgAAAAoKAAAAAAAAAAANAAAAAAABXwIAAHIAAAAKCgAAAAAAAAAADQAAAAABB2ACAAAAAQAAAAQAAAAEHUFwbG9yaXMuQmFzZS5PYmplY3RzLlZhcmlhYmxlAwAAAAGsAgAAegIAAAEAAAAAAAAAAa0CAAB6AgAAAAAAAAAAAAABrgIAAHoCAAAAAAAAAAAAAAGvAgAAegIAAAAAAAAAAAAAD2ECAAABAAAACBIAAAABYgIAAHIAAAAKCgAAAAAAAAAADQAAAAAABWMCAAAaQXBsb3Jpcy5CYXNlLk9iamVjdHMuQ29sb3IHAAAAEkRhdGFPYmplY3QrbVBhcmVudBVEYXRhT2JqZWN0K21Db250YWluZXIFbVR5cGUEbVJHQhBtVGhlbWVDb2xvckluZGV4DG1BdXRvVXBkYXRlZAltTW9kaWZpZWQEAgAAAAAAH0FwbG9yaXMuQmFzZS5PYmplY3RzLkxpbmVGb3JtYXQDAAAACAgIAQEDAAAACeYBAAAKAQAAAAAAAAD/////AAEPZAIAAAEAAAAITgAAAAFlAgAAcgAAAAoKAAAAAAAAAAANAAAAAAABZgIAAHIAAAAKCgAAAAAAAAAADQAAAAABB2cCAAAAAQAAAAQAAAAEHUFwbG9yaXMuQmFzZS5PYmplY3RzLlZhcmlhYmxlAwAAAAGwAgAAegIAAAEAAAAAAAAAAbECAAB6AgAAAAAAAAAAAAABsgIAAHoCAAAAAAAAAAAAAAGzAgAAegIAAAAAAAAAAAAAD2gCAAABAAAACBcAAAABaQIAAHIAAAAKCgAAAAAAAAAADQAAAAAABWoCAAAaQXBsb3Jpcy5CYXNlLk9iamVjdHMuQ29sb3IHAAAAEkRhdGFPYmplY3QrbVBhcmVudBVEYXRhT2JqZWN0K21Db250YWluZXIFbVR5cGUEbVJHQhBtVGhlbWVDb2xvckluZGV4DG1BdXRvVXBkYXRlZAltTW9kaWZpZWQEAgAAAAAAH0FwbG9yaXMuQmFzZS5PYmplY3RzLkxpbmVGb3JtYXQDAAAACAgIAQEDAAAACfUBAAAKAQAAAAAAAAD/////AAEPawIAAAEAAAAIUQAAAAFsAgAAcgAAAAoKAAAAAAAAAAANAAAAAAABbQIAAHIAAAAKCgAAAAAAAAAADQAAAAABB24CAAAAAQAAAAQAAAAEHUFwbG9yaXMuQmFzZS5PYmplY3RzLlZhcmlhYmxlAwAAAAG0AgAAegIAAAEAAAAAAAAAAbUCAAB6AgAAAAAAAAAAAAABtgIAAHoCAAAAAAAAAAAAAAG3AgAAegIAAAAAAAAAAAAAD28CAAABAAAACBYAAAABcAIAAHIAAAAKCgAAAAAAAAAADQAAAAAABXECAAAaQXBsb3Jpcy5CYXNlLk9iamVjdHMuQ29sb3IHAAAAEkRhdGFPYmplY3QrbVBhcmVudBVEYXRhT2JqZWN0K21Db250YWluZXIFbVR5cGUEbVJHQhBtVGhlbWVDb2xvckluZGV4DG1BdXRvVXBkYXRlZAltTW9kaWZpZWQEAgAAAAAAH0FwbG9yaXMuQmFzZS5PYmplY3RzLkxpbmVGb3JtYXQDAAAACAgIAQEDAAAACQQCAAAKAQAAAAAAAAD/////AAEPcgIAAAEAAAAIUAAAAAFzAgAAcgAAAAoKAAAAAAAAAAANAAAAAAABdAIAAHIAAAAKCgAAAAAAAAAADQAAAAABB3UCAAAAAQAAAAQAAAAEHUFwbG9yaXMuQmFzZS5PYmplY3RzLlZhcmlhYmxlAwAAAAG4AgAAegIAAAEAAAAAAAAAAbkCAAB6AgAAAAAAAAAAAAABugIAAHoCAAAAAAAAAAAAAAG7AgAAegIAAAAAAAAAAAAAD3YCAAABAAAACBQAAAAFdwI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m8AgAACb0CAAAKCb4CAAAKCfMAAAAIBhfZzvdT48U/CgAAAAAJvwIAAAnAAgAAAAAAAAAJwQIAAAnzAAAACQEAAAAJwgIAAAF4AgAAdwIAAAnDAgAACcQCAAAKCcUCAAAKCfMAAAAIBg4tsp3vp8Y/CgEAAAAJxgIAAAnHAgAAAAAAAAAJyAIAAAnzAAAACQEAAAAJyQIAAAF5AgAAdwIAAAnKAgAACcsCAAAKCcwCAAAKCfMAAAAIBkSLbOf7qdE/CgIAAAAJzQIAAAnOAgAAAAAAAAAJzwIAAAnzAAAACQEAAAAJ0AIAAAF+AgAAdwIAAAnRAgAACdICAAAKCdMCAAAKCfQAAAAIBj81XrpJDNo/CgAAAAAJ1AIAAAnVAgAAAAAAAAAJ1gIAAAn0AAAACQEAAAAJ1wIAAAF/AgAAdwIAAAnYAgAACdkCAAAKCdoCAAAKCfQAAAAIBsP1KFyPwt0/CgEAAAAJ2wIAAAncAgAAAAAAAAAJ3QIAAAn0AAAACQEAAAAJ3gIAAAGAAgAAdwIAAAnfAgAACeACAAAKCeECAAAKCfQAAAAIBnsUrkfhetw/CgIAAAAJ4gIAAAnjAgAAAAAAAAAJ5AIAAAn0AAAACQEAAAAJ5QIAAAGFAgAAdwIAAAnmAgAACecCAAAKCegCAAAKCfUAAAAIBots5/up8do/CgAAAAAJ6QIAAAnqAgAAAAAAAAAJ6wIAAAn1AAAACQEAAAAJ7AIAAAGGAgAAdwIAAAntAgAACe4CAAAKCe8CAAAKCfUAAAAIBrbz/dR46dY/CgEAAAAJ8AIAAAnxAgAAAAAAAAAJ8gIAAAn1AAAACQEAAAAJ8wIAAAGHAgAAdwIAAAn0AgAACfUCAAAKCfYCAAAKCfUAAAAIBkJg5dAi29E/CgIAAAAJ9wIAAAn4AgAAAAAAAAAJ+QIAAAn1AAAACQEAAAAJ+gIAAAGMAgAAcgAAAAoKAAAAAAAAAAANAAAAAAABjQIAAHIAAAAKCgAAAAAAAAAADQAAAAABB44CAAAAAQAAAAQAAAAEHUFwbG9yaXMuQmFzZS5PYmplY3RzLlZhcmlhYmxlAwAAAAH7AgAAegIAAAAAAAAAAAAAAfwCAAB6AgAAAAAAAAAAAAAB/QIAAHoCAAAAAAAAAAAAAAH+AgAAegIAAAAAAAAAAAAAD48CAAABAAAACAAAAAABlAIAAHIAAAAKCgAAAAAAAAAADQAAAAAAAZUCAAByAAAACgoAAAAAAAAAAA0AAAAAAQeWAgAAAAEAAAAEAAAABB1BcGxvcmlzLkJhc2UuT2JqZWN0cy5WYXJpYWJsZQMAAAAB/wIAAHoCAAAAAAAAAAAAAAEAAwAAegIAAAAAAAAAAAAAAQEDAAB6AgAAAAAAAAAAAAABAgMAAHoCAAAAAAAAAAAAAA+XAgAAAQAAAAgAAAAAAZwCAAByAAAACgoAAAAAAAAAAA0AAAAAAAGdAgAAcgAAAAoKAAAAAAAAAAANAAAAAAEHngIAAAABAAAABAAAAAQdQXBsb3Jpcy5CYXNlLk9iamVjdHMuVmFyaWFibGUDAAAAAQMDAAB6AgAAAAAAAAAAAAABBAMAAHoCAAAAAAAAAAAAAAEFAwAAegIAAAAAAAAAAAAAAQYDAAB6AgAAAAAAAAAAAAAPnwIAAAEAAAAIAAAAAAG8AgAAAgEAAApYAgAAAQcDAABTAQAAAgAAAAEIAwAAVAEAAAEAAAABCQMAABQAAADipbFCf/GnQQje70KozihCAQoDAABWAQAAAAAAAAAAoEAAAQsDAAAgAAAAc8oUQxRgKEIBDAMAAJoAAAAAAAAAAAAAAAAAAAAACQ0DAAAAAAAACQ4DAAAAAAABDwMAAKMAAAAAAAAAARADAABsAAAAAAD4QQAAiEEBEQMAABQAAACd2AVDJ3YKQjf82UETO1FBXrrZPwYSAwAAAzE3JQoJEwMAAAlfAQAANAMAAP////8BAQoJFAMAAAEACgEBvQIAABsAAAABFQMAACAAAADipatCtGOEQgEWAwAAIAAAAPXBU0N/8Y9BCRcDAAAJGAMAAAAAAAAKARkDAABsAAAAAAAAAAAAAAABGgMAAGwAAAAAAAAAAAAAAAAAAAABGwMAABQAAAAAAAAAAAAAAAAAAAAAAAAApAEAAP////8BAQoJHAMAAAEACgEHvgIAAAABAAAAAgAAAAQaQXBsb3Jpcy5CYXNlLlVJLlZpc3VhbExpbmUDAAAACgoHvwIAAAABAAAAAwAAAAQVU3lzdGVtLkRyYXdpbmcuUG9pbnRGBAAAAAEdAwAAIAAAAHPKFEMUYChCAR4DAAAgAAAA4qWlQhRgKEIBHwMAACAAAAD1wVZDFGAoQgfAAgAAAAEAAAADAAAABBdBcGxvcmlzLkJhc2UuQW5jaG9yTW9kZQMAAAABIAMAAJoAAAAAAAAAASEDAACaAAAAAgAAAAEiAwAAmgAAAAQAAAABwQIAACQAAAAJ0wAAAAAAAAAAAAAAAcICAAAlAAAACSMDAAACAAAAAgAAAAHDAgAAAgEAAApYAgAAASQDAABTAQAAAgAAAAElAwAAVAEAAAEAAAABJgMAABQAAACvKJFDNLClQQje70KKki9CAScDAABWAQAAAAAAAAAAoEAAASgDAAAgAAAAcCSvQ1+hKkIBKQMAAJoAAAAAAAAAAAAAAAAAAAAACSoDAAAAAAAACSsDAAAAAAABLAMAAKMAAAAAAAAAAS0DAABsAAAAAAD4QQAAiEEBLgMAABQAAAA6sadD2IkNQjf82UETO1FBXrrZPwYvAwAAAzE4JQoJMAMAAAlfAQAANAMAAP////8BAQoJMQMAAAEACgEBxAIAABsAAAABMgMAACAAAACvqI9DUjWHQgEzAwAAIAAAADGgzkM0sI1BCTQDAAAJNQMAAAAAAAAKATYDAABsAAAAAAAAAAAAAAABNwMAAGwAAAAAAAAAAAAAAAAAAAABOAMAABQAAAAAAAAAAAAAAAAAAAAAAAAApAEAAP////8BAQoJOQMAAAEACgEHxQIAAAABAAAAAgAAAAQaQXBsb3Jpcy5CYXNlLlVJLlZpc3VhbExpbmUDAAAACgoHxgIAAAABAAAAAwAAAAQVU3lzdGVtLkRyYXdpbmcuUG9pbnRGBAAAAAE6AwAAIAAAAHAkr0NfoSpCATsDAAAgAAAAryiOQ1+hKkIBPAMAACAAAAAxINBDX6EqQgfHAgAAAAEAAAADAAAABBdBcGxvcmlzLkJhc2UuQW5jaG9yTW9kZQMAAAABPQMAAJoAAAAAAAAAAT4DAACaAAAAAgAAAAE/AwAAmgAAAAQAAAAByAIAACQAAAAJ0wAAAAAAAAAAAAAAAckCAAAlAAAACUADAAACAAAAAgAAAAHKAgAAAgEAAApYAgAAAUEDAABTAQAAAgAAAAFCAwAAVAEAAAEAAAABQwMAABQAAADl5/VDNLClQQze70JNmY9CAUQDAABWAQAAAAAAAAAAoEAAAUUDAAAgAAAA0/EJRGdxYkIBRgMAAJoAAAAAAAAAAAAAAAAAAAAACUcDAAAAAAAACUgDAAAAAAABSQMAAKMAAAAAAAAAAUoDAABsAAAAAAD4QQAAiEEBSwMAABQAAAATOwZETuxEQjf82UETO1FBXrrZPwZMAwAAAzI4JQoJTQMAAAlfAQAANAMAAP////8BAQoJTgMAAAEACgEBywIAABsAAAABTwMAACAAAADlZ/RDWgW/QgFQAwAAIAAAALSvGUQ0sI1BCVEDAAAJUgMAAAAAAAAKAVMDAABsAAAAAAAAAAAAAAABVAMAAGwAAAAAAAAAAAAAAAAAAAABVQMAABQAAAAAAAAAAAAAAAAAAAAAAAAApAEAAP////8BAQoJVgMAAAEACgEHzAIAAAABAAAAAgAAAAQaQXBsb3Jpcy5CYXNlLlVJLlZpc3VhbExpbmUDAAAACgoHzQIAAAABAAAAAwAAAAQVU3lzdGVtLkRyYXdpbmcuUG9pbnRGBAAAAAFXAwAAIAAAANPxCURncWJCAVgDAAAgAAAA5efyQ2dxYkIBWQMAACAAAAC0bxpEZ3FiQgfOAgAAAAEAAAADAAAABBdBcGxvcmlzLkJhc2UuQW5jaG9yTW9kZQMAAAABWgMAAJoAAAAAAAAAAVsDAACaAAAAAgAAAAFcAwAAmgAAAAQAAAABzwIAACQAAAAJ0wAAAAAAAAAAAAAAAdACAAAlAAAACV0DAAACAAAAAgAAAAHRAgAAAgEAAApYAgAAAV4DAABTAQAAAgAAAAFfAwAAVAEAAAEAAAABYAMAABQAAADipbFCtGOKQgje70Kwc9lCAWEDAABWAQAAAAAAAAAAoEAAAWIDAAAgAAAAc8oUQ4wd90IBYwMAAJoAAAAAAAAAAAAAAAAAAAAACWQDAAAAAAAACWUDAAAAAAABZgMAAKMAAAAAAAAAAWcDAABsAAAAAAD4QQAAiEEBaAMAABQAAACd2AVDxE7oQjf82UETO1FBXrrZPwZpAwAAAzQxJQoJagMAAAlfAQAANAMAAP////8BAQoJawMAAAEACgEB0gIAABsAAAABbAMAACAAAADipatCsus0QwFtAwAAIAAAAPXBU0O0Y4RCCW4DAAAJbwMAAAAAAAAKAXADAABsAAAAAAAAAAAAAAABcQMAAGwAAAAAAAAAAAAAAAAAAAABcgMAABQAAAAAAAAAAAAAAAAAAAAAAAAApAEAAP////8BAQoJcwMAAAEACgEH0wIAAAABAAAAAgAAAAQaQXBsb3Jpcy5CYXNlLlVJLlZpc3VhbExpbmUDAAAACgoH1AIAAAABAAAAAwAAAAQVU3lzdGVtLkRyYXdpbmcuUG9pbnRGBAAAAAF0AwAAIAAAAHPKFEOMHfdCAXUDAAAgAAAA4qWlQowd90IBdgMAACAAAAD1wVZDjB33QgfVAgAAAAEAAAADAAAABBdBcGxvcmlzLkJhc2UuQW5jaG9yTW9kZQMAAAABdwMAAJoAAAAAAAAAAXgDAACaAAAAAgAAAAF5AwAAmgAAAAQAAAAB1gIAACQAAAAJ0wAAAAAAAAAAAAAAAdcCAAAlAAAACXoDAAACAAAAAgAAAAHYAgAAAgEAAApYAgAAAXsDAABTAQAAAgAAAAF8AwAAVAEAAAEAAAABfQMAABQAAACvKJFDUjWNQgje70J0JvpCAX4DAABWAQAAAAAAAAAAoEAAAX8DAAAgAAAAcCSvQ0YkBUMBgAMAAJoAAAAAAAAAAAAAAAAAAAAACYEDAAAAAAAACYIDAAAAAAABgwMAAKMAAAAAAAAAAYQDAABsAAAAAAD4QQAAiEEBhQMAABQAAAA6sadD68T6Qjf82UETO1FBXrrZPwaGAwAAAzQ3JQoJhwMAAAlfAQAANAMAAP////8BAQoJiAMAAAEACgEB2QIAABsAAAABiQMAACAAAACvqI9D461GQwGKAwAAIAAAADGgzkNSNYdCCYsDAAAJjAMAAAAAAAAKAY0DAABsAAAAAAAAAAAAAAABjgMAAGwAAAAAAAAAAAAAAAAAAAABjwMAABQAAAAAAAAAAAAAAAAAAAAAAAAApAEAAP////8BAQoJkAMAAAEACgEH2gIAAAABAAAAAgAAAAQaQXBsb3Jpcy5CYXNlLlVJLlZpc3VhbExpbmUDAAAACgoH2wIAAAABAAAAAwAAAAQVU3lzdGVtLkRyYXdpbmcuUG9pbnRGBAAAAAGRAwAAIAAAAHAkr0NGJAVDAZIDAAAgAAAAryiOQ0YkBUMBkwMAACAAAAAxINBDRiQFQwfcAgAAAAEAAAADAAAABBdBcGxvcmlzLkJhc2UuQW5jaG9yTW9kZQMAAAABlAMAAJoAAAAAAAAAAZUDAACaAAAAAgAAAAGWAwAAmgAAAAQAAAAB3QIAACQAAAAJ0wAAAAAAAAAAAAAAAd4CAAAlAAAACZcDAAACAAAAAgAAAAHfAgAAAgEAAApYAgAAAZgDAABTAQAAAgAAAAGZAwAAVAEAAAEAAAABmgMAABQAAADl5/VDWgXFQgze70L83+5CAZsDAABWAQAAAAAAAAAAoEAAAZwDAAAgAAAA0/EJRKw6HkMBnQMAAJoAAAAAAAAAAAAAAAAAAAAACZ4DAAAAAAAACZ8DAAAAAAABoAMAAKMAAAAAAAAAAaEDAABsAAAAAAD4QQAAiEEBogMAABQAAAATOwZE7MQWQzf82UETO1FBXrrZPwajAwAAAzQ1JQoJpAMAAAlfAQAANAMAAP////8BAQoJpQMAAAEACgEB4AIAABsAAAABpgMAACAAAADlZ/RDq/JcQwGnAwAAIAAAALSvGURaBb9CCagDAAAJqQMAAAAAAAAKAaoDAABsAAAAAAAAAAAAAAABqwMAAGwAAAAAAAAAAAAAAAAAAAABrAMAABQAAAAAAAAAAAAAAAAAAAAAAAAApAEAAP////8BAQoJrQMAAAEACgEH4QIAAAABAAAAAgAAAAQaQXBsb3Jpcy5CYXNlLlVJLlZpc3VhbExpbmUDAAAACgoH4gIAAAABAAAAAwAAAAQVU3lzdGVtLkRyYXdpbmcuUG9pbnRGBAAAAAGuAwAAIAAAANPxCUSsOh5DAa8DAAAgAAAA5efyQ6w6HkMBsAMAACAAAAC0bxpErDoeQwfjAgAAAAEAAAADAAAABBdBcGxvcmlzLkJhc2UuQW5jaG9yTW9kZQMAAAABsQMAAJoAAAAAAAAAAbIDAACaAAAAAgAAAAGzAwAAmgAAAAQAAAAB5AIAACQAAAAJ0wAAAAAAAAAAAAAAAeUCAAAlAAAACbQDAAACAAAAAgAAAAHmAgAAAgEAAApYAgAAAbUDAABTAQAAAgAAAAG2AwAAVAEAAAEAAAABtwMAABQAAADipbFCsus3Qwje70I4WOFCAbgDAABWAQAAAAAAAAAAoEAAAbkDAAAgAAAAc8oUQ8BBcEMBugMAAJoAAAAAAAAAAAAAAAAAAAAACbsDAAAAAAAACbwDAAAAAAABvQMAAKMAAAAAAAAAAb4DAABsAAAAAAD4QQAAiEEBvwMAABQAAACd2AVDsBNpQzf82UETO1FBXrrZPwbAAwAAAzQyJQoJwQMAAAlfAQAANAMAAP////8BAQoJwgMAAAEACgEB5wIAABsAAAABwwMAACAAAADipatC58uVQwHEAwAAIAAAAPXBU0Oy6zRDCcUDAAAJxgMAAAAAAAAKAccDAABsAAAAAAAAAAAAAAAByAMAAGwAAAAAAAAAAAAAAAAAAAAByQMAABQAAAAAAAAAAAAAAAAAAAAAAAAApAEAAP////8BAQoJygMAAAEACgEH6AIAAAABAAAAAgAAAAQaQXBsb3Jpcy5CYXNlLlVJLlZpc3VhbExpbmUDAAAACgoH6QIAAAABAAAAAwAAAAQVU3lzdGVtLkRyYXdpbmcuUG9pbnRGBAAAAAHLAwAAIAAAAHPKFEPAQXBDAcwDAAAgAAAA4qWlQsBBcEMBzQMAACAAAAD1wVZDwEFwQwfqAgAAAAEAAAADAAAABBdBcGxvcmlzLkJhc2UuQW5jaG9yTW9kZQMAAAABzgMAAJoAAAAAAAAAAc8DAACaAAAAAgAAAAHQAwAAmgAAAAQAAAAB6wIAACQAAAAJ0wAAAAAAAAAAAAAAAewCAAAlAAAACdEDAAACAAAAAgAAAAHtAgAAAgEAAApYAgAAAdIDAABTAQAAAgAAAAHTAwAAVAEAAAEAAAAB1AMAABQAAACvKJFD461JQwje70LW071CAdUDAABWAQAAAAAAAAAAoEAAAdYDAAAgAAAAcCSvQ9gieUMB1wMAAJoAAAAAAAAAAAAAAAAAAAAACdgDAAAAAAAACdkDAAAAAAAB2gMAAKMAAAAAAAAAAdsDAABsAAAAAAD4QQAAiEEB3AMAABQAAAA6sadD2IlxQzf82UETO1FBXrrZPwbdAwAAAzM2JQoJ3gMAAAlfAQAANAMAAP////8BAQoJ3wMAAAEACgEB7gIAABsAAAAB4AMAACAAAACvqI9D58uVQwHhAwAAIAAAADGgzkPjrUZDCeIDAAAJ4wMAAAAAAAAKAeQDAABsAAAAAAAAAAAAAAAB5QMAAGwAAAAAAAAAAAAAAAAAAAAB5gMAABQAAAAAAAAAAAAAAAAAAAAAAAAApAEAAP////8BAQoJ5wMAAAEACgEH7wIAAAABAAAAAgAAAAQaQXBsb3Jpcy5CYXNlLlVJLlZpc3VhbExpbmUDAAAACgoH8AIAAAABAAAAAwAAAAQVU3lzdGVtLkRyYXdpbmcuUG9pbnRGBAAAAAHoAwAAIAAAAHAkr0PYInlDAekDAAAgAAAAryiOQ9gieUMB6gMAACAAAAAxINBD2CJ5QwfxAgAAAAEAAAADAAAABBdBcGxvcmlzLkJhc2UuQW5jaG9yTW9kZQMAAAAB6wMAAJoAAAAAAAAAAewDAACaAAAAAgAAAAHtAwAAmgAAAAQAAAAB8gIAACQAAAAJ0wAAAAAAAAAAAAAAAfMCAAAlAAAACe4DAAACAAAAAgAAAAH0AgAAAgEAAApYAgAAAe8DAABTAQAAAgAAAAHwAwAAVAEAAAEAAAAB8QMAABQAAADl5/VDq/JfQwze70JGSpFCAfIDAABWAQAAAAAAAAAAoEAAAfMDAAAgAAAA0/EJRJ4igkMB9AMAAJoAAAAAAAAAAAAAAAAAAAAACfUDAAAAAAAACfYDAAAAAAAB9wMAAKMAAAAAAAAAAfgDAABsAAAAAAD4QQAAiEEB+QMAABQAAAATOwZEsBN9Qzf82UETO1FBXrrZPwb6AwAAAzI4JQoJ+wMAAAlfAQAANAMAAP////8BAQoJ/AMAAAEACgEB9QIAABsAAAAB/QMAACAAAADlZ/RD58uVQwH+AwAAIAAAALSvGUSr8lxDCf8DAAAJAAQAAAAAAAAKAQEEAABsAAAAAAAAAAAAAAABAgQAAGwAAAAAAAAAAAAAAAAAAAABAwQAABQAAAAAAAAAAAAAAAAAAAAAAAAApAEAAP////8BAQoJBAQAAAEACgEH9gIAAAABAAAAAgAAAAQaQXBsb3Jpcy5CYXNlLlVJLlZpc3VhbExpbmUDAAAACgoH9wIAAAABAAAAAwAAAAQVU3lzdGVtLkRyYXdpbmcuUG9pbnRGBAAAAAEFBAAAIAAAANPxCUSeIoJDAQYEAAAgAAAA5efyQ54igkMBBwQAACAAAAC0bxpEniKCQwf4AgAAAAEAAAADAAAABBdBcGxvcmlzLkJhc2UuQW5jaG9yTW9kZQMAAAABCAQAAJoAAAAAAAAAAQkEAACaAAAAAgAAAAEKBAAAmgAAAAQAAAAB+QIAACQAAAAJ0wAAAAAAAAAAAAAAAfoCAAAlAAAACQsEAAACAAAAAgAAAAENAwAAIgAAAAoKAAAAAABAQQlwAAAACXEAAAAJDAQAAAAACQ0EAAABDgMAAHIAAAAKCgAAAAA2bIcABQAAAAABARMDAACnAAAACQ4EAAABAAAAAwAAAAEUAwAAbwAAAAkPBAAACgEXAwAAagAAAAoKAAAAQD8JEAQAAAkRBAAAAQAAAP7///8AAAAAAQAAAAAAAAAAAAAAAQAAAAAAAAAAAAABGAMAAGsAAAAKCgkSBAAACRMEAAABAAAA/v///wAAAAD/////AQABHAMAAG8AAAAJFAQAAAoHIwMAAAABAAAABAAAAAQcQXBsb3Jpcy5CYXNlLlVJLlZpc3VhbE9iamVjdAMAAAAJvQIAAAm8AgAACgoBKgMAACIAAAAKCgAAAAAAQEEJcAAAAAlxAAAACRUEAAAAAAkWBAAAASsDAAByAAAACgoAAAAANmyHAAUAAAAAAQEwAwAApwAAAAkXBAAAAQAAAAMAAAABMQMAAG8AAAAJGAQAAAoBNAMAAGoAAAAKCgAAAEA/CRkEAAAJGgQAAAEAAAD+////AAAAAAEAAAAAAAAAAAAAAAEAAAAAAAAAAAAAATUDAABrAAAACgoJGwQAAAkcBAAAAQAAAP7///8AAAAA/////wEAATkDAABvAAAACR0EAAAKB0ADAAAAAQAAAAQAAAAEHEFwbG9yaXMuQmFzZS5VSS5WaXN1YWxPYmplY3QDAAAACcQCAAAJwwIAAAoKAUcDAAAiAAAACgoAAAAAAEBBCXAAAAAJcQAAAAkeBAAAAAAJHwQAAAFIAwAAcgAAAAoKAAAAADZshwAFAAAAAAEBTQMAAKcAAAAJIAQAAAEAAAADAAAAAU4DAABvAAAACSEEAAAKAVEDAABqAAAACgoAAABAPwkiBAAACSMEAAABAAAA/v///wAAAAABAAAAAAAAAAAAAAABAAAAAAAAAAAAAAFSAwAAawAAAAoKCSQEAAAJJQQAAAEAAAD+////AAAAAP////8BAAFWAwAAbwAAAAkmBAAACgddAwAAAAEAAAAEAAAABBxBcGxvcmlzLkJhc2UuVUkuVmlzdWFsT2JqZWN0AwAAAAnLAgAACcoCAAAKCgFkAwAAIgAAAAoKAAAAAABAQQlwAAAACXEAAAAJJwQAAAAACSgEAAABZQMAAHIAAAAKCgAAAAByhIwABgAAAAABAWoDAACnAAAACSkEAAABAAAAAwAAAAFrAwAAbwAAAAkqBAAACgFuAwAAagAAAAoKAAAAQD8JKwQAAAksBAAAAQAAAP7///8AAAAAAQAAAAAAAAAAAAAAAQAAAAAAAAAAAAABbwMAAGsAAAAKCgktBAAACS4EAAABAAAA/v///wAAAAD/////AQABcwMAAG8AAAAJLwQAAAoHegMAAAABAAAABAAAAAQcQXBsb3Jpcy5CYXNlLlVJLlZpc3VhbE9iamVjdAMAAAAJ0gIAAAnRAgAACgoBgQMAACIAAAAKCgAAAAAAQEEJcAAAAAlxAAAACTAEAAAAAAkxBAAAAYIDAAByAAAACgoAAAAAcoSMAAYAAAAAAQGHAwAApwAAAAkyBAAAAQAAAAMAAAABiAMAAG8AAAAJMwQAAAoBiwMAAGoAAAAKCgAAAEA/CTQEAAAJNQQAAAEAAAD+////AAAAAAEAAAAAAAAAAAAAAAEAAAAAAAAAAAAAAYwDAABrAAAACgoJNgQAAAk3BAAAAQAAAP7///8AAAAA/////wEAAZADAABvAAAACTgEAAAKB5cDAAAAAQAAAAQAAAAEHEFwbG9yaXMuQmFzZS5VSS5WaXN1YWxPYmplY3QDAAAACdkCAAAJ2AIAAAoKAZ4DAAAiAAAACgoAAAAAAEBBCXAAAAAJcQAAAAk5BAAAAAAJOgQAAAGfAwAAcgAAAAoKAAAAAHKEjAAGAAAAAAEBpAMAAKcAAAAJOwQAAAEAAAADAAAAAaUDAABvAAAACTwEAAAKAagDAABqAAAACgoAAABAPwk9BAAACT4EAAABAAAA/v///wAAAAABAAAAAAAAAAAAAAABAAAAAAAAAAAAAAGpAwAAawAAAAoKCT8EAAAJQAQAAAEAAAD+////AAAAAP////8BAAGtAwAAbwAAAAlBBAAACge0AwAAAAEAAAAEAAAABBxBcGxvcmlzLkJhc2UuVUkuVmlzdWFsT2JqZWN0AwAAAAngAgAACd8CAAAKCgG7AwAAIgAAAAoKAAAAAABAQQlwAAAACXEAAAAJQgQAAAAACUMEAAABvAMAAHIAAAAKCgAAAADtISUABwAAAAABAcEDAACnAAAACUQEAAABAAAAAQAAAAHCAwAAbwAAAAlFBAAACgHFAwAAagAAAAoKAAAAQD8JRgQAAAlHBAAAAQAAAP7///8AAAAAAQAAAAAAAAAAAAAAAQAAAAAAAAAAAAABxgMAAGsAAAAKCglIBAAACUkEAAABAAAA/v///wAAAAD/////AQABygMAAG8AAAAJSgQAAAoH0QMAAAABAAAABAAAAAQcQXBsb3Jpcy5CYXNlLlVJLlZpc3VhbE9iamVjdAMAAAAJ5wIAAAnmAgAACgoB2AMAACIAAAAKCgAAAAAAQEEJcAAAAAlxAAAACUsEAAAAAAlMBAAAAdkDAAByAAAACgoAAAAA7SElAAcAAAAAAQHeAwAApwAAAAlNBAAAAQAAAAMAAAAB3wMAAG8AAAAJTgQAAAoB4gMAAGoAAAAKCgAAAEA/CU8EAAAJUAQAAAEAAAD+////AAAAAAEAAAAAAAAAAAAAAAEAAAAAAAAAAAAAAeMDAABrAAAACgoJUQQAAAlSBAAAAQAAAP7///8AAAAA/////wEAAecDAABvAAAACVMEAAAKB+4DAAAAAQAAAAQAAAAEHEFwbG9yaXMuQmFzZS5VSS5WaXN1YWxPYmplY3QDAAAACe4CAAAJ7QIAAAoKAfUDAAAiAAAACgoAAAAAAEBBCXAAAAAJcQAAAAlUBAAAAAAJVQQAAAH2AwAAcgAAAAoKAAAAAO0hJQAHAAAAAAEB+wMAAKcAAAAJVgQAAAEAAAADAAAAAfwDAABvAAAACVcEAAAKAf8DAABqAAAACgoAAABAPwlYBAAACVkEAAABAAAA/v///wAAAAABAAAAAAAAAAAAAAABAAAAAAAAAAAAAAEABAAAawAAAAoKCVoEAAAJWwQAAAEAAAD+////AAAAAP////8BAAEEBAAAbwAAAAlcBAAACgcLBAAAAAEAAAAEAAAABBxBcGxvcmlzLkJhc2UuVUkuVmlzdWFsT2JqZWN0AwAAAAn1AgAACfQCAAAKCgEMBAAAcgAAAAoKAAAAAP///wAOAAAAAAABDQQAAHIAAAAKCgAAAAD///8ADgAAAAABBw4EAAAAAQAAAAQAAAAEHUFwbG9yaXMuQmFzZS5PYmplY3RzLlZhcmlhYmxlAwAAAAFdBAAAegIAAAEAAAAAAAAAAV4EAAB6AgAAAAAAAAAAAAABXwQAAHoCAAAAAAAAAAAAAAFgBAAAegIAAAAAAAAAAAAADw8EAAABAAAACCEAAAAFEAQAABpBcGxvcmlzLkJhc2UuT2JqZWN0cy5Db2xvcgcAAAASRGF0YU9iamVjdCttUGFyZW50FURhdGFPYmplY3QrbUNvbnRhaW5lcgVtVHlwZQRtUkdCEG1UaGVtZUNvbG9ySW5kZXgMbUF1dG9VcGRhdGVkCW1Nb2RpZmllZAQCAAAAAAAfQXBsb3Jpcy5CYXNlLk9iamVjdHMuTGluZUZvcm1hdAMAAAAICAgBAQMAAAAJFwMAAAoAAAAA////AA4AAAAAAAURBAAAGkFwbG9yaXMuQmFzZS5PYmplY3RzLkNvbG9yBwAAABJEYXRhT2JqZWN0K21QYXJlbnQVRGF0YU9iamVjdCttQ29udGFpbmVyBW1UeXBlBG1SR0IQbVRoZW1lQ29sb3JJbmRleAxtQXV0b1VwZGF0ZWQJbU1vZGlmaWVkBAIAAAAAAB9BcGxvcmlzLkJhc2UuT2JqZWN0cy5MaW5lRm9ybWF0AwAAAAgICAEBAwAAAAkXAwAACgEAAAAAAAAA/////wABARIEAAByAAAACgoAAAAANmyHAAUAAAAAAAETBAAAcgAAAAoKAQAAAP///wD/////AAAPFAQAAAEAAAAICAAAAAEVBAAAcgAAAAoKAAAAAP///wAOAAAAAAABFgQAAHIAAAAKCgAAAAD///8ADgAAAAABBxcEAAAAAQAAAAQAAAAEHUFwbG9yaXMuQmFzZS5PYmplY3RzLlZhcmlhYmxlAwAAAAFhBAAAegIAAAEAAAAAAAAAAWIEAAB6AgAAAAAAAAAAAAABYwQAAHoCAAAAAAAAAAAAAAFkBAAAegIAAAAAAAAAAAAADxgEAAABAAAACCIAAAAFGQQAABpBcGxvcmlzLkJhc2UuT2JqZWN0cy5Db2xvcgcAAAASRGF0YU9iamVjdCttUGFyZW50FURhdGFPYmplY3QrbUNvbnRhaW5lcgVtVHlwZQRtUkdCEG1UaGVtZUNvbG9ySW5kZXgMbUF1dG9VcGRhdGVkCW1Nb2RpZmllZAQCAAAAAAAfQXBsb3Jpcy5CYXNlLk9iamVjdHMuTGluZUZvcm1hdAMAAAAICAgBAQMAAAAJNAMAAAoAAAAA////AA4AAAAAAAUaBAAAGkFwbG9yaXMuQmFzZS5PYmplY3RzLkNvbG9yBwAAABJEYXRhT2JqZWN0K21QYXJlbnQVRGF0YU9iamVjdCttQ29udGFpbmVyBW1UeXBlBG1SR0IQbVRoZW1lQ29sb3JJbmRleAxtQXV0b1VwZGF0ZWQJbU1vZGlmaWVkBAIAAAAAAB9BcGxvcmlzLkJhc2UuT2JqZWN0cy5MaW5lRm9ybWF0AwAAAAgICAEBAwAAAAk0AwAACgEAAAAAAAAA/////wABARsEAAByAAAACgoAAAAANmyHAAUAAAAAAAEcBAAAcgAAAAoKAQAAAP///wD/////AAAPHQQAAAEAAAAIBwAAAAEeBAAAcgAAAAoKAAAAAP///wAOAAAAAAABHwQAAHIAAAAKCgAAAAD///8ADgAAAAABByAEAAAAAQAAAAQAAAAEHUFwbG9yaXMuQmFzZS5PYmplY3RzLlZhcmlhYmxlAwAAAAFlBAAAegIAAAEAAAAAAAAAAWYEAAB6AgAAAAAAAAAAAAABZwQAAHoCAAAAAAAAAAAAAAFoBAAAegIAAAAAAAAAAAAADyEEAAABAAAACCMAAAAFIgQAABpBcGxvcmlzLkJhc2UuT2JqZWN0cy5Db2xvcgcAAAASRGF0YU9iamVjdCttUGFyZW50FURhdGFPYmplY3QrbUNvbnRhaW5lcgVtVHlwZQRtUkdCEG1UaGVtZUNvbG9ySW5kZXgMbUF1dG9VcGRhdGVkCW1Nb2RpZmllZAQCAAAAAAAfQXBsb3Jpcy5CYXNlLk9iamVjdHMuTGluZUZvcm1hdAMAAAAICAgBAQMAAAAJUQMAAAoAAAAA////AA4AAAAAAAUjBAAAGkFwbG9yaXMuQmFzZS5PYmplY3RzLkNvbG9yBwAAABJEYXRhT2JqZWN0K21QYXJlbnQVRGF0YU9iamVjdCttQ29udGFpbmVyBW1UeXBlBG1SR0IQbVRoZW1lQ29sb3JJbmRleAxtQXV0b1VwZGF0ZWQJbU1vZGlmaWVkBAIAAAAAAB9BcGxvcmlzLkJhc2UuT2JqZWN0cy5MaW5lRm9ybWF0AwAAAAgICAEBAwAAAAlRAwAACgEAAAAAAAAA/////wABASQEAAByAAAACgoAAAAANmyHAAUAAAAAAAElBAAAcgAAAAoKAQAAAP///wD/////AAAPJgQAAAEAAAAICQAAAAEnBAAAcgAAAAoKAAAAAP///wAOAAAAAAABKAQAAHIAAAAKCgAAAAD///8ADgAAAAABBykEAAAAAQAAAAQAAAAEHUFwbG9yaXMuQmFzZS5PYmplY3RzLlZhcmlhYmxlAwAAAAFpBAAAegIAAAEAAAAAAAAAAWoEAAB6AgAAAAAAAAAAAAABawQAAHoCAAAAAAAAAAAAAAFsBAAAegIAAAAAAAAAAAAADyoEAAABAAAACB4AAAAFKwQAABpBcGxvcmlzLkJhc2UuT2JqZWN0cy5Db2xvcgcAAAASRGF0YU9iamVjdCttUGFyZW50FURhdGFPYmplY3QrbUNvbnRhaW5lcgVtVHlwZQRtUkdCEG1UaGVtZUNvbG9ySW5kZXgMbUF1dG9VcGRhdGVkCW1Nb2RpZmllZAQCAAAAAAAfQXBsb3Jpcy5CYXNlLk9iamVjdHMuTGluZUZvcm1hdAMAAAAICAgBAQMAAAAJbgMAAAoAAAAA////AA4AAAAAAAUsBAAAGkFwbG9yaXMuQmFzZS5PYmplY3RzLkNvbG9yBwAAABJEYXRhT2JqZWN0K21QYXJlbnQVRGF0YU9iamVjdCttQ29udGFpbmVyBW1UeXBlBG1SR0IQbVRoZW1lQ29sb3JJbmRleAxtQXV0b1VwZGF0ZWQJbU1vZGlmaWVkBAIAAAAAAB9BcGxvcmlzLkJhc2UuT2JqZWN0cy5MaW5lRm9ybWF0AwAAAAgICAEBAwAAAAluAwAACgEAAAAAAAAA/////wABAS0EAAByAAAACgoAAAAAcoSMAAYAAAAAAAEuBAAAcgAAAAoKAQAAAP///wD/////AAAPLwQAAAEAAAAIAwAAAAEwBAAAcgAAAAoKAAAAAP///wAOAAAAAAABMQQAAHIAAAAKCgAAAAD///8ADgAAAAABBzIEAAAAAQAAAAQAAAAEHUFwbG9yaXMuQmFzZS5PYmplY3RzLlZhcmlhYmxlAwAAAAFtBAAAegIAAAEAAAAAAAAAAW4EAAB6AgAAAAAAAAAAAAABbwQAAHoCAAAAAAAAAAAAAAFwBAAAegIAAAAAAAAAAAAADzMEAAABAAAACB8AAAAFNAQAABpBcGxvcmlzLkJhc2UuT2JqZWN0cy5Db2xvcgcAAAASRGF0YU9iamVjdCttUGFyZW50FURhdGFPYmplY3QrbUNvbnRhaW5lcgVtVHlwZQRtUkdCEG1UaGVtZUNvbG9ySW5kZXgMbUF1dG9VcGRhdGVkCW1Nb2RpZmllZAQCAAAAAAAfQXBsb3Jpcy5CYXNlLk9iamVjdHMuTGluZUZvcm1hdAMAAAAICAgBAQMAAAAJiwMAAAoAAAAA////AA4AAAAAAAU1BAAAGkFwbG9yaXMuQmFzZS5PYmplY3RzLkNvbG9yBwAAABJEYXRhT2JqZWN0K21QYXJlbnQVRGF0YU9iamVjdCttQ29udGFpbmVyBW1UeXBlBG1SR0IQbVRoZW1lQ29sb3JJbmRleAxtQXV0b1VwZGF0ZWQJbU1vZGlmaWVkBAIAAAAAAB9BcGxvcmlzLkJhc2UuT2JqZWN0cy5MaW5lRm9ybWF0AwAAAAgICAEBAwAAAAmLAwAACgEAAAAAAAAA/////wABATYEAAByAAAACgoAAAAAcoSMAAYAAAAAAAE3BAAAcgAAAAoKAQAAAP///wD/////AAAPOAQAAAEAAAAIAgAAAAE5BAAAcgAAAAoKAAAAAP///wAOAAAAAAABOgQAAHIAAAAKCgAAAAD///8ADgAAAAABBzsEAAAAAQAAAAQAAAAEHUFwbG9yaXMuQmFzZS5PYmplY3RzLlZhcmlhYmxlAwAAAAFxBAAAegIAAAEAAAAAAAAAAXIEAAB6AgAAAAAAAAAAAAABcwQAAHoCAAAAAAAAAAAAAAF0BAAAegIAAAAAAAAAAAAADzwEAAABAAAACCAAAAAFPQQAABpBcGxvcmlzLkJhc2UuT2JqZWN0cy5Db2xvcgcAAAASRGF0YU9iamVjdCttUGFyZW50FURhdGFPYmplY3QrbUNvbnRhaW5lcgVtVHlwZQRtUkdCEG1UaGVtZUNvbG9ySW5kZXgMbUF1dG9VcGRhdGVkCW1Nb2RpZmllZAQCAAAAAAAfQXBsb3Jpcy5CYXNlLk9iamVjdHMuTGluZUZvcm1hdAMAAAAICAgBAQMAAAAJqAMAAAoAAAAA////AA4AAAAAAAU+BAAAGkFwbG9yaXMuQmFzZS5PYmplY3RzLkNvbG9yBwAAABJEYXRhT2JqZWN0K21QYXJlbnQVRGF0YU9iamVjdCttQ29udGFpbmVyBW1UeXBlBG1SR0IQbVRoZW1lQ29sb3JJbmRleAxtQXV0b1VwZGF0ZWQJbU1vZGlmaWVkBAIAAAAAAB9BcGxvcmlzLkJhc2UuT2JqZWN0cy5MaW5lRm9ybWF0AwAAAAgICAEBAwAAAAmoAwAACgEAAAAAAAAA/////wABAT8EAAByAAAACgoAAAAAcoSMAAYAAAAAAAFABAAAcgAAAAoKAQAAAP///wD/////AAAPQQQAAAEAAAAIAQAAAAFCBAAAcgAAAAoKAAAAAP///wAOAAAAAAABQwQAAHIAAAAKCgAAAAD///8ADgAAAAABB0QEAAAAAQAAAAQAAAAEHUFwbG9yaXMuQmFzZS5PYmplY3RzLlZhcmlhYmxlAwAAAAF1BAAAegIAAAEAAAAAAAAAAXYEAAB6AgAAAAAAAAAAAAABdwQAAHoCAAAAAAAAAAAAAAF4BAAAegIAAAAAAAAAAAAAD0UEAAABAAAACCQAAAAFRgQAABpBcGxvcmlzLkJhc2UuT2JqZWN0cy5Db2xvcgcAAAASRGF0YU9iamVjdCttUGFyZW50FURhdGFPYmplY3QrbUNvbnRhaW5lcgVtVHlwZQRtUkdCEG1UaGVtZUNvbG9ySW5kZXgMbUF1dG9VcGRhdGVkCW1Nb2RpZmllZAQCAAAAAAAfQXBsb3Jpcy5CYXNlLk9iamVjdHMuTGluZUZvcm1hdAMAAAAICAgBAQMAAAAJxQMAAAoAAAAA////AA4AAAAAAAVHBAAAGkFwbG9yaXMuQmFzZS5PYmplY3RzLkNvbG9yBwAAABJEYXRhT2JqZWN0K21QYXJlbnQVRGF0YU9iamVjdCttQ29udGFpbmVyBW1UeXBlBG1SR0IQbVRoZW1lQ29sb3JJbmRleAxtQXV0b1VwZGF0ZWQJbU1vZGlmaWVkBAIAAAAAAB9BcGxvcmlzLkJhc2UuT2JqZWN0cy5MaW5lRm9ybWF0AwAAAAgICAEBAwAAAAnFAwAACgEAAAAAAAAA/////wABAUgEAAByAAAACgoAAAAA7SElAAcAAAAAAAFJBAAAcgAAAAoKAQAAAP///wD/////AAAPSgQAAAEAAAAIBgAAAAFLBAAAcgAAAAoKAAAAAP///wAOAAAAAAABTAQAAHIAAAAKCgAAAAD///8ADgAAAAABB00EAAAAAQAAAAQAAAAEHUFwbG9yaXMuQmFzZS5PYmplY3RzLlZhcmlhYmxlAwAAAAF5BAAAegIAAAEAAAAAAAAAAXoEAAB6AgAAAAAAAAAAAAABewQAAHoCAAAAAAAAAAAAAAF8BAAAegIAAAAAAAAAAAAAD04EAAABAAAACCUAAAAFTwQAABpBcGxvcmlzLkJhc2UuT2JqZWN0cy5Db2xvcgcAAAASRGF0YU9iamVjdCttUGFyZW50FURhdGFPYmplY3QrbUNvbnRhaW5lcgVtVHlwZQRtUkdCEG1UaGVtZUNvbG9ySW5kZXgMbUF1dG9VcGRhdGVkCW1Nb2RpZmllZAQCAAAAAAAfQXBsb3Jpcy5CYXNlLk9iamVjdHMuTGluZUZvcm1hdAMAAAAICAgBAQMAAAAJ4gMAAAoAAAAA////AA4AAAAAAAVQBAAAGkFwbG9yaXMuQmFzZS5PYmplY3RzLkNvbG9yBwAAABJEYXRhT2JqZWN0K21QYXJlbnQVRGF0YU9iamVjdCttQ29udGFpbmVyBW1UeXBlBG1SR0IQbVRoZW1lQ29sb3JJbmRleAxtQXV0b1VwZGF0ZWQJbU1vZGlmaWVkBAIAAAAAAB9BcGxvcmlzLkJhc2UuT2JqZWN0cy5MaW5lRm9ybWF0AwAAAAgICAEBAwAAAAniAwAACgEAAAAAAAAA/////wABAVEEAAByAAAACgoAAAAA7SElAAcAAAAAAAFSBAAAcgAAAAoKAQAAAP///wD/////AAAPUwQAAAEAAAAIBAAAAAFUBAAAcgAAAAoKAAAAAP///wAOAAAAAAABVQQAAHIAAAAKCgAAAAD///8ADgAAAAABB1YEAAAAAQAAAAQAAAAEHUFwbG9yaXMuQmFzZS5PYmplY3RzLlZhcmlhYmxlAwAAAAF9BAAAegIAAAEAAAAAAAAAAX4EAAB6AgAAAAAAAAAAAAABfwQAAHoCAAAAAAAAAAAAAAGABAAAegIAAAAAAAAAAAAAD1cEAAABAAAACCYAAAAFWAQAABpBcGxvcmlzLkJhc2UuT2JqZWN0cy5Db2xvcgcAAAASRGF0YU9iamVjdCttUGFyZW50FURhdGFPYmplY3QrbUNvbnRhaW5lcgVtVHlwZQRtUkdCEG1UaGVtZUNvbG9ySW5kZXgMbUF1dG9VcGRhdGVkCW1Nb2RpZmllZAQCAAAAAAAfQXBsb3Jpcy5CYXNlLk9iamVjdHMuTGluZUZvcm1hdAMAAAAICAgBAQMAAAAJ/wMAAAoAAAAA////AA4AAAAAAAVZBAAAGkFwbG9yaXMuQmFzZS5PYmplY3RzLkNvbG9yBwAAABJEYXRhT2JqZWN0K21QYXJlbnQVRGF0YU9iamVjdCttQ29udGFpbmVyBW1UeXBlBG1SR0IQbVRoZW1lQ29sb3JJbmRleAxtQXV0b1VwZGF0ZWQJbU1vZGlmaWVkBAIAAAAAAB9BcGxvcmlzLkJhc2UuT2JqZWN0cy5MaW5lRm9ybWF0AwAAAAgICAEBAwAAAAn/AwAACgEAAAAAAAAA/////wABAVoEAAByAAAACgoAAAAA7SElAAcAAAAAAAFbBAAAcgAAAAoKAQAAAP///wD/////AAAPXAQAAAEAAAAIBQAAAAs=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4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5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6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8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9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9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5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6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7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8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79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8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8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18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1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0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0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1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2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3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4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5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6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7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8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2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17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2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3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4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5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6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7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8RJi/1uZYXpG9Md.38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9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9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EAAAAABRMAAAAYQXBsb3Jpcy5DaGFydC5TZXJpZXNUeXBlAQAAAAd2YWx1ZV9fAAgCAAAAAAAAAAkUAAAAAAAFFQAAABlTeXN0ZW0uRHJhd2luZy5SZWN0YW5nbGVGBAAAAAF4AXkFd2lkdGgGaGVpZ2h0AAAAAAsLCwsEAAAA//9/////f////3////9//wEWAAAAFQAAAP//f////3////9/////f/8AAAAAAAUXAAAALEFwbG9yaXMuQ2hhcnQuQXhpc0JyZWFrK0F4aXNCcmVha0Rpc3BsYXlNb2RlAQAAAAd2YWx1ZV9fAAgCAAAAAQAAAAEBAQoKCRgAAAAKCgAAAAAACRkAAAAKCRoAAAADAAAACgUbAAAAGUFwbG9yaXMuQ2hhcnQuT3JpZW50YXRpb24BAAAAB3ZhbHVlX18ACAIAAAABAAAACRwAAAABHQAAABUAAAAvEjFCDGWHQdIeF0Tk8IxDAAQeAAAAC1N5c3RlbS5HdWlkCwAAAAJfYQJfYgJfYwJfZAJfZQJfZgJfZwJfaAJfaQJfagJfawAAAAAAAAAAAAAACAcHAgICAgICAgIAAAAAAAAAAAAAAAAAAAAAAAoKCR8AAAAACgoKAQAAAAAAAAD/////AQEBIAAAABUAAAD//x9B//8fQfkgF0RiJ6ZDzuG5QW6wHEP15yREp9q2QwUhAAAAFVN5c3RlbS5EcmF3aW5nLlBvaW50RgIAAAABeAF5AAALCwQAAAAn0AdEyBG3QwYiAAAAEHlWY3UrWkZwTzBDT3owdnk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i4wLjE5MDgsIEN1bHR1cmU9bmV1dHJhbCwgUHVibGljS2V5VG9rZW49MTZmYzEzYTIyNmMwZTk1MV1dAwAAAJsBQXBsb3Jpcy5CYXNlLk9iamVjdHMuRGF0YU9iamVjdENvbGxlY3Rpb25gMVtbQXBsb3Jpcy5DaGFydC5BeGlzQnJlYWssIEFwbG9yaXMuQ2hhcnQsIFZlcnNpb249NC4yLjAuMTkwOC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yLjAuMTkwOC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UnAAAAFkFwbG9yaXMuQ2hhcnQuQXhpc1R5cGUBAAAAB3ZhbHVlX18ACAIAAAABAAAAmpkZPwAAAAoJAQAAAAkoAAAACSkAAAABAAAAAAAAAAABAAAAAAAA8D8BmpmZmZmZuT8AAAAgQQABCSoAAAAKCSsAAAAJLAAAAAktAAAAAS4AAAAhAAAALxIxQjVnlUMBLwAAACEAAAD1LyJENWeVQwkwAAAACTEAAAAJMgAAAAkzAAAAAAAAAAAAAAAAAAAACTQAAAAAAAAAAAAJNQAAAAkBAAAACQEAAAAJNgAAAAEHAAAABgAAAAkBAAAAATcAAAAnAAAAAAAAAM3MTD8AAAAIAQAJAQAAAAk4AAAACTkAAAABAAAAAAAAAAAAAAAAAAAA8D8AmpmZmZmZyT8AAAAgQQABCToAAAAKCTsAAAAJPAAAAAk9AAAAAT4AAAAhAAAALxIxQjVnlUMBPwAAACEAAAAvEjFCDGWHQQlAAAAACUEAAAAJQgAAAAlDAAAAAAAAAAAAAAAAAAAACUQAAAAAAAAAAAAJRQAAAAkBAAAACQEAAAAJRgAAAAQIAAAAqAFTeXN0ZW0uQ29sbGVjdGlvbnMuR2VuZXJpYy5MaXN0YDFbW0FwbG9yaXMuQ2hhcnQuQ29sdW1uT3JpZW50ZWRDaGFydCtVbnVzZWRTZXJpZXMsIEFwbG9yaXMuQ2hhcnQsIFZlcnNpb249NC4yLjAuMTkwOC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i4wLjE5MDg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yLjAuMTkwOCwgQ3VsdHVyZT1uZXV0cmFsLCBQdWJsaWNLZXlUb2tlbj0xNmZjMTNhMjI2YzBlOTUxXV0DAAAAlwFTeXN0ZW0uQ29sbGVjdGlvbnMuR2VuZXJpYy5MaXN0YDFbW0FwbG9yaXMuQ2hhcnQuQ2hhcnR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gAAAAJSQAAAAkBAAAACQEAAAAJSgAAAAUKAAAApgFBcGxvcmlzLkJhc2UuT2JqZWN0cy5EYXRhT2JqZWN0Q29sbGVjdGlvbmAxW1tBcGxvcmlzLkNoYXJ0LkFubm90YXRpb25EYXRhU2VyaWVzLCBBcGxvcmlzLkNoYXJ0LCBWZXJzaW9uPTQuMi4wLjE5MDg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IuMC4xOTA4LCBDdWx0dXJlPW5ldXRyYWwsIFB1YmxpY0tleVRva2VuPTE2ZmMxM2EyMjZjMGU5NTFdXQMAAACcAVN5c3RlbS5Db2xsZWN0aW9ucy5HZW5lcmljLkxpc3RgMVtbQXBsb3Jpcy5DaGFydC5Bbm5vdGF0aW9uRGF0YVNlcmllc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LAAAACUwAAAAJAQAAAAkBAAAACU0AAAAFCwAAAKEBQXBsb3Jpcy5CYXNlLk9iamVjdHMuRGF0YU9iamVjdENvbGxlY3Rpb25gMVtbQXBsb3Jpcy5DaGFydC5Bbm5vdGF0aW9uR3JvdXA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IuMC4xOTA4LCBDdWx0dXJlPW5ldXRyYWwsIFB1YmxpY0tleVRva2VuPTE2ZmMxM2EyMjZjMGU5NTFdXQMAAACXAVN5c3RlbS5Db2xsZWN0aW9ucy5HZW5lcmljLkxpc3RgMVtbQXBsb3Jpcy5DaGFydC5Bbm5vdGF0aW9u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TgAAAAlPAAAACQEAAAAJAQAAAAlQAAAABQwAAACgAUFwbG9yaXMuQmFzZS5PYmplY3RzLkRhdGFPYmplY3RDb2xsZWN0aW9uYDFbW0FwbG9yaXMuQ2hhcnQuQ2hhcnREYXRhR3JvdXAsIEFwbG9yaXMuQ2hhcnQsIFZlcnNpb249NC4yLjAuMTkwOC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i4wLjE5MDgsIEN1bHR1cmU9bmV1dHJhbCwgUHVibGljS2V5VG9rZW49MTZmYzEzYTIyNmMwZTk1MV1dAwAAAJYBU3lzdGVtLkNvbGxlY3Rpb25zLkdlbmVyaWMuTGlzdGAxW1tBcGxvcmlzLkNoYXJ0LkNoYXJ0RGF0YUdyb3Vw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EAAAAJUgAAAAkBAAAACQEAAAAJUwAAAAUNAAAAmgFBcGxvcmlzLkJhc2UuT2JqZWN0cy5EYXRhT2JqZWN0Q29sbGVjdGlvbmAxW1tBcGxvcmlzLkNoYXJ0LkRlbHRhQmFy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IuMC4xOTA4LCBDdWx0dXJlPW5ldXRyYWwsIFB1YmxpY0tleVRva2VuPTE2ZmMxM2EyMjZjMGU5NTFdXQMAAACQAVN5c3RlbS5Db2xsZWN0aW9ucy5HZW5lcmljLkxpc3RgMVtbQXBsb3Jpcy5DaGFydC5EZWx0YUJh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UAAAACVUAAAAJAQAAAAkBAAAACVYAAAAFDgAAAJ0BQXBsb3Jpcy5CYXNlLk9iamVjdHMuRGF0YU9iamVjdENvbGxlY3Rpb25gMVtbQXBsb3Jpcy5DaGFydC5EZWx0YUJyaWRnZS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yLjAuMTkwOCwgQ3VsdHVyZT1uZXV0cmFsLCBQdWJsaWNLZXlUb2tlbj0xNmZjMTNhMjI2YzBlOTUxXV0DAAAAkwFTeXN0ZW0uQ29sbGVjdGlvbnMuR2VuZXJpYy5MaXN0YDFbW0FwbG9yaXMuQ2hhcnQuRGVsdGFCcmlkZ2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VwAAAAlYAAAACQEAAAAJAQAAAAlZAAAABQ8AAACdAUFwbG9yaXMuQmFzZS5PYmplY3RzLkRhdGFPYmplY3RDb2xsZWN0aW9uYDFbW0FwbG9yaXMuQ2hhcnQuR3Jvd3RoQXJyb3csIEFwbG9yaXMuQ2hhcnQsIFZlcnNpb249NC4yLjAuMTkwOC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i4wLjE5MDgsIEN1bHR1cmU9bmV1dHJhbCwgUHVibGljS2V5VG9rZW49MTZmYzEzYTIyNmMwZTk1MV1dAwAAAJMBU3lzdGVtLkNvbGxlY3Rpb25zLkdlbmVyaWMuTGlzdGAxW1tBcGxvcmlzLkNoYXJ0Lkdyb3d0aEFycm93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oAAAAJWwAAAAkBAAAACQEAAAAJXAAAAAUQAAAApAFBcGxvcmlzLkJhc2UuT2JqZWN0cy5EYXRhT2JqZWN0Q29sbGVjdGlvbmAxW1tBcGxvcmlzLkNoYXJ0LldhdGVyZmFsbENvbm5lY3RvciwgQXBsb3Jpcy5DaGFydCwgVmVyc2lvbj00LjIuMC4xOTA4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i4wLjE5MDgsIEN1bHR1cmU9bmV1dHJhbCwgUHVibGljS2V5VG9rZW49MTZmYzEzYTIyNmMwZTk1MV1dAwAAAJoBU3lzdGVtLkNvbGxlY3Rpb25zLkdlbmVyaWMuTGlzdGAxW1tBcGxvcmlzLkNoYXJ0LldhdGVyZmFsb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dAAAACV4AAAAJAQAAAAkBAAAACV8AAAAFEQAAAKIBQXBsb3Jpcy5CYXNlLk9iamVjdHMuRGF0YU9iamVjdENvbGxlY3Rpb25gMVtbQXBsb3Jpcy5DaGFydC5FbGVtZW50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i4wLjE5MDgsIEN1bHR1cmU9bmV1dHJhbCwgUHVibGljS2V5VG9rZW49MTZmYzEzYTIyNmMwZTk1MV1dAwAAAJgBU3lzdGVtLkNvbGxlY3Rpb25zLkdlbmVyaWMuTGlzdGAxW1tBcGxvcmlzLkNoYXJ0LkVsZW1lbnRDb25uZWN0b3I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IuMC4xOTA4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CWMAAAAJAQAAAAEBZAAAABUAAAC0F9RCAICjQxCY8ENwquFBCWUAAAAE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DAAAABBhBcGxvcmlzLkNoYXJ0LkF4aXNOdW1iZXICAAAABW0AAAAYQXBsb3Jpcy5DaGFydC5BeGlzTnVtYmVyAQAAAAd2YWx1ZV9fAAgCAAAAAAAAAAFuAAAAbQAAAAAAAAABbwAAAG0AAAAAAAAADxoAAAAEAAAACAEAAAACAAAAAwAAAAQAAAAFHA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XAAAAAhAAAALxIxQgxlh0EBcQAAACEAAAD1LyJENWeVQwlyAAAACXMAAAAAAAAACgV0AAAAFFN5c3RlbS5EcmF3aW5nLlNpemVGAgAAAAV3aWR0aAZoZWlnaHQAAAsLBAAAAAAAAAAAAAAAAXUAAAB0AAAAAAAAAAAAAAAAAAAAAXYAAAAVAAAAAAAAAAAAAAAAAAAAAAAAABQAAAD/////AQEKCXcAAAABAAoBDx8AAADOJwAAAlBLAwQUAAYACAAAACEAkleNNXI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8MwDL4j8R+qXFGbjQNCaN0ODI4wifEDQuKu0ZqH4uz173GzDSE0WtB2adQk38N27NFka5psDQG1syUbFgOWgZVOabso2fv8Ob9nGUZhlWichZLtANlkfH01mu88YEZoiyWrY/QPnKOswQgsnAdLJ5ULRkT6DQvuhVyKBfDbweCOS2cj2JjHloONR1OoxKqJ2dOWtvdOCM6yx/29VqpkwvtGSxHJKG9P+UncuhO3tuqHudxVlZagnFwZslQQfhrEhsL/RSBAgx3OTigcQi8ImdxjrT3eHEJ4pdwHrSCbiRBfhKFA+bbhGxeWH84ti+489MeDPoBQWANE0xRpLYzQ9g/66TLytAwvbKSNLxH3+Ij0oICn7/kWEk2PIMZdA3jptCfSPuVaBFBvMdDbu7iB79w9PqQzbSfgpUt+5O2SpzacBeeRJkSA/xfh2GktOvdEBCFq6Oy1L0UaL2dXHdr5pUCd0OZpXo4/AQAA//8DAFBLAwQUAAYACAAAACEAUHxOwfM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0oDMRCH74LvEObenW0FEWm2FxF6E6kPMCazf9hNJiRRt29vEBQXavXgMTOTb778yHY3u0m9ckyDeA3rqgbF3ogdfKfh6XC/ugGVMnlLk3jWcOQEu+byYvvIE+VyKfVDSKpQfNLQ5xxuEZPp2VGqJLAvnVaio1yOscNAZqSOcVPX1xi/M6BZMNXeaoh7uwZ1OIay+Xe2tO1g+E7Mi2OfT6zA5UQhU+w4a5gnfJM4PouMVREGPO2y+bvLz+9Ex5ksZUIjkVchlpRiHkquXzpWzEMpp4+Jc0JX/xkOz5m9ZXteiUL4NMLFH2jeAQAA//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/uTt5/JoE2hdJdcDJ+Ev+8noe3uZxzEFybqg1dQFSUI9CbY3ncKPprXuycQxNpbPQSPCiYk2NW3N9s3HDTnT+T6SCK7eFLgmOOzlGQcjpqKENHnThvSqDnL1MmozUF3KDdl+SjT0gPqM0+xtwrS3t6DaKaYk//3Dm3bG3wJ5nNEzxciJPE05AFEo1OHrOBPF5kR5OX4h1XjnU5o3znl7S4pluVrMNWaMN8hHcgh8mkdxxLJuVNdg9msCcP5YPAEMks5v0cGeXZx9S8AAAD//wMAUEsDBBQABgAIAAAAIQB+AsJ+owIAAEkFAAAPAAAAeGwvd29ya2Jvb2sueG1spFRdb5swFH2ftP+AeCcGYwiJklRpPrRI01RNXfs4OcYEq/6gtmnSTfvvu8DSdutLt/GAfW1zfO459zK7OCkZPHDrhNHzMBnFYcA1M6XQh3n45XobFWHgPNUllUbzefjIXXixeP9udjT2bm/MXQAA2s3D2vtmipBjNVfUjUzDNexUxirqIbQH5BrLaelqzr2SCMdxjhQVOhwQpvYtGKaqBONrw1rFtR9ALJfUA31Xi8ad0RR7C5yi9q5tImZUAxB7IYV/7EHDQLHp7qCNpXsJaZ+S7IwM01fQSjBrnKn8CKDQQPJVvkmMkmRIeTGrhOQ3g+wBbZpPVHW3yDCQ1PlNKTwv52EOoTny5wUgYdvmshUSdnGRxTgM0OLJiyvbRcB8KT23mnq+MtqDUL8k/l9ReuxVbcCC4DO/b4Xl4HynzWIGb8qmdO+uqK+D1sp5iB6oRZWRJeSJ7o8I1xNcf2MlTpPUJuWDJ7rRX+Mihueg0TXyqiGEjCta4RHM0QvJ6Ws//0J0ynqdEEgz0F/MuvmfMi1mXUXfCH50z6J2YXC6Fbo0R+iQuCigRx7PMckhOvabt6L0NZyYZORp7QMXh9rDIskxLII76MUVfS/AVf0Y6L4Glo00Vrg19RQ6r2uWHXidgPFTARO7K2He4Zw/ZlQyML4b+pMkyzEcYUaz1lowfwU783C4nZ/8R+cXMxjBIzEPv48n24xMxnmUrJdZRPKkiC4TMo7Iar0hl5MsXabFj2cjyL/VfjxBk3PpnxIyPf89gHjJK9pKv1P0wNcNUErxOB8POQLN37hmON1k6zTC2TaNltkmjpI8xVFOtjgjK4xJhp+4qtPbqCrKED8x3v+SijNJdZouLat362Ar6QGqfOg0OAmMuncvIzrnsfgJAAD//wMAUEsDBBQABgAIAAAAIQBTXiLq8QAAAGsBAAAUAAAAeGwvc2hhcmVkU3RyaW5ncy54bWxkkE1LBDEMhu+C/yH04M3t6GER7XRZhvWmiB8/IEyzM2XbdLZpF/33jqgg4/HN8+QlxGzeY4ATZfGJW3W1ahQQ98l5Hlr19np/eaNACrLDkJha9UGiNvb8zIgUmHdZWjWWMt1qLf1IEWWVJuKZ7FOOWOaYBy1TJnQyEpUY9HXTrHVEzwr6VLm0aq2gsj9W6n6zNeKtKbYbqT/AjgfPZHSxRn/Nv9kz7SuF+dIl6FAoJHTwgIwDReKyVLY9Ooq+h6eAzHMHXGCc7mBbnf8vB8pFfowXPzAGWRbujtVPEzl4xJMfSsp/DD0/y34CAAD//wMAUEsDBBQABgAIAAAAIQDnZXW41gAAALgBAAAjAAAAeGwvd29ya3NoZWV0cy9fcmVscy9zaGVldDEueG1sLnJlbHOskMlqAzEMQO+F/oPRPdZMDqGUeHIJhVxD+gHC1ix0vGC5afL3dSiFDAR66VHb05O2u4uf1ZmzTDEYaHUDioONbgqDgffT2+oFlBQKjuYY2MCVBXbd89P2yDOVOiTjlERVShADYynpFVHsyJ5Ex8ShVvqYPZUa5gET2Q8aGNdNs8F8z4BuwVQHZyAfXAvqdE1189/s2PeT5X20n55DebACz37eZ/qqx1Uq5YGLAa3R/eTkrt7q2gv42Gn9n042+puuLIx+k62u/7tp4OLf3TcAAAD//wMAUEsDBBQABgAIAAAAIQDcBge+egYAANkbAAATAAAAeGwvdGhlbWUvdGhlbWUxLnhtbOxZy24bNxTdF+g/ELNPrKdjGZEDS5bsNnZi2EraLKkRNcOIMxyQlB3t+gUFCqRFNwW666KbAO03pWjTj+glOZJIi/IjdtBXbMCWOIf3Xt7H4SXn4aNXGUNnREjK83ZUvV+JEMljPqJ50o6eDfr3tiIkFc5HmPGctKMZkdGjnU8/eYi3VUoygmB+LrdxO0qVKrY3NmQMw1je5wXJ4dmYiwwr+CqSjZHA5yA3Yxu1SmVzI8M0j1COMxD7dDymMUEDLTLamQvvMfiaK6kHYiZOtWjizTDY0aSqEXImu0ygM8zaEegZ8fMBeaUixLBU8KAdVcxPtLHzcANvl5OYWjPXmdc3P+W8csJoUjM6RTJcKK32G60Hewv5BsDUKq7X63V71YU8A8BxDCu1trgyG/2tamcu0wHZj6uyu5VmpeHjHfn1FZtbnU6n2SptsUINyH5srOC3KpuN3ZqHNyCLb67gG53dbnfTwxuQxW+u4PsPWpsNH29AKaP5ZAWtA9rvl9IXkDFnB0H4FsC3KiV8iYJsWGSXVjHmuVqXaxl+yUUfABrIsKI5UrOCjHEMWdzF2VBQHKEC51zCQKVW6Vfq8Ff/NsynhlaPtwl25tmhWK4MaUuQjAUtVDv6HKRGDuTFFO1zldIYHdIkVVaIN+MA54k7491P3/z5w1foj19+fPf62zBeuvg9kidfUpxfpgAKbOmAt9+9+e3XN2+///r3n18H5O8KPHThA5oRiZ6Qc3TCM1ic8Yy/AjIUN5sxSDH1ZuAUZAdE98B1LvDJDLMQrgNOcHHPBXBLCLg/fenZepqKqaIBzY/TzAMecc46XAQd8Fjrcjw8mOZJWLmYurgTjM9Curs490LcmxZAqpCzq77vpsQz85jhXOGE5EQh/YxPCAlMe0Gp59cjGgsu+VihFxR1MA26ZECHXiItJx3QDOIyCxkIofZ8c/QcdTgLrXqPnPlIKAzMAsYPCPPcuI+nCmchkQOcMdfhh1ilISNPZyJ2cT2pINIJYRz1RkTK0JynAtbrBP0xBjoLhv2IzTIfKRSdhGQeYs692uaTboqzImgzzVMX+5mcQIpidMxVCH7E/QrR3yEOwBvrwv2cEi/cVxPBM6A416RlgugnUxGI5T7hfj3O2BgTwzLA+B6RZzS/jNUZBVq/wOrND83qH5DPw6Jvw+S7sO2F6ungAn+vw/0LWXsPT/NjAoWyypwfSfsjaUf/edJeV8t3T9VLdgbiXnbnplfP1rbqY8rYqZoxcihNty5hTxr1YdAcI8xZcnF0K1L4WB4MPFwisJmDBFdfUJWepriAxr5qDp6JLEUnEhVcQr9vhs0RmFyQbQ61FNp5cz5t6pOLZQ6J1REf2eG6e0JdiDHn1cScgueK6lrAdZXVH9xOWdVatdZt/tKqxjRDit7SFkuGGK4uDQYX3oRmB0GLBF7ehIsCbTucgTAjI+13e3qfh0WrvtMQyRSPSBkjve7VGFVNkOa5Mk+jQIz0afOKGDnaWlrsLbRdJ0iuusYadfPo3SZK8yP2Mkq6bi+UI8vd4mQ5Om9HrWatGaEYF+1oDIdr+JgVEHWp+0vMErihipWwaX9lMZt0XUazFU7LKtyXWL+vLNjjgUJItYdlalPDPCpTgOXmKsDYX2uCW+9qATbT38OK+hYkw99mBfjRDy0Zj0ms3GA7I+YuxABKKuVTRcRpOjpHQzYVJxjCr1MV1jOiEm5BDCPoL3Chp71tHvnkXBade41mcHYcsyLFJd3qEp1XsoWbOl7YYL5Za415sLag7WZxN1+KKfk7Woqbxv+zpej9BG4l6iMdgRjukwVGul7bERcq5cBCBdyS9QVcphnugGyBS2F4DEkFt9rmvyBn+r+tOSvDlLW+WTuhCRIU9iOVCkKOgZZM9l0hrFruXVYkKwWZjHLMlYU1e0jOCBtoDtzUe3uEUkh1wyYlDRjcxfzzv5cVNEx0k/NP7XxsMd+0PdDdgW2x7Pxr9iINh/SdraAV3PtMT7Wgg0s29htutZaxVlZca157qy3gbgnulBXkRExFzOwrEr2hDvgJcCuCNx62vUKQ1fds44E0QVp6HELjZAdtMmlRtmEpu9s7b6PgXrzsdBd6oUrfp9O9obMXzZmvzqvFy7vPmzm79LDna7fTDbgaivZiier2aH6QMYEx79bc1198+BICvQcvGqZMSfsK4RXcJMIpw76qgOK3wTVTd/4CAAD//wMAUEsDBBQABgAIAAAAIQANhv+RYAMAACsLAAANAAAAeGwvc3R5bGVzLnhtbMRWW0/bMBR+n7T/EPm9pC3l0ioJWgvRkBhCgkl7dRIntfAlchxoN+2/79hO2rC2FEEl8hL72Oc79+MTXCw4856IqqgUIRoc9ZFHRCozKooQ/XyIe+fIqzQWGWZSkBAtSYUuoq9fgkovGbmfE6I9gBBViOZalxPfr9I54bg6kiURcJJLxbGGrSr8qlQEZ5Vh4swf9vunPsdUIIcw4elbQDhWj3XZSyUvsaYJZVQvLRbyeDq5LoRUOGGg6mIwwmmLbTcb8JymSlYy10cA58s8pynZ1HLsj31AioJcCl15qayFDtEJQBsJk0chn0VsjsCBza0oqH57T5gBZYA8PwpSyaTyNLgGNHMkgTlxd2aY0URRezHHnLKlow8txTq0uckpmGepvlHGqRQFiRHRShx3BFKRkQXJQnT+v8wHPJcc7xD5Arzugm81B5IG5B/Qnv0iD+7CrfFSRRKiOO7b73BGWvdWEDzKWCefHCEKIK81USKGU69ZPyxLyBsBJdgEH872Xi8UXg6GkKcQHN/I2stRSUYzk8LFzOZrY38cz64anKQ5WSXW6cjhd5T+sLSrs3FsUT9H2mbU/W3WWZdCFBOpMmigbV8wLcCRooCRXBvvK1rM7ULL0uwTqbXkZpVRXEiBmY1Ry+Y3kNA2CGP3ptP+ylcCjkHAIvdEzWOur6G2ofxMM2iXEOhm6WCaDQjbxQV9xqTHNi5clmx5W/OEqNh2civOUk1+rndT64X1/hujheDEdErQzzLcKalJqu1L41rGLoWOP0shv+tw5/6O50/f5/lFvj8EJoY7QnAo9k7QXPd8QxJBZrxIopUu7wGDqH4QDHpN6yVYvgYG9WDf2Q09bYQhpp3aelFZqwTwzHsG3V8yJp9J5n2HFqwYFY/w7tuAGt/UlGkqTHjh1Z3TLCNminIPcFu6DdAGP1zr8MOc9Tr/rSk/1gqHfOkwu2paJy9Yly3WHcMdazMW2WayMhgOMpLjmumH1WGI1usfJKM1B0ObW3f0SWoLEaL1+sZ0t8GptZos9E0Fcwn8vVrREP25mp6NL6/iYe+8Pz3vjY7JSW98Mr3snYxm08vLeNwf9md/O2PaB4Y0O0xCmxuMJhWDUU411jba369pIepsnP7uGQO94flqrfDXU270DwAA//8DAFBLAwQUAAYACAAAACEAB6LRQrQCAAAFBwAAGAAAAHhsL3dvcmtzaGVldHMvc2hlZXQxLnhtbIxVy27jIBTdjzT/gNjXj8RpEytO1SaqpouRRvNcE4xtVGw8QF5/PxdoXNvpVMnCwXA495zLvXh5f6wF2jOluWwyHAcRRqyhMudNmeFfP59u5hhpQ5qcCNmwDJ+Yxverz5+WB6ledMWYQcDQ6AxXxrRpGGpasZroQLasgZVCqpoYeFVlqFvFSO421SKcRNFtWBPeYM+Qqms4ZFFwyjaS7mrWGE+imCAG9OuKt/rMdsyv4ssVOYDXs56exI1f6fji5EJfzamSWhYmoLIOvbRLl4twMfBZ02uM1kS97NobIG7B3JYLbk7OLkY1TZ/LRiqyFXAixzghtKeSXNJfrxOYVsucQ25tQSDFigw/xOkmwShcLd3R/ebsoHtjZMj2BxOMGpZDBWFkK2Mr5YsFPsNUBJTaASwloYbv2ZoJkeH1AorrrwtihxAh7EL0x+dwT66Yvim0JZqtpfjDc1NBTCjanBVkJ8zb5DyYTyfRNJ7MusXv8vCF8bIysAVmXeLS/LRhmkItgdBg4kRQKSAiPFHNbVNAxsnRW/MB+9zanOwp+ASFfqszsSGGrJZKHhAUInDoltg2iVOAwv8UI7rTRtbelIO8qwiUWIYHS5HhV4V25tHPAB1o15Dk/Wq6DPeQOPq6Z32JSIaIjUdANjqOSYcIQXznAAL3HXwo1WJdSjrSaBj20SNiJzoKbhfJov+bjWwM0ZPbkYfRcvy2PnAAGb/agcUOHcQjBx5xdjAfSx4uJ/FsYHA+cjBET+O798/AVk6vij48A19l/eIYSXz0iM7BSOLY0BA9i8aFNFxP5vF/DPsj8X3uW6QlJftKVMkbjQQrXCPeYaR8p0YBjI1sbXveQZ1upYGmOb9V8EFh0AtRACkspDTdC1wmgpWEnl7vcaRSDpeRes6h5O1N033AVv8AAAD//wMAUEsDBBQABgAIAAAAIQA4N8chkwIAADwHAAAbAAAAeGwvZHJhd2luZ3Mvdm1sRHJhd2luZzEudm1s7FXLbtswELwX6D8QzMEXG3o0SQNGMhCkyK0t0KTtMaAl2mJCcgVxLcv5+i4lObaLtAjaQy8VTInaHS53hiM466xhNJwXbc7XjRO+qJSVfmZ10YCHJc4KsKK1hr99MyLhd0hYLnWhxPDYr+lesUZ1hTrYxlJHFWItosjK4ps1t31rXxvN59RLBsJXslZGbmGNrBWqw5yrUmOfDnldWlkfZVgpUeY84VFfIjqqMc/aoSRua8V0mfP7LqbrHtM45awAaEqvn1TO0+Q8jqf9nTOqUdPOAUNtsVpilXMbT2MzQgbg0T3u1NglbYkNPCr2ANp53BoqbzWqZmiRUU+hIls1stTKYc8ZHnOOYecCnFMFhoZz3tBsR+yAyTOtQ0o+idMzzoaFJ0c8hyYmNXiNGpyQCw9mjeoysLOyWWk3M2qJ4vyixssxgFCLJKb3jS6xEkl6SvNK6VWFIg3xp5l2pepE0pdptdcLbTRuRaXLUrlL62G2aWQ967cXGFZO2FIbU4CBJucnS7pUEliTUAotlMRZrhGelQxoOiaCp3t8f9JBRlKuhA0DN2i38MW6UXTIo2bPSv+kqgOn9meB5LIFdGwUKXRd6iA8KTWTBkVoaBLMxVhW6nYHDOsor1dOBO0m8yyibI/LolaMZYf3TlybcNQfyKvs8+KBqt/1B/wJcLQNyzrxEVr1XWN1rYzxA8sQviWHvhC+ckUFzdAYS6YsOZuymB403tGPRkqBLOrEIZLqXRGhGxJ2fiONVz1gFxlYduILbOZJyITJLnhNprFu3pcc5yEVYHt6w1c4mvWXRr34S6MmaXLs1PQVRk3/G/XfG5U8ORqVZqeDT8m87//cp70fX/Bp79/X+jSiv8z5DwAAAP//AwBQSwMEFAAGAAgAAAAhAE9dmDQ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/Q8h7m3TDzYW2A5U9ORTcUHwLye0WbP6QRLt9e7Nu1sl8vJxzf5xzbznf6RZ9gQ/KmgoXOcUIjLBSmU2F16tFdotRiNxI3loDFd5DwPP6+qoUjgnr4dlbBz4qCCiRTGDCVXgbo2OEBLEFzUOeHCaJjfWaxzT6DXFcfPANkBGlE6IhcskjJwdg5gYiPiGlGJDu07c9QAoCLWgwMZAiL8ivN4LX4d+FXjlzahX3LnU6xT1nS3EUB/cuqMHYdV3ejfsYKX9B3paPL33VTJnDrQTgupSCCQ88Wl+X5HxIh2t5iMt040aBvNvXSyW8DbaJ6KlplAC0DuBLcmlM0L4D06dllGKxY4kf6XV8/7Ba4HpEi2lGZxktVsWE3UwZnb0fgvwFpGwXj6y/AQAA//8DAFBLAwQUAAYACAAAACEAHSmyMwoBAAAuAgAAEAAAAHhsL2NvbW1lbnRzMS54bWzMUEFqwzAQvBf6B7H3Rk4OJS2WQnsIFHooNH2Aaq1jgSUZ7TY4fX03dtxDX1AQQjOanRm23o2xVycsFHIysF5VoDA12Yd0NPBx2N9tQRG75F2fExo4I8HO3t7UTY4RE5MSg0QGOubhUWtqOoyOVnnAJD9tLtGxwHLUNBR0njpEjr3eVNW9ji4ksLX74i4XWh5K21r/cteg10Bsl1RVsDXwvAY1y168gUqMGEcRFTlvcn1ejOhbnVxv4AEuqMl9LiokjyPKzFYchC37nHiWHVyXo5vY1sXQn2d6MzF6smX7jiUgKY/UlDCwrI5qLcFaQvXcQV9r/6n8JEb/v/JSft75gsj+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H4Cwn6jAgAASQUAAA8AAAAAAAAAAAAAAAAAAgkAAHhsL3dvcmtib29rLnhtbFBLAQItABQABgAIAAAAIQBTXiLq8QAAAGsBAAAUAAAAAAAAAAAAAAAAANILAAB4bC9zaGFyZWRTdHJpbmdzLnhtbFBLAQItABQABgAIAAAAIQDnZXW41gAAALgBAAAjAAAAAAAAAAAAAAAAAPUMAAB4bC93b3Jrc2hlZXRzL19yZWxzL3NoZWV0MS54bWwucmVsc1BLAQItABQABgAIAAAAIQDcBge+egYAANkbAAATAAAAAAAAAAAAAAAAAAwOAAB4bC90aGVtZS90aGVtZTEueG1sUEsBAi0AFAAGAAgAAAAhAA2G/5FgAwAAKwsAAA0AAAAAAAAAAAAAAAAAtxQAAHhsL3N0eWxlcy54bWxQSwECLQAUAAYACAAAACEAB6LRQrQCAAAFBwAAGAAAAAAAAAAAAAAAAABCGAAAeGwvd29ya3NoZWV0cy9zaGVldDEueG1sUEsBAi0AFAAGAAgAAAAhADg3xyGTAgAAPAcAABsAAAAAAAAAAAAAAAAALBsAAHhsL2RyYXdpbmdzL3ZtbERyYXdpbmcxLnZtbFBLAQItABQABgAIAAAAIQBPXZg0OAEAABUCAAARAAAAAAAAAAAAAAAAAPgdAABkb2NQcm9wcy9jb3JlLnhtbFBLAQItABQABgAIAAAAIQAdKbIzCgEAAC4CAAAQAAAAAAAAAAAAAAAAAGcgAAB4bC9jb21tZW50czEueG1sUEsBAi0AFAAGAAgAAAAhAF6k9QCLAQAADQMAABAAAAAAAAAAAAAAAAAAnyEAAGRvY1Byb3BzL2FwcC54bWxQSwUGAAAAAA0ADQBYAwAAYCQ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gAAAAFQXJpYWwGeQAAABbvvK3vvLMg77yw44K044K344OD44KvCXoAAAABAAl7AAAAByQAAAAAAQAAABEAAAAEFFN5c3RlbS5EcmF3aW5nLkNvbG9yBAAAAAV8AAAAFFN5c3RlbS5EcmF3aW5nLkNvbG9yBAAAAAV2YWx1ZQVzdGF0ZQprbm93bkNvbG9yBG5hbWUAAAABCQcHBAAAAAAAAAAAAAAAAAAAAAoBfQAAAHwAAAAAAAD//////wIAAAAKAX4AAAB8AAAA//////////8CAAAACgF/AAAAfAAAAE5BIv//////AgAAAAoBgAAAAHwAAADe3Nv//////wIAAAAKAYEAAAB8AAAAfmk///////8CAAAACgGCAAAAfAAAAIyEcv//////AgAAAAoBgwAAAHwAAAAlIe3//////wIAAAAKAYQAAAB8AAAANDtG//////8CAAAACgGFAAAAfAAAAHSYw///////AgAAAAoBhgAAAHwAAAAelPf//////wIAAAAKAYcAAAB8AAAAHpT3//////8CAAAACgGIAAAAfAAAACUh7f//////AgAAAAoBiQAAAHwAAAAAAAD//////wIAAAAKAYoAAAB8AAAA//////////8CAAAACgGLAAAAfAAAAE5BIv//////AgAAAAoBjAAAAHwAAADe3Nv//////wIAAAAKBCUAAACYAVN5c3RlbS5Db2xsZWN0aW9ucy5HZW5lcmljLkxpc3RgMVtbQXBsb3Jpcy5CYXNlLk9iamVjdHMuRGF0YU9iamVjdCwgQXBsb3Jpcy5CYXNlLCBWZXJzaW9uPTQuMi4wLjE5MDgsIEN1bHR1cmU9bmV1dHJhbCwgUHVibGljS2V5VG9rZW49MTZmYzEzYTIyNmMwZTk1MV1dAwAAAAZfaXRlbXMFX3NpemUIX3ZlcnNpb24EAAAhQXBsb3Jpcy5CYXNlLk9iamVjdHMuRGF0YU9iamVjdFtdAwAAAAgICY0AAAANAAAADQAAAAQmAAAAlQFTeXN0ZW0uQ29sbGVjdGlvbnMuR2VuZXJpYy5MaXN0YDFbW0FwbG9yaXMuQmFzZS5VSS5WaXN1YWxPYmplY3QsIEFwbG9yaXMuQmFzZSwgVmVyc2lvbj00LjIuMC4xOTA4LCBDdWx0dXJlPW5ldXRyYWwsIFB1YmxpY0tleVRva2VuPTE2ZmMxM2EyMjZjMGU5NTFdXQMAAAAGX2l0ZW1zBV9zaXplCF92ZXJzaW9uBAAAHkFwbG9yaXMuQmFzZS5VSS5WaXN1YWxPYmplY3RbXQMAAAAICAmOAAAAAQAAAAEAAAAFKAAAAJsBQXBsb3Jpcy5CYXNlLk9iamVjdHMuRGF0YU9iamVjdENvbGxlY3Rpb25gMVtbQXBsb3Jpcy5DaGFydC5WYWx1ZUxpbmU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A4LCBDdWx0dXJlPW5ldXRyYWwsIFB1YmxpY0tleVRva2VuPTE2ZmMxM2EyMjZjMGU5NTFdXQMAAACRAVN5c3RlbS5Db2xsZWN0aW9ucy5HZW5lcmljLkxpc3RgMVtbQXBsb3Jpcy5DaGFydC5WYWx1ZUxpbm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wAAAAmQAAAACQYAAAAJAQAAAAmRAAAABSkAAACbAUFwbG9yaXMuQmFzZS5PYmplY3RzLkRhdGFPYmplY3RDb2xsZWN0aW9uYDFbW0FwbG9yaXMuQ2hhcnQuQXhpc0JyZWFr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wOCwgQ3VsdHVyZT1uZXV0cmFsLCBQdWJsaWNLZXlUb2tlbj0xNmZjMTNhMjI2YzBlOTUxXV0DAAAAkQFTeXN0ZW0uQ29sbGVjdGlvbnMuR2VuZXJpYy5MaXN0YDFbW0FwbG9yaXMuQ2hhcnQuQXhpc0JyZWF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ZIAAAAJkwAAAAkGAAAACQEAAAAJl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UAAAABJQlsAAAAAQAAAAoAAAAAAAAAAAUtAAAAmgFBcGxvcmlzLkJhc2UuT2JqZWN0cy5EYXRhT2JqZWN0Q29sbGVjdGlvbmAxW1tBcGxvcmlzLkNoYXJ0LlRpY2tNYXJr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A4LCBDdWx0dXJlPW5ldXRyYWwsIFB1YmxpY0tleVRva2VuPTE2ZmMxM2EyMjZjMGU5NTFdXQMAAACQAVN5c3RlbS5Db2xsZWN0aW9ucy5HZW5lcmljLkxpc3RgMVtbQXBsb3Jpcy5DaGFydC5UaWNrTWFy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WAAAACZcAAAAJBgAAAAkBAAAACZg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ZAAAAIQAAAC8SMUI1Z5VDAZoAAAAhAAAA9S8iRDVnlUMJmwAAALgBAAD/////AQEKCZwAAAABAAoBBzEAAAAAAQAAAAUAAAAEFVN5c3RlbS5EcmF3aW5nLlBvaW50RgQAAAABnQAAACEAAAD17yJENWeVQwGeAAAAIQAAAC8SMUIhrJ1DAZ8AAAAhAAAAGEGtQyGsnUMBoAAAACEAAAD1LyJEIaydQwGhAAAAIQAAAPXvIkQ155dDBzIAAAAAAQAAAAUAAAAEF0FwbG9yaXMuQmFzZS5BbmNob3JNb2RlAwAAAAWiAAAAF0FwbG9yaXMuQmFzZS5BbmNob3JNb2RlAQAAAAd2YWx1ZV9fAAgDAAAABAAAAAGjAAAAogAAAAUAAAABpAAAAKIAAAADAAAAAaUAAACiAAAABgAAAAGmAAAAogAAAAUAAAAPMwAAAAUAAAABAAAAAAEFNAAAABVBcGxvcmlzLkJhc2UuVUkuTGFiZWwdAAAAD21BbmNob3JQb3NpdGlvbgttQW5jaG9yTW9kZQ9tQWRkSW5uZXJNYXJnaW4WbU9mZnNldERpcmVjdGlvbkFuY2hvchdtT2Zmc2V0T3J0aG9nb25hbEFuY2hvcgttVGV4dEZvcm1hdAltUm90YXRpb24KbUJhY2tDb2xvcg1tVXNlQmFja0NvbG9yDm1Vc2VCYWNrZ3JvdW5kEW1DdXN0b21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AAQEBAABAwMB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wAAAAGnAAAAIQAAAPXvIkQ1Z5VDAagAAACiAAAABAAAAAAAAAAAAAAAAAmpAAAAAAAAAAmqAAAAAAAABasAAAAqQXBsb3Jpcy5CYXNlLlVJLkxhYmVsK0xpbmVBbGlnbm1lbnRPcHRpb25zAQAAAAd2YWx1ZV9fAAgDAAAAAAAAAAGsAAAAdAAAAAAAAAAAAAAAAa0AAAAVAAAAAAAAAAAAAAAAAAAAAAAAAAAAAAAGrgAAAA1DYXRlZ29yeSBheGlzCgmvAAAACa4AAADkAgAA/////wABCgmwAAAAAQAKAQE1AAAAJQAAAAmxAAAABgAAAAYAAAABNgAAACYAAAAJsgAAAAIAAAACAAAAATgAAAAoAAAACgmzAAAACbQAAAAJBwAAAAkBAAAACbUAAAABOQAAACkAAAAKCbYAAAAJtwAAAAkHAAAACQEAAAAJu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oAAAAAwAAAAlpAAAACWoAAAAJawAAAAEAAAAACga5AAAAASU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JuQAAAA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VAAAACWwAAAABAAAACgAAAAAAAAAAAT0AAAAtAAAACgm6AAAACbsAAAAJBwAAAAkBAAAACbwAAAABQAAAADAAAAABvQAAACEAAAAvEjFCNWeVQwG+AAAAIQAAAC8SMUIMZYdBCb8AAAC4AQAA/////wEBCgnAAAAAAQAKAQdBAAAAAAEAAAAFAAAABBVTeXN0ZW0uRHJhd2luZy5Qb2ludEYEAAAAAcEAAAAhAAAALxIxQlR7MkEBwgAAACEAAAA0AjJBNWeVQwHDAAAAIQAAADQCMkGG3R1DAcQAAAAhAAAANAIyQQxlh0EBxQAAACEAAAA0AjJBVHsyQQdCAAAAAAEAAAAFAAAABBdBcGxvcmlzLkJhc2UuQW5jaG9yTW9kZQMAAAABxgAAAKIAAAABAAAAAccAAACiAAAACAAAAAHIAAAAogAAAAIAAAAByQAAAKIAAAAGAAAAAcoAAACiAAAABwAAAA9DAAAABQAAAAEAAAAAAQFEAAAANAAAAAHLAAAAIQAAAC8SMUJUezJBAcwAAACiAAAAAQAAAAAAAAAAAAAAAAnNAAAAAAAAAAnOAAAAAAAAAc8AAACrAAAAAAAAAAHQAAAAdAAAAAAAAAAAAAAAAdEAAAAVAAAAAAAAAAAAAAAAAAAAAAAAAAAAAAAG0gAAAApWYWx1ZSBheGlzCgnTAAAACdIAAADkAgAA/////wABCgnUAAAAAQAKAQFFAAAAJQAAAAnVAAAABgAAAAYAAAABRgAAACYAAAAJ1gAAAAIAAAACAAAAB0cAAAAAAQAAAAAAAAAELkFwbG9yaXMuQ2hhcnQuQ29sdW1uT3JpZW50ZWRDaGFydCtVbnVzZWRTZXJpZXMCAAAABEgAAACXAVN5c3RlbS5Db2xsZWN0aW9ucy5HZW5lcmljLkxpc3RgMVtbQXBsb3Jpcy5DaGFydC5DaGFydERhdGFTZXJpZXMsIEFwbG9yaXMuQ2hhcnQsIFZlcnNpb249NC4yLjAuMTkwOCwgQ3VsdHVyZT1uZXV0cmFsLCBQdWJsaWNLZXlUb2tlbj0xNmZjMTNhMjI2YzBlOTUxXV0DAAAABl9pdGVtcwVfc2l6ZQhfdmVyc2lvbgQAAB9BcGxvcmlzLkNoYXJ0LkNoYXJ0RGF0YVNlcmllc1tdAgAAAAgICdcAAAADAAAAJgAAAAFJAAAAJQAAAAnYAAAAAwAAAAMAAAABSgAAACYAAAAJ2QAAAAAAAAAAAAAABEsAAACcAVN5c3RlbS5Db2xsZWN0aW9ucy5HZW5lcmljLkxpc3RgMVtbQXBsb3Jpcy5DaGFydC5Bbm5vdGF0aW9uRGF0YVNlcmllcywgQXBsb3Jpcy5DaGFydCwgVmVyc2lvbj00LjIuMC4xOTA4LCBDdWx0dXJlPW5ldXRyYWwsIFB1YmxpY0tleVRva2VuPTE2ZmMxM2EyMjZjMGU5NTFdXQMAAAAGX2l0ZW1zBV9zaXplCF92ZXJzaW9uBAAAJEFwbG9yaXMuQ2hhcnQuQW5ub3RhdGlvbkRhdGFTZXJpZXNbXQIAAAAICAnaAAAAAAAAAAAAAAABTAAAACUAAAAJ2wAAAAAAAAAAAAAAAU0AAAAmAAAACdkAAAAAAAAAAAAAAAROAAAAlwFTeXN0ZW0uQ29sbGVjdGlvbnMuR2VuZXJpYy5MaXN0YDFbW0FwbG9yaXMuQ2hhcnQuQW5ub3RhdGlvbkdyb3VwLCBBcGxvcmlzLkNoYXJ0LCBWZXJzaW9uPTQuMi4wLjE5MDgsIEN1bHR1cmU9bmV1dHJhbCwgUHVibGljS2V5VG9rZW49MTZmYzEzYTIyNmMwZTk1MV1dAwAAAAZfaXRlbXMFX3NpemUIX3ZlcnNpb24EAAAfQXBsb3Jpcy5DaGFydC5Bbm5vdGF0aW9uR3JvdXBbXQIAAAAICAncAAAAAAAAAAAAAAABTwAAACUAAAAJ2wAAAAAAAAAAAAAAAVAAAAAmAAAACdkAAAAAAAAAAAAAAARRAAAAlgFTeXN0ZW0uQ29sbGVjdGlvbnMuR2VuZXJpYy5MaXN0YDFbW0FwbG9yaXMuQ2hhcnQuQ2hhcnREYXRhR3JvdXAsIEFwbG9yaXMuQ2hhcnQsIFZlcnNpb249NC4yLjAuMTkwOCwgQ3VsdHVyZT1uZXV0cmFsLCBQdWJsaWNLZXlUb2tlbj0xNmZjMTNhMjI2YzBlOTUxXV0DAAAABl9pdGVtcwVfc2l6ZQhfdmVyc2lvbgQAAB5BcGxvcmlzLkNoYXJ0LkNoYXJ0RGF0YUdyb3VwW10CAAAACAgJ3QAAAAMAAAADAAAAAVIAAAAlAAAACd4AAAADAAAAAwAAAAFTAAAAJgAAAAnZAAAAAAAAAAAAAAAEVAAAAJABU3lzdGVtLkNvbGxlY3Rpb25zLkdlbmVyaWMuTGlzdGAxW1tBcGxvcmlzLkNoYXJ0LkRlbHRhQmFyLCBBcGxvcmlzLkNoYXJ0LCBWZXJzaW9uPTQuMi4wLjE5MDgsIEN1bHR1cmU9bmV1dHJhbCwgUHVibGljS2V5VG9rZW49MTZmYzEzYTIyNmMwZTk1MV1dAwAAAAZfaXRlbXMFX3NpemUIX3ZlcnNpb24EAAAYQXBsb3Jpcy5DaGFydC5EZWx0YUJhcltdAgAAAAgICd8AAAAAAAAAAAAAAAFVAAAAJQAAAAnbAAAAAAAAAAAAAAABVgAAACYAAAAJ2QAAAAAAAAAAAAAABFcAAACTAVN5c3RlbS5Db2xsZWN0aW9ucy5HZW5lcmljLkxpc3RgMVtbQXBsb3Jpcy5DaGFydC5EZWx0YUJyaWRnZSwgQXBsb3Jpcy5DaGFydCwgVmVyc2lvbj00LjIuMC4xOTA4LCBDdWx0dXJlPW5ldXRyYWwsIFB1YmxpY0tleVRva2VuPTE2ZmMxM2EyMjZjMGU5NTFdXQMAAAAGX2l0ZW1zBV9zaXplCF92ZXJzaW9uBAAAG0FwbG9yaXMuQ2hhcnQuRGVsdGFCcmlkZ2VbXQIAAAAICAngAAAAAAAAAAAAAAABWAAAACUAAAAJ2wAAAAAAAAAAAAAAAVkAAAAmAAAACdkAAAAAAAAAAAAAAARaAAAAkwFTeXN0ZW0uQ29sbGVjdGlvbnMuR2VuZXJpYy5MaXN0YDFbW0FwbG9yaXMuQ2hhcnQuR3Jvd3RoQXJyb3csIEFwbG9yaXMuQ2hhcnQsIFZlcnNpb249NC4yLjAuMTkwOCwgQ3VsdHVyZT1uZXV0cmFsLCBQdWJsaWNLZXlUb2tlbj0xNmZjMTNhMjI2YzBlOTUxXV0DAAAABl9pdGVtcwVfc2l6ZQhfdmVyc2lvbgQAABtBcGxvcmlzLkNoYXJ0Lkdyb3d0aEFycm93W10CAAAACAgJ4QAAAAAAAAAAAAAAAVsAAAAlAAAACdsAAAAAAAAAAAAAAAFcAAAAJgAAAAnZAAAAAAAAAAAAAAAEXQAAAJoBU3lzdGVtLkNvbGxlY3Rpb25zLkdlbmVyaWMuTGlzdGAxW1tBcGxvcmlzLkNoYXJ0LldhdGVyZmFsbENvbm5lY3RvciwgQXBsb3Jpcy5DaGFydCwgVmVyc2lvbj00LjIuMC4xOTA4LCBDdWx0dXJlPW5ldXRyYWwsIFB1YmxpY0tleVRva2VuPTE2ZmMxM2EyMjZjMGU5NTFdXQMAAAAGX2l0ZW1zBV9zaXplCF92ZXJzaW9uBAAAIkFwbG9yaXMuQ2hhcnQuV2F0ZXJmYWxsQ29ubmVjdG9yW10CAAAACAgJ4gAAAAAAAAAAAAAAAV4AAAAlAAAACdsAAAAAAAAAAAAAAAFfAAAAJgAAAAnZAAAAAAAAAAAAAAAEYAAAAJgBU3lzdGVtLkNvbGxlY3Rpb25zLkdlbmVyaWMuTGlzdGAxW1tBcGxvcmlzLkNoYXJ0LkVsZW1lbnRDb25uZWN0b3IsIEFwbG9yaXMuQ2hhcnQsIFZlcnNpb249NC4yLjAuMTkwOCwgQ3VsdHVyZT1uZXV0cmFsLCBQdWJsaWNLZXlUb2tlbj0xNmZjMTNhMjI2YzBlOTUxXV0DAAAABl9pdGVtcwVfc2l6ZQhfdmVyc2lvbgQAACBBcGxvcmlzLkNoYXJ0LkVsZW1lbnRDb25uZWN0b3JbXQIAAAAICAnjAAAAAAAAAAAAAAABYQAAACUAAAAJ2wAAAAAAAAAAAAAAAWIAAAAmAAAACdkAAAAAAAAAAAAAAAVjAAAArQFBcGxvcmlzLkJhc2UuT2JqZWN0cy5EYXRhT2JqZWN0Q29sbGVjdGlvbmAxW1tBcGxvcmlzLkNoYXJ0LkNvbHVtbk9yaWVudGVkTGVnZW5k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i4wLjE5MDgsIEN1bHR1cmU9bmV1dHJhbCwgUHVibGljS2V5VG9rZW49MTZmYzEzYTIyNmMwZTk1MV1dAwAAAKMBU3lzdGVtLkNvbGxlY3Rpb25zLkdlbmVyaWMuTGlzdGAxW1tBcGxvcmlzLkNoYXJ0LkNvbHVtbk9yaWVudGVkTGVnZW5k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nkAAAACeUAAAAJFAAAAAkBAAAACeYAAAABZQAAABwAAAAB5wAAACEAAAC0F9RCAICjQwHoAAAAIQAAAP7OEkSnmrFDCekAAAAJ6gAAAAAAAAAKAesAAAB0AAAAAAAAAAAAAAAB7AAAAHQAAAAAAAAAAAAAAAAAAAAB7QAAABUAAAAAAAAAAAAAAAAAAAAAAAAApAEAAP////8BAQoJ7gAAAAEACgEBZgAAACUAAAAJ7wAAAAEAAAABAAAAAWcAAAAmAAAACfAAAAABAAAAAQAAAAVy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fEAAAAJ8gAAAAEAAAD+////AQAAAAEAAAABAAAAAQAAAAEAAAABAAAAAAABBXM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8wAAAAn0AAAAAQAAAAAAAAAAAAAAAAAAAAABBXcAAAAfQXBsb3Jpcy5CYXNlLk9iamVjdHMuUGVyc0lkRGF0YQIAAAADbUlkC21DdXN0b21EYXRhBwIIAwAAAAn1AAAACgV6AAAAGkFwbG9yaXMuQmFzZS5PYmplY3RzLkNvbG9yBwAAABJEYXRhT2JqZWN0K21QYXJlbnQVRGF0YU9iamVjdCttQ29udGFpbmVyBW1UeXBlBG1SR0IQbVRoZW1lQ29sb3JJbmRleAxtQXV0b1VwZGF0ZWQJbU1vZGlmaWVkAgIAAAAAAAgICAEBAwAAAAoKAAAAAAAAAAANAAAAAAEBewAAAHoAAAAKCgEAAAAAAAAA/////wABB40AAAAAAQAAABAAAAAEH0FwbG9yaXMuQmFzZS5PYmplY3RzLkRhdGFPYmplY3QDAAAACQkAAAAJCgAAAAkLAAAACQwAAAAJEAAAAAkRAAAACQ0AAAAJDgAAAAkPAAAACQcAAAAJBgAAAAkYAAAACRQAAAANAweOAAAAAAEAAAAEAAAABBxBcGxvcmlzLkJhc2UuVUkuVmlzdWFsT2JqZWN0AwAAAAkcAAAADQMEjwAAAJEBU3lzdGVtLkNvbGxlY3Rpb25zLkdlbmVyaWMuTGlzdGAxW1tBcGxvcmlzLkNoYXJ0LlZhbHVlTGluZSwgQXBsb3Jpcy5DaGFydCwgVmVyc2lvbj00LjIuMC4xOTA4LCBDdWx0dXJlPW5ldXRyYWwsIFB1YmxpY0tleVRva2VuPTE2ZmMxM2EyMjZjMGU5NTFdXQMAAAAGX2l0ZW1zBV9zaXplCF92ZXJzaW9uBAAAGUFwbG9yaXMuQ2hhcnQuVmFsdWVMaW5lW10CAAAACAgJ9gAAAAAAAAAAAAAAAZAAAAAlAAAACdsAAAAAAAAAAAAAAAGRAAAAJgAAAAnZAAAAAAAAAAAAAAAEkgAAAJEBU3lzdGVtLkNvbGxlY3Rpb25zLkdlbmVyaWMuTGlzdGAxW1tBcGxvcmlzLkNoYXJ0LkF4aXNCcmVhaywgQXBsb3Jpcy5DaGFydCwgVmVyc2lvbj00LjIuMC4xOTA4LCBDdWx0dXJlPW5ldXRyYWwsIFB1YmxpY0tleVRva2VuPTE2ZmMxM2EyMjZjMGU5NTFdXQMAAAAGX2l0ZW1zBV9zaXplCF92ZXJzaW9uBAAAGUFwbG9yaXMuQ2hhcnQuQXhpc0JyZWFrW10CAAAACAgJ9wAAAAAAAAAAAAAAAZMAAAAlAAAACdsAAAAAAAAAAAAAAAGUAAAAJgAAAAnZAAAAAAAAAAAAAAAElgAAAJABU3lzdGVtLkNvbGxlY3Rpb25zLkdlbmVyaWMuTGlzdGAxW1tBcGxvcmlzLkNoYXJ0LlRpY2tNYXJrLCBBcGxvcmlzLkNoYXJ0LCBWZXJzaW9uPTQuMi4wLjE5MDgsIEN1bHR1cmU9bmV1dHJhbCwgUHVibGljS2V5VG9rZW49MTZmYzEzYTIyNmMwZTk1MV1dAwAAAAZfaXRlbXMFX3NpemUIX3ZlcnNpb24EAAAYQXBsb3Jpcy5DaGFydC5UaWNrTWFya1tdAgAAAAgICfgAAAAAAAAAAAAAAAGXAAAAJQAAAAnbAAAAAAAAAAAAAAABmAAAACYAAAAJ2QAAAAAAAAAAAAAAAZsAAAByAAAACgoAAABAPwn5AAAACfoAAAABAAAA/v///wAAAAABAAAAAAAAAAAAAAABAAAAAAAAAAAAAAGcAAAAdwAAAAn7AAAACgWp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eAAAAAl5AAAACfwAAAABAAn9AAAAAaoAAAB6AAAACgoBAAAAAAAAAP////8AAQSv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f4AAAAAAAAAAAAAAAGwAAAAdwAAAAn/AAAACgexAAAAAAEAAAAIAAAABB9BcGxvcmlzLkJhc2UuT2JqZWN0cy5EYXRhT2JqZWN0AwAAAAkqAAAACSsAAAAJLAAAAAktAAAACSgAAAAJKQAAAAoKB7IAAAAAAQAAAAQAAAAEHEFwbG9yaXMuQmFzZS5VSS5WaXN1YWxPYmplY3QDAAAACTAAAAAJNAAAAAoKAbMAAACPAAAACfYAAAAAAAAAAAAAAAG0AAAAJQAAAAnbAAAAAAAAAAAAAAABtQAAACYAAAAJ2QAAAAAAAAAAAAAAAbYAAACSAAAACfcAAAAAAAAAAAAAAAG3AAAAJQAAAAnbAAAAAAAAAAAAAAABuAAAACYAAAAJ2QAAAAAAAAAAAAAAAboAAACWAAAACQABAAAGAAAAJAAAAAG7AAAAJQAAAAkBAQAABgAAACQAAAABvAAAACYAAAAJ2QAAAAAAAAAAAAAAAb8AAAByAAAACgoAAABAPwkCAQAACQMBAAABAAAA/v///wAAAAABAAAAAAAAAAAAAAABAAAAAAAAAAAAAAHAAAAAdwAAAAkEAQAACgXN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eAAAAAl5AAAACQUBAAABAAkGAQAAAc4AAAB6AAAACgoBAAAAAAAAAP////8AAQHTAAAArwAAAAn+AAAAAAAAAAAAAAAB1AAAAHcAAAAJBwEAAAoH1QAAAAABAAAACAAAAAQfQXBsb3Jpcy5CYXNlLk9iamVjdHMuRGF0YU9iamVjdAMAAAAJOgAAAAk7AAAACTwAAAAJPQAAAAk4AAAACTkAAAAKCgfWAAAAAAEAAAAEAAAABBxBcGxvcmlzLkJhc2UuVUkuVmlzdWFsT2JqZWN0AwAAAAlAAAAACUQAAAAKCgfXAAAAAAEAAAAEAAAABB1BcGxvcmlzLkNoYXJ0LkNoYXJ0RGF0YVNlcmllcwIAAAAJCAEAAAkJAQAACQoBAAAKB9gAAAAAAQAAAAQAAAAEH0FwbG9yaXMuQmFzZS5PYmplY3RzLkRhdGFPYmplY3QDAAAACQgBAAAJCQEAAAkKAQAACgfZAAAAAAEAAAAAAAAABBxBcGxvcmlzLkJhc2UuVUkuVmlzdWFsT2JqZWN0AwAAAAfaAAAAAAEAAAAAAAAABCJBcGxvcmlzLkNoYXJ0LkFubm90YXRpb25EYXRhU2VyaWVzAgAAAAfbAAAAAAEAAAAAAAAABB9BcGxvcmlzLkJhc2UuT2JqZWN0cy5EYXRhT2JqZWN0AwAAAAfcAAAAAAEAAAAAAAAABB1BcGxvcmlzLkNoYXJ0LkFubm90YXRpb25Hcm91cAIAAAAH3QAAAAABAAAABAAAAAQcQXBsb3Jpcy5DaGFydC5DaGFydERhdGFHcm91cAIAAAAJCwEAAAkMAQAACQ0BAAAKB94AAAAAAQAAAAQAAAAEH0FwbG9yaXMuQmFzZS5PYmplY3RzLkRhdGFPYmplY3QDAAAACQsBAAAJDAEAAAkNAQAACgffAAAAAAEAAAAAAAAABBZBcGxvcmlzLkNoYXJ0LkRlbHRhQmFyAgAAAAfgAAAAAAEAAAAAAAAABBlBcGxvcmlzLkNoYXJ0LkRlbHRhQnJpZGdlAgAAAAfhAAAAAAEAAAAAAAAABBlBcGxvcmlzLkNoYXJ0Lkdyb3d0aEFycm93AgAAAAfiAAAAAAEAAAAAAAAABCBBcGxvcmlzLkNoYXJ0LldhdGVyZmFsbENvbm5lY3RvcgIAAAAH4wAAAAABAAAAAAAAAAQeQXBsb3Jpcy5DaGFydC5FbGVtZW50Q29ubmVjdG9yAgAAAATkAAAAowFTeXN0ZW0uQ29sbGVjdGlvbnMuR2VuZXJpYy5MaXN0YDFbW0FwbG9yaXMuQ2hhcnQuQ29sdW1uT3JpZW50ZWRMZWdlbmRFbGVtZW50LCBBcGxvcmlzLkNoYXJ0LCBWZXJzaW9uPTQuMi4wLjE5MDgsIEN1bHR1cmU9bmV1dHJhbCwgUHVibGljS2V5VG9rZW49MTZmYzEzYTIyNmMwZTk1MV1dAwAAAAZfaXRlbXMFX3NpemUIX3ZlcnNpb24EAAArQXBsb3Jpcy5DaGFydC5Db2x1bW5PcmllbnRlZExlZ2VuZEVsZW1lbnRbXQIAAAAICAkOAQAAAwAAAEgAAAAB5QAAACUAAAAJDwEAAAMAAAADAAAAAeYAAAAmAAAACRABAAAAAAAAAAAAAAHpAAAAcgAAAAoKAAAAAAAJEQEAAAkSAQAAAQAAAP7///8BAAAAAQAAAAEAAAABAAAAAQAAAAEAAAAAAAEB6gAAAHMAAAAKCgkTAQAACRQBAAABAAAAAAAAAAAAAAAAAAAAAAEB7gAAAHcAAAAJFQEAAAoH7wAAAAABAAAABAAAAAQfQXBsb3Jpcy5CYXNlLk9iamVjdHMuRGF0YU9iamVjdAMAAAAJYwAAAA0DB/AAAAAAAQAAAAQAAAAEHEFwbG9yaXMuQmFzZS5VSS5WaXN1YWxPYmplY3QDAAAACWUAAAANAwHxAAAAegAAAAoKAAAAAAAAAAANAAAAAAEB8gAAAHoAAAAKCgEAAAAAAAAA/////wABAfMAAAB6AAAACgoBAAAA////AP////8AAQH0AAAAegAAAAoKAQAAAAAAAAD/////AAEP9QAAAAEAAAAIAAAAAAf2AAAAAAEAAAAAAAAABBdBcGxvcmlzLkNoYXJ0LlZhbHVlTGluZQIAAAAH9wAAAAABAAAAAAAAAAQXQXBsb3Jpcy5DaGFydC5BeGlzQnJlYWsCAAAAB/gAAAAAAQAAAAAAAAAEFkFwbG9yaXMuQ2hhcnQuVGlja01hcmsCAAAABfkAAAAaQXBsb3Jpcy5CYXNlLk9iamVjdHMuQ29sb3IHAAAAEkRhdGFPYmplY3QrbVBhcmVudBVEYXRhT2JqZWN0K21Db250YWluZXIFbVR5cGUEbVJHQhBtVGhlbWVDb2xvckluZGV4DG1BdXRvVXBkYXRlZAltTW9kaWZpZWQEAgAAAAAAH0FwbG9yaXMuQmFzZS5PYmplY3RzLkxpbmVGb3JtYXQDAAAACAgIAQEDAAAACZsAAAAKAAAAAAAAAAANAAAAAAAF+gAAABpBcGxvcmlzLkJhc2UuT2JqZWN0cy5Db2xvcgcAAAASRGF0YU9iamVjdCttUGFyZW50FURhdGFPYmplY3QrbUNvbnRhaW5lcgVtVHlwZQRtUkdCEG1UaGVtZUNvbG9ySW5kZXgMbUF1dG9VcGRhdGVkCW1Nb2RpZmllZAQCAAAAAAAfQXBsb3Jpcy5CYXNlLk9iamVjdHMuTGluZUZvcm1hdAMAAAAICAgBAQMAAAAJmwAAAAoBAAAAAAAAAP////8AAQ/7AAAAAQAAAAhQAAAAAfwAAAB6AAAACgoAAAAAAAAAAA0AAAAAAQH9AAAAegAAAAoKAQAAAAAAAAD/////AAEH/gAAAAABAAAAAAAAAAQdQXBsb3Jpcy5CYXNlLk9iamVjdHMuVmFyaWFibGUDAAAAD/8AAAABAAAACAAAAAAHAAEAAAABAAAAEAAAAAQWQXBsb3Jpcy5DaGFydC5UaWNrTWFyawIAAAAJFgEAAAkXAQAACRgBAAAJGQEAAAkaAQAACRsBAAANCgcBAQAAAAEAAAAQAAAABB9BcGxvcmlzLkJhc2UuT2JqZWN0cy5EYXRhT2JqZWN0AwAAAAkWAQAACRcBAAAJGAEAAAkZAQAACRoBAAAJGwEAAA0KBQIBAAAaQXBsb3Jpcy5CYXNlLk9iamVjdHMuQ29sb3IHAAAAEkRhdGFPYmplY3QrbVBhcmVudBVEYXRhT2JqZWN0K21Db250YWluZXIFbVR5cGUEbVJHQhBtVGhlbWVDb2xvckluZGV4DG1BdXRvVXBkYXRlZAltTW9kaWZpZWQEAgAAAAAAH0FwbG9yaXMuQmFzZS5PYmplY3RzLkxpbmVGb3JtYXQDAAAACAgIAQEDAAAACb8AAAAKAAAAAAAAAAANAAAAAAAFAwEAABpBcGxvcmlzLkJhc2UuT2JqZWN0cy5Db2xvcgcAAAASRGF0YU9iamVjdCttUGFyZW50FURhdGFPYmplY3QrbUNvbnRhaW5lcgVtVHlwZQRtUkdCEG1UaGVtZUNvbG9ySW5kZXgMbUF1dG9VcGRhdGVkCW1Nb2RpZmllZAQCAAAAAAAfQXBsb3Jpcy5CYXNlLk9iamVjdHMuTGluZUZvcm1hdAMAAAAICAgBAQMAAAAJvwAAAAoBAAAAAAAAAP////8AAQ8EAQAAAQAAAAhPAAAAAQUBAAB6AAAACgoAAAAAAAAAAA0AAAAAAQEGAQAAegAAAAoKAQAAAAAAAAD/////AAEPBwEAAAEAAAAIAAAAAAUI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Dg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BHAEAABMAAAAAAAAAAgAAAP////8JBwAAAAkdAQAABh4BAAAMQ2hlY2sgRW5naW5lCgqrqqo+q6oqPwAAAAAKCgAJHwEAAAkgAQAACSEBAAAAAAAAAAAAAAAAAAAAAAAAAAAJIgEAAAkBAAAACQEAAAAJIwEAAAEJAQAACAEAAAkBAAAAASQBAAATAAAAAAAAAAMAAAD/////CQcAAAAJJQEAAAYmAQAACVJlZnVlbGluZwoKq6qqPquqqj4AAAAACgoACScBAAAJKAEAAAkpAQAAAAAAAAABAAAAAQAAAAAAAAAACSoBAAAJAQAAAAkBAAAACSsBAAABCgEAAAgBAAAJAQAAAAEsAQAAEwAAAAAAAAAEAAAA/////wkHAAAACS0BAAAGLgEAABJFcXVpcHBlZCBOYXZpZ3RvcnMKCquqqj4AAAAAAAAAAAoKAAkvAQAACTABAAAJMQEAAAAAAAAAAgAAAAIAAAAAAAAAAAkyAQAACQEAAAAJAQAAAAkzAQAABQs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GNAEAABlBY2FkZW1pYyBQbGFubmluZyAmIEF1ZGl0AAU1AQAAHkFwbG9yaXMuQ2hhcnQuQ2hhcnRHcm91cEFuY2hvcgEAAAAHdmFsdWVfXwAIAgAAAAAAAAAKAAAAAAAAAAADAAAACTYBAAAJNwEAAAk4AQAACgkHAAAACTkBAAAJAQAAAAkBAAAACToBAAABDAEAAAsBAAAJAQAAAAY7AQAAEEFsZXJ0cyAmIFNpZ25hbHMAATwBAAA1AQAAAAAAAAoAAAAAAAAAAAMAAAAJPQEAAAk+AQAACT8BAAAKCQcAAAAJQAEAAAkBAAAACQEAAAAJQQEAAAENAQAACwEAAAkBAAAABkIBAAATQ2FzZWxvYWQgTWFuYWdlbWVudAABQwEAADUBAAAAAAAACgAAAAAAAAAAAwAAAAlEAQAACUUBAAAJRgEAAAoJBwAAAAlHAQAACQEAAAAJAQAAAAlIAQAABw4BAAAAAQAAAAQAAAAEKUFwbG9yaXMuQ2hhcnQuQ29sdW1uT3JpZW50ZWRMZWdlbmRFbGVtZW50AgAAAAlJAQAACUoBAAAJSwEAAAoHDwEAAAABAAAABAAAAAQfQXBsb3Jpcy5CYXNlLk9iamVjdHMuRGF0YU9iamVjdAMAAAAJSwEAAAlKAQAACUkBAAAKBxABAAAAAQAAAAAAAAAEHEFwbG9yaXMuQmFzZS5VSS5WaXN1YWxPYmplY3QDAAAAAREBAAB6AAAACgoAAAAAAAAAAA0AAAAAAQESAQAAegAAAAoKAQAAAAAAAAD/////AAEBEwEAAHoAAAAKCgEAAAD///8A/////wABARQBAAB6AAAACgoBAAAAAAAAAP////8AAQ8VAQAAAQAAAAgAAAAABRY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lMAQAACglNAQAACQcAAAABAAAAAAAAAAABTgEAACEAAAAvEjFCNWeVQwFPAQAAIQAAAC8SIUI1Z5VDAAlQAQAACQcAAAAJAQAAAAlRAQAAARcBAAAWAQAACVIBAAAKCVMBAAAJBwAAAAGamZmZmZnJPwFUAQAAIQAAAC8SMUIPbnJDAVUBAAAhAAAALxIhQg9uckMACVYBAAAJBwAAAAkBAAAACVcBAAABGAEAABYBAAAJWAEAAAoJWQEAAAkHAAAAAZqZmZmZmdk/AVoBAAAhAAAALxIxQrMNOkMBWwEAACEAAAAvEiFCsw06QwAJXAEAAAkHAAAACQEAAAAJXQEAAAEZAQAAFgEAAAleAQAACglfAQAACQcAAAABMzMzMzMz4z8BYAEAACEAAAAvEjFCWK0BQwFhAQAAIQAAAC8SIUJYrQFDAAliAQAACQcAAAAJAQAAAAljAQAAARoBAAAWAQAACWQBAAAKCWUBAAAJBwAAAAGamZmZmZnpPwFmAQAAIQAAAC8SMUL6mZJCAWcBAAAhAAAALxIhQvqZkkIACWgBAAAJBwAAAAkBAAAACWkBAAABGwEAABYBAAAJagEAAAoJawEAAAkHAAAAAQAAAAAAAPA/AWwBAAAhAAAALxIxQgxlh0EBbQEAACEAAAAvEiFCDGWHQQAJbgEAAAkHAAAACQEAAAAJbwEAAAUdAQ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QAACXEBAAAJCAEAAAkBAAAACXIBAAAFHwE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VzAQAAK0FwbG9yaXMuQ2hhcnQuQ29ubmVjdGVkTGFiZWwrZUNvbm5lY3Rvck1vZGUBAAAAB3ZhbHVlX18ACAIAAAABAAAABXQBAAA2QXBsb3Jpcy5DaGFydC5Db25uZWN0ZWRMYWJlbCtlQW5nbGVkQ29ubmVjdG9yRGlyZWN0aW9uAQAAAAd2YWx1ZV9fAAgCAAAAAAAAAAF1AQAAFQAAAPeF6UN463BDyOFHQsiLW0IFdgEAAC1BcGxvcmlzLkNoYXJ0LkNvbm5lY3RlZExhYmVsK2VUYXJnZXRBcmVhU2hhcGUBAAAAB3ZhbHVlX18ACAIAAAAAAAAAAAAQQQEBdwEAACEAAABSPR9EeC6GQwF4AQAAogAAAAQAAAAAAAAAAAAAAAAJeQEAAAAAAAAJegEAAAAAAAF7AQAAqwAAAAAAAAABfAEAAHQAAAAAAGRDAACIQQF9AQAAFQAAAAAAAAAAAAAAAAAAAAAAAABeutk/CR4BAAAKCX4BAAAGfwEAAAAgAwAA/////wABCgmAAQAAAQAKAQcgAQAAAAEAAAACAAAABBVTeXN0ZW0uRHJhd2luZy5Qb2ludEYEAAAAAYEBAAAhAAAAUj0fRHguhkMBggEAACEAAAAvEh1CMtpIQwchAQAAAAEAAAACAAAABBdBcGxvcmlzLkJhc2UuQW5jaG9yTW9kZQMAAAABgwEAAKIAAAAEAAAAAYQBAACiAAAAAgAAAAEiAQAAJQAAAAmFAQAAAQAAAAEAAAABIwEAACYAAAAJhgEAAAEAAAABAAAAASUBAAAdAQAACgmHAQAACYgBAAAJCQEAAAkBAAAACYkBAAABJwEAAB8BAAAKWAIAAAGKAQAAcwEAAAEAAAABiwEAAHQBAAAAAAAAAYwBAAAVAAAAGcECRCFzVEPA4UdCkramQgGNAQAAdgEAAAAAAAAAABBBAQGOAQAAIQAAAFI9H0TGIH5DAY8BAACiAAAABAAAAAAAAAAAAAAAAAmQAQAAAAAAAAmRAQAAAAAAAZIBAACrAAAAAAAAAAGTAQAAdAAAAAAA+EIAAIhBAZQBAAAVAAAAAAAAAAAAAAAAAAAAAAAAAF662T8JJgEAAAoJlQEAAAl/AQAAIAMAAP////8AAQoJlgEAAAEACgEHKAEAAAABAAAAAgAAAAQVU3lzdGVtLkRyYXdpbmcuUG9pbnRGBAAAAAGXAQAAIQAAAFI9H0TGIH5DAZgBAAAhAAAALxIdQqgBM0MHKQEAAAABAAAAAgAAAAQXQXBsb3Jpcy5CYXNlLkFuY2hvck1vZGUDAAAAAZkBAACiAAAABAAAAAGaAQAAogAAAAIAAAABKgEAACUAAAAJmwEAAAEAAAABAAAAASsBAAAmAAAACZwBAAABAAAAAQAAAAEtAQAAHQEAAAoJnQEAAAmeAQAACQoBAAAJAQAAAAmfAQAAAS8BAAAfAQAAClgCAAABoAEAAHMBAAABAAAAAaEBAAB0AQAAAAAAAAGiAQAAFQAAADa/EERv8CVDwOFHQvvdAUMBowEAAHYBAAAAAAAAAAAQQQEBpAEAACEAAABSPR9EbN9mQwGlAQAAogAAAAQAAAAAAAAAAAAAAAAJpgEAAAAAAAAJpwEAAAAAAAGoAQAAqwAAAAAAAAABqQEAAHQAAAAAAAhDAACIQQGqAQAAFQAAAAAAAAAAAAAAAAAAAAAAAABeutk/CS4BAAAKCasBAAAJfwEAACADAAD/////AAEKCawBAAABAAoBBzABAAAAAQAAAAIAAAAEFVN5c3RlbS5EcmF3aW5nLlBvaW50RgQAAAABrQEAACEAAABSPR9EbN9mQwGuAQAAIQAAAC8SHUJozDdDBzEBAAAAAQAAAAIAAAAEF0FwbG9yaXMuQmFzZS5BbmNob3JNb2RlAwAAAAGvAQAAogAAAAQAAAABsAEAAKIAAAACAAAAATIBAAAlAAAACbEBAAABAAAAAQAAAAEzAQAAJgAAAAmyAQAAAQAAAAMAAAAPNgEAAAAAAAAIBzcBAAAAAQAAAAAAAAAEFUFwbG9yaXMuQmFzZS5VSS5MYWJlbAMAAAABOAEAADQAAAABswEAACEAAADCAxFDNeeXQwG0AQAAogAAAAMAAAAAAAAAAAAAAAAJtQEAAAAAAAAJtgEAAAAAAAG3AQAAqwAAAAAAAAABuAEAAHQAAAAAACRDAABwQQG5AQAAFQAAACd2nkLYiZdDbyEBQ4mdOEESg74/CTQBAAAKCboBAAAJfwEAACADAAD/////AQEKCbsBAAABAAoBATkBAAAlAAAACdsAAAAAAAAAAAAAAAE6AQAAJgAAAAm8AQAAAQAAAAkAAAAPPQEAAAAAAAAIBz4BAAAAAQAAAAAAAAAEFUFwbG9yaXMuQmFzZS5VSS5MYWJlbAMAAAABPwEAADQAAAABvQEAACEAAAAYQa1DNeeXQwG+AQAAogAAAAMAAAAAAAAAAAAAAAAJvwEAAAAAAAAJwAEAAAAAAAHBAQAAqwAAAAAAAAABwgEAAHQAAAAAAMBCAABwQQHDAQAAFQAAACd2mUPYiZdDU6WZQomdOEESg74/CTsBAAAKCcQBAAAJfwEAACADAAD/////AQEKCcUBAAABAAoBAUABAAAlAAAACdsAAAAAAAAAAAAAAAFBAQAAJgAAAAnGAQAAAQAAAAkAAAAPRAEAAAAAAAAIB0UBAAAAAQAAAAAAAAAEFUFwbG9yaXMuQmFzZS5VSS5MYWJlbAMAAAABRgEAADQAAAABxwEAACEAAAAnAAlENeeXQwHIAQAAogAAAAMAAAAAAAAAAAAAAAAJyQEAAAAAAAAJygEAAAAAAAHLAQAAqwAAAAAAAAABzAEAAHQAAAAAAA1DAABwQQHNAQAAFQAAAOvE9UPYiZdDZ+DeQomdOEESg74/CUIBAAAKCc4BAAAJfwEAACADAAD/////AQEKCc8BAAABAAoBAUcBAAAlAAAACdsAAAAAAAAAAAAAAAFIAQAAJgAAAAnQAQAAAQAAAAkAAAAFS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FAAAAAkIAQAACdEBAAAJ0gEAAAoKCgAAAAAKCdMBAAAJFAAAAAkBAAAACdQBAAABSgEAAEkBAAAJFAAAAAkJAQAACdUBAAAJ1gEAAAoKCgEAAAAKCdcBAAAJFAAAAAkBAAAACdgBAAABSwEAAEkBAAAJFAAAAAkKAQAACdkBAAAJ2gEAAAoKCgIAAAAKCdsBAAAJFAAAAAkBAAAACdwBAAABTAEAADAAAAAB3QEAACEAAAAvEjFCNWeVQwHeAQAAIQAAAC8SIUI1Z5VDCd8BAADMAQAA/////wEBCgngAQAAAQAKAQFNAQAANAAAAAHhAQAAIQAAAC8SG0I1Z5VDAeIBAACiAAAAAgAAAAAAAAAAAAAAAAnjAQAAAAAAAAnkAQAAAAAAAeUBAACrAAAAAAAAAAHmAQAAdAAAAAAAmEEAAHBBAecBAAAVAAAAxE6sQWInkkOxvIxBiZ04QRKDvj8G6AEAAAIwJQoJ6QEAAAl/AQAA0AIAAP////8BAQoJ6gEAAAEACgEBUAEAACUAAAAJ6wEAAAAAAAAAAAAAAVEBAAAmAAAACewBAAACAAAAAgAAAAFSAQAAMAAAAAHtAQAAIQAAAC8SMUIPbnJDAe4BAAAhAAAALxIhQg9uckMJ7wEAAMwBAAD/////AQEKCfABAAABAAoBAVMBAAA0AAAAAfEBAAAhAAAALxIbQg9uckMB8gEAAKIAAAACAAAAAAAAAAAAAAAACfMBAAAAAAAACfQBAAAAAAAB9QEAAKsAAAAAAAAAAfYBAAB0AAAAAADYQQAAcEEB9wEAABUAAABiJ3ZBdWJrQ8T3vUGJnThBEoO+Pwb4AQAAAzIwJQoJ+QEAAAl/AQAA0AIAAP////8BAQoJ+gEAAAEACgEBVgEAACUAAAAJ6wEAAAAAAAAAAAAAAVcBAAAmAAAACfsBAAACAAAAAgAAAAFYAQAAMAAAAAH8AQAAIQAAAC8SMUKzDTpDAf0BAAAhAAAALxIhQrMNOkMJ/gEAAMwBAAD/////AQEKCf8BAAABAAoBAVkBAAA0AAAAAQACAAAhAAAALxIbQrMNOkMBAQIAAKIAAAACAAAAAAAAAAAAAAAACQICAAAAAAAACQMCAAAAAAABBAIAAKsAAAAAAAAAAQUCAAB0AAAAAADYQQAAcEEBBgIAABUAAABiJ3ZBEzszQ8T3vUGJnThBEoO+PwYHAgAAAzQwJQoJCAIAAAl/AQAA0AIAAP////8BAQoJCQIAAAEACgEBXAEAACUAAAAJ6wEAAAAAAAAAAAAAAV0BAAAmAAAACQoCAAACAAAAAgAAAAFeAQAAMAAAAAELAgAAIQAAAC8SMUJYrQFDAQwCAAAhAAAALxIhQlitAUMJDQIAAMwBAAD/////AQEKCQ4CAAABAAoBAV8BAAA0AAAAAQ8CAAAhAAAALxIbQlitAUMBEAIAAKIAAAACAAAAAAAAAAAAAAAACRECAAAAAAAACRICAAAAAAABEwIAAKsAAAAAAAAAARQCAAB0AAAAAADYQQAAcEEBFQIAABUAAABiJ3ZBYif2QsT3vUGJnThBEoO+PwYWAgAAAzYwJQoJFwIAAAl/AQAA0AIAAP////8BAQoJGAIAAAEACgEBYgEAACUAAAAJ6wEAAAAAAAAAAAAAAWMBAAAmAAAACRkCAAACAAAAAgAAAAFkAQAAMAAAAAEaAgAAIQAAAC8SMUL6mZJCARsCAAAhAAAALxIhQvqZkkIJHAIAAMwBAAD/////AQEKCR0CAAABAAoBAWUBAAA0AAAAAR4CAAAhAAAALxIbQvqZkkIBHwIAAKIAAAACAAAAAAAAAAAAAAAACSACAAAAAAAACSECAAAAAAABIgIAAKsAAAAAAAAAASMCAAB0AAAAAADYQQAAcEEBJAIAABUAAABiJ3ZBxE6EQsT3vUGJnThBEoO+PwYlAgAAAzgwJQoJJgIAAAl/AQAA0AIAAP////8BAQoJJwIAAAEACgEBaAEAACUAAAAJ6wEAAAAAAAAAAAAAAWkBAAAmAAAACSgCAAACAAAAAgAAAAFqAQAAMAAAAAEpAgAAIQAAAC8SMUIMZYdBASoCAAAhAAAALxIhQgxlh0EJKwIAAMwBAAD/////AQEKCSwCAAABAAoBAWsBAAA0AAAAAS0CAAAhAAAALxIbQgxlh0EBLgIAAKIAAAACAAAAAAAAAAAAAAAACS8CAAAAAAAACTACAAAAAAABMQIAAKsAAAAAAAAAATICAAB0AAAAAAAIQgAAcEEBMwIAABUAAAD//x9B//8fQXUL6UGJnThBEoO+PwY0AgAABDEwMCUKCTUCAAAJfwEAANACAAD/////AQEKCTYCAAABAAoBAW4BAAAlAAAACesBAAAAAAAAAAAAAAFvAQAAJgAAAAk3AgAAAgAAAAIAAAAEcAEAAJgBU3lzdGVtLkNvbGxlY3Rpb25zLkdlbmVyaWMuTGlzdGAxW1tBcGxvcmlzLkNoYXJ0LkNoYXJ0RGF0YUVsZW1lbnQsIEFwbG9yaXMuQ2hhcnQsIFZlcnNpb249NC4yLjAuMTkwOCwgQ3VsdHVyZT1uZXV0cmFsLCBQdWJsaWNLZXlUb2tlbj0xNmZjMTNhMjI2YzBlOTUxXV0DAAAABl9pdGVtcwVfc2l6ZQhfdmVyc2lvbgQAACBBcGxvcmlzLkNoYXJ0LkNoYXJ0RGF0YUVsZW1lbnRbXQIAAAAICAk4AgAAAwAAAAMAAAABcQEAACUAAAAJOQIAAAMAAAADAAAAAXIBAAAmAAAACdkAAAAAAAAAAAAAAAV5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AEAAAoAAAAAAEBBCXgAAAAJeQAAAAk6AgAAAQAJOwIAAAF6AQAAegAAAAoKAAAAAP///wAOAAAAAAEBfgEAAK8AAAAJPAIAAAEAAAABAAAAAYABAAB3AAAACT0CAAAKB4UBAAAAAQAAAAQAAAAEH0FwbG9yaXMuQmFzZS5PYmplY3RzLkRhdGFPYmplY3QDAAAACR0BAAANAweGAQAAAAEAAAAEAAAABBxBcGxvcmlzLkJhc2UuVUkuVmlzdWFsT2JqZWN0AwAAAAkfAQAADQMBhwEAAHABAAAJPgIAAAMAAAADAAAAAYgBAAAlAAAACT8CAAADAAAAAwAAAAGJAQAAJgAAAAnZAAAAAAAAAAAAAAAFk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kBAAAKAAAAAABAQQl4AAAACXkAAAAJQAIAAAEACUECAAABkQEAAHoAAAAKCgAAAAD///8ADgAAAAABAZUBAACvAAAACUICAAABAAAAAQAAAAGWAQAAdwAAAAlDAgAACgebAQAAAAEAAAAEAAAABB9BcGxvcmlzLkJhc2UuT2JqZWN0cy5EYXRhT2JqZWN0AwAAAAklAQAADQMHnAEAAAABAAAABAAAAAQcQXBsb3Jpcy5CYXNlLlVJLlZpc3VhbE9iamVjdAMAAAAJJwEAAA0DAZ0BAABwAQAACUQCAAADAAAAAwAAAAGeAQAAJQAAAAlFAgAAAwAAAAMAAAABnwEAACYAAAAJ2QAAAAAAAAAAAAAABaY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KAQAACgAAAAAAQEEJeAAAAAl5AAAACUYCAAABAAlHAgAAAacBAAB6AAAACgoAAAAA////AA4AAAAAAQGrAQAArwAAAAlIAgAAAQAAAAEAAAABrAEAAHcAAAAJSQIAAAoHsQEAAAABAAAABAAAAAQfQXBsb3Jpcy5CYXNlLk9iamVjdHMuRGF0YU9iamVjdAMAAAAJLQEAAA0DB7IBAAAAAQAAAAQAAAAEHEFwbG9yaXMuQmFzZS5VSS5WaXN1YWxPYmplY3QDAAAACS8BAAANAwG1AQAAIwAAAAoKAAAAAAAoQQl4AAAACXkAAAAJSgIAAAAACUsCAAABtgEAAHoAAAAKCgAAAAD///8ADgAAAAABAboBAACvAAAACUwCAAABAAAAAQAAAAG7AQAAdwAAAAlNAgAACge8AQAAAAEAAAAEAAAABBxBcGxvcmlzLkJhc2UuVUkuVmlzdWFsT2JqZWN0AwAAAAk4AQAADQMBvwEAACMAAAAKCgAAAAAAKEEJeAAAAAl5AAAACU4CAAAAAAlPAgAAAcABAAB6AAAACgoAAAAA////AA4AAAAAAQHEAQAArwAAAAlQAgAAAQAAAAEAAAABxQEAAHcAAAAJUQIAAAoHxgEAAAABAAAABAAAAAQcQXBsb3Jpcy5CYXNlLlVJLlZpc3VhbE9iamVjdAMAAAAJPwEAAA0DAckBAAAjAAAACgoAAAAAAChBCXgAAAAJeQAAAAlSAgAAAAAJUwIAAAHKAQAAegAAAAoKAAAAAP///wAOAAAAAAEBzgEAAK8AAAAJVAIAAAEAAAABAAAAAc8BAAB3AAAACVUCAAAKB9ABAAAAAQAAAAQAAAAEHEFwbG9yaXMuQmFzZS5VSS5WaXN1YWxPYmplY3QDAAAACUYBAAANAwHRAQAANAAAAAFWAgAAIQAAAGwW+0IAAKZDAVcCAACiAAAABQAAAAAAAAAAAAAAAAlYAgAAAAAAAAlZAgAAAAAAAVoCAACrAAAAAAAAAAFbAgAAdAAAAAAAqEIAAHBBAVwCAAAVAAAAYif2QnZipUMsL4dCiZ04QRKDvj8JHgEAAAoJXQIAAAl/AQAAhAMAAP////8BAQoJXgIAAAEACgEB0gEAABwAAAABXwIAACEAAAC0F95CAACmQwFgAgAAIQAAAGwW9UKuv6tDCWECAAAJYgIAAAAAAAAKAWMCAAB0AAAAAAAAAAAAAAABZAIAAHQAAAAAAAAAAAAAAAAAAAABZQIAABUAAAAAAAAAAAAAAAAAAAAAAAAAmAMAAP////8BAQoJZgIAAAEACgEB0wEAACUAAAAJ6wEAAAAAAAAAAAAAAdQBAAAmAAAACWcCAAACAAAAAgAAAAHVAQAANAAAAAFoAgAAIQAAAHApnUMAAKZDAWkCAACiAAAABQAAAAAAAAAAAAAAAAlqAgAAAAAAAAlrAgAAAAAAAWwCAACrAAAAAAAAAAFtAgAAdAAAAAAAZEIAAHBBAW4CAAAVAAAA7MSbQ3ZipUOmSjtCiZ04QRKDvj8JJgEAAAoJbwIAAAl/AQAAhAMAAP////8BAQoJcAIAAAEACgEB1gEAABwAAAABcQIAACEAAADC6ZVDAACmQwFyAgAAIQAAAHCpm0Ouv6tDCXMCAAAJdAIAAAAAAAAKAXUCAAB0AAAAAAAAAAAAAAABdgIAAHQAAAAAAAAAAAAAAAAAAAABdwIAABUAAAAAAAAAAAAAAAAAAAAAAAAAmAMAAP////8BAQoJeAIAAAEACgEB1wEAACUAAAAJ6wEAAAAAAAAAAAAAAdgBAAAmAAAACXkCAAACAAAAAgAAAAHZAQAANAAAAAF6AgAAIQAAAM8q8UMAAKZDAXsCAACiAAAABQAAAAAAAAAAAAAAAAl8AgAAAAAAAAl9AgAAAAAAAX4CAACrAAAAAAAAAAF/AgAAdAAAAAAA/EIAAHBBAYACAAAVAAAA///vQ3ZipUO2zMdCiZ04QRKDvj8GgQIAABNFcXVpcHBlZCBOYXZpZ2F0b3JzCgmCAgAACYECAACEAwAA/////wEBCgmDAgAAAQAKAQHaAQAAHAAAAAGEAgAAIQAAACHr6UMAAKZDAYUCAAAhAAAAz6rvQ66/q0MJhgIAAAmHAgAAAAAAAAoBiAIAAHQAAAAAAAAAAAAAAAGJAgAAdAAAAAAAAAAAAAAAAAAAAAGKAgAAFQAAAAAAAAAAAAAAAAAAAAAAAACYAwAA/////wEBCgmLAgAAAQAKAQHbAQAAJQAAAAnrAQAAAAAAAAAAAAAB3AEAACYAAAAJjAIAAAIAAAACAAAAAd8BAAByAAAACgoAAABAPwmNAgAACY4CAAABAAAA/v///wAAAAABAAAAAAAAAAAAAAABAAAAAAAAAAAAAAHgAQAAdwAAAAmPAgAACgHjAQAAIwAAAAoKAAAAAAAoQQl4AAAACXkAAAAJkAIAAAAACZECAAAB5AEAAHoAAAAKCgAAAAD///8ADgAAAAABAekBAACvAAAACZICAAABAAAAAQAAAAHqAQAAdwAAAAmTAgAACgfrAQAAAAEAAAAAAAAABB9BcGxvcmlzLkJhc2UuT2JqZWN0cy5EYXRhT2JqZWN0AwAAAAfsAQAAAAEAAAAEAAAABBxBcGxvcmlzLkJhc2UuVUkuVmlzdWFsT2JqZWN0AwAAAAlMAQAACU0BAAAKCgHvAQAAcgAAAAoKAAAAQD8JlAIAAAmVAgAAAQAAAP7///8AAAAAAQAAAAAAAAAAAAAAAQAAAAAAAAAAAAAB8AEAAHcAAAAJlgIAAAoB8wEAACMAAAAKCgAAAAAAKEEJeAAAAAl5AAAACZcCAAAAAAmYAgAAAfQBAAB6AAAACgoAAAAA////AA4AAAAAAQH5AQAArwAAAAmZAgAAAQAAAAMAAAAB+gEAAHcAAAAJmgIAAAoH+wEAAAABAAAABAAAAAQcQXBsb3Jpcy5CYXNlLlVJLlZpc3VhbE9iamVjdAMAAAAJUgEAAAlTAQAACgoB/gEAAHIAAAAKCgAAAEA/CZsCAAAJnAIAAAEAAAD+////AAAAAAEAAAAAAAAAAAAAAAEAAAAAAAAAAAAAAf8BAAB3AAAACZ0CAAAKAQICAAAjAAAACgoAAAAAAChBCXgAAAAJeQAAAAmeAgAAAAAJnwIAAAEDAgAAegAAAAoKAAAAAP///wAOAAAAAAEBCAIAAK8AAAAJoAIAAAEAAAADAAAAAQkCAAB3AAAACaECAAAKBwoCAAAAAQAAAAQAAAAEHEFwbG9yaXMuQmFzZS5VSS5WaXN1YWxPYmplY3QDAAAACVgBAAAJWQEAAAoKAQ0CAAByAAAACgoAAABAPwmiAgAACaMCAAABAAAA/v///wAAAAABAAAAAAAAAAAAAAABAAAAAAAAAAAAAAEOAgAAdwAAAAmkAgAACgERAgAAIwAAAAoKAAAAAAAoQQl4AAAACXkAAAAJpQIAAAAACaYCAAABEgIAAHoAAAAKCgAAAAD///8ADgAAAAABARcCAACvAAAACacCAAABAAAAAwAAAAEYAgAAdwAAAAmoAgAACgcZAgAAAAEAAAAEAAAABBxBcGxvcmlzLkJhc2UuVUkuVmlzdWFsT2JqZWN0AwAAAAleAQAACV8BAAAKCgEcAgAAcgAAAAoKAAAAQD8JqQIAAAmqAgAAAQAAAP7///8AAAAAAQAAAAAAAAAAAAAAAQAAAAAAAAAAAAABHQIAAHcAAAAJqwIAAAoBIAIAACMAAAAKCgAAAAAAKEEJeAAAAAl5AAAACawCAAAAAAmtAgAAASECAAB6AAAACgoAAAAA////AA4AAAAAAQEmAgAArwAAAAmuAgAAAQAAAAMAAAABJwIAAHcAAAAJrwIAAAoHKAIAAAABAAAABAAAAAQcQXBsb3Jpcy5CYXNlLlVJLlZpc3VhbE9iamVjdAMAAAAJZAEAAAllAQAACgoBKwIAAHIAAAAKCgAAAEA/CbACAAAJsQIAAAEAAAD+////AAAAAAEAAAAAAAAAAAAAAAEAAAAAAAAAAAAAASwCAAB3AAAACbICAAAKAS8CAAAjAAAACgoAAAAAAChBCXgAAAAJeQAAAAmzAgAAAAAJtAIAAAEwAgAAegAAAAoKAAAAAP///wAOAAAAAAEBNQIAAK8AAAAJtQIAAAEAAAADAAAAATYCAAB3AAAACbYCAAAKBzcCAAAAAQAAAAQAAAAEHEFwbG9yaXMuQmFzZS5VSS5WaXN1YWxPYmplY3QDAAAACWoBAAAJawEAAAoKBzgCAAAAAQAAAAQAAAAEHkFwbG9yaXMuQ2hhcnQuQ2hhcnREYXRhRWxlbWVudAIAAAAJtwIAAAm4AgAACbkCAAAKBzkCAAAAAQAAAAQAAAAEH0FwbG9yaXMuQmFzZS5PYmplY3RzLkRhdGFPYmplY3QDAAAACbcCAAAJuAIAAAm5AgAACgE6AgAAegAAAAoKAAAAAAAAAAANAAAAAAEBOwIAAHoAAAAKCgEAAAAAAAAA/////wABBzwCAAAAAQAAAAQAAAAEHUFwbG9yaXMuQmFzZS5PYmplY3RzLlZhcmlhYmxlAwAAAAW6AgAAHUFwbG9yaXMuQmFzZS5PYmplY3RzLlZhcmlhYmxlAgAAAAZOdW1iZXIIUG9zaXRpb24AAAgIAwAAAAEAAAAAAAAAAbsCAAC6AgAAAAAAAAAAAAABvAIAALoCAAAAAAAAAAAAAAG9AgAAugIAAAAAAAAAAAAADz0CAAABAAAACAAAAAAHPgIAAAABAAAABAAAAAQeQXBsb3Jpcy5DaGFydC5DaGFydERhdGFFbGVtZW50AgAAAAm+AgAACb8CAAAJwAIAAAoHPwIAAAABAAAABAAAAAQfQXBsb3Jpcy5CYXNlLk9iamVjdHMuRGF0YU9iamVjdAMAAAAJvgIAAAm/AgAACcACAAAKAUACAAB6AAAACgoAAAAAAAAAAA0AAAAAAQFBAgAAegAAAAoKAQAAAAAAAAD/////AAEHQgIAAAABAAAABAAAAAQdQXBsb3Jpcy5CYXNlLk9iamVjdHMuVmFyaWFibGUDAAAAAcECAAC6AgAAAQAAAAAAAAABwgIAALoCAAAAAAAAAAAAAAHDAgAAugIAAAAAAAAAAAAAAcQCAAC6AgAAAAAAAAAAAAAPQwIAAAEAAAAIAAAAAAdEAgAAAAEAAAAEAAAABB5BcGxvcmlzLkNoYXJ0LkNoYXJ0RGF0YUVsZW1lbnQCAAAACcUCAAAJxgIAAAnHAgAACgdFAgAAAAEAAAAEAAAABB9BcGxvcmlzLkJhc2UuT2JqZWN0cy5EYXRhT2JqZWN0AwAAAAnFAgAACcYCAAAJxwIAAAoBRgIAAHoAAAAKCgAAAAAAAAAADQAAAAABAUcCAAB6AAAACgoBAAAAAAAAAP////8AAQdIAgAAAAEAAAAEAAAABB1BcGxvcmlzLkJhc2UuT2JqZWN0cy5WYXJpYWJsZQMAAAAByAIAALoCAAABAAAAAAAAAAHJAgAAugIAAAAAAAAAAAAAAcoCAAC6AgAAAAAAAAAAAAABywIAALoCAAAAAAAAAAAAAA9JAgAAAQAAAAgAAAAAAUoCAAB6AAAACgoAAAAAAAAAAA0AAAAAAAFLAgAAegAAAAoKAAAAAAAAAAANAAAAAAEHTAIAAAABAAAABAAAAAQdQXBsb3Jpcy5CYXNlLk9iamVjdHMuVmFyaWFibGUDAAAAAcwCAAC6AgAAAQAAAAAAAAABzQIAALoCAAAAAAAAAAAAAAHOAgAAugIAAAAAAAAAAAAAAc8CAAC6AgAAAAAAAAAAAAAPTQIAAAEAAAAIBQAAAAFOAgAAegAAAAoKAAAAAAAAAAANAAAAAAABTwIAAHoAAAAKCgAAAAAAAAAADQAAAAABB1ACAAAAAQAAAAQAAAAEHUFwbG9yaXMuQmFzZS5PYmplY3RzLlZhcmlhYmxlAwAAAAHQAgAAugIAAAEAAAAAAAAAAdECAAC6AgAAAAAAAAAAAAAB0gIAALoCAAAAAAAAAAAAAAHTAgAAugIAAAAAAAAAAAAAD1ECAAABAAAACAMAAAABUgIAAHoAAAAKCgAAAAAAAAAADQAAAAAAAVMCAAB6AAAACgoAAAAAAAAAAA0AAAAAAQdUAgAAAAEAAAAEAAAABB1BcGxvcmlzLkJhc2UuT2JqZWN0cy5WYXJpYWJsZQMAAAAB1AIAALoCAAABAAAAAAAAAAHVAgAAugIAAAAAAAAAAAAAAdYCAAC6AgAAAAAAAAAAAAAB1wIAALoCAAAAAAAAAAAAAA9VAgAAAQAAAAgCAAAAAVgCAAAjAAAACgoAAAAAAChBCXgAAAAJeQAAAAnYAgAAAAAJ2QIAAAFZAgAAegAAAAoKAQAAAAAAAAD/////AAEBXQIAAK8AAAAJ2gIAAAEAAAABAAAAAV4CAAB3AAAACdsCAAAKAWECAAByAAAACgoAAABAPwncAgAACd0CAAABAAAA/v///wAAAAABAAAAAAAAAAAAAAABAAAAAAAAAAAAAAFiAgAAcwAAAAoKCd4CAAAJ3wIAAAEAAAD+////AAAAAP////8AAAFmAgAAdwAAAAngAgAACgdnAgAAAAEAAAAEAAAABBxBcGxvcmlzLkJhc2UuVUkuVmlzdWFsT2JqZWN0AwAAAAnRAQAACdIBAAAKCgFqAgAAIwAAAAoKAAAAAAAoQQl4AAAACXkAAAAJ4QIAAAAACeICAAABawIAAHoAAAAKCgEAAAAAAAAA/////wABAW8CAACvAAAACeMCAAABAAAAAQAAAAFwAgAAdwAAAAnkAgAACgFzAgAAcgAAAAoKAAAAQD8J5QIAAAnmAgAAAQAAAP7///8AAAAAAQAAAAAAAAAAAAAAAQAAAAAAAAAAAAABdAIAAHMAAAAKCgnnAgAACegCAAABAAAA/v///wAAAAD/////AAABeAIAAHcAAAAJ6QIAAAoHeQIAAAABAAAABAAAAAQcQXBsb3Jpcy5CYXNlLlVJLlZpc3VhbE9iamVjdAMAAAAJ1QEAAAnWAQAACgoBfAIAACMAAAAKCgAAAAAAKEEJeAAAAAl5AAAACeoCAAAAAAnrAgAAAX0CAAB6AAAACgoBAAAAAAAAAP////8AAQGCAgAArwAAAAnsAgAAAAAAAAIAAAABgwIAAHcAAAAJ7QIAAAoBhgIAAHIAAAAKCgAAAEA/Ce4CAAAJ7wIAAAEAAAD+////AAAAAAEAAAAAAAAAAAAAAAEAAAAAAAAAAAAAAYcCAABzAAAACgoJ8AIAAAnxAgAAAQAAAP7///8AAAAA/////wAAAYsCAAB3AAAACfICAAAKB4wCAAAAAQAAAAQAAAAEHEFwbG9yaXMuQmFzZS5VSS5WaXN1YWxPYmplY3QDAAAACdkBAAAJ2gEAAAoKAY0CAAB6AAAACgoAAAAAAAAAAA0AAAAAAAWOAgAAGkFwbG9yaXMuQmFzZS5PYmplY3RzLkNvbG9yBwAAABJEYXRhT2JqZWN0K21QYXJlbnQVRGF0YU9iamVjdCttQ29udGFpbmVyBW1UeXBlBG1SR0IQbVRoZW1lQ29sb3JJbmRleAxtQXV0b1VwZGF0ZWQJbU1vZGlmaWVkBAIAAAAAAB9BcGxvcmlzLkJhc2UuT2JqZWN0cy5MaW5lRm9ybWF0AwAAAAgICAEBAwAAAAnfAQAACgEAAAAAAAAA/////wABD48CAAABAAAACFEAAAABkAIAAHoAAAAKCgAAAAAAAAAADQAAAAAAAZECAAB6AAAACgoAAAAAAAAAAA0AAAAAAQeSAgAAAAEAAAAEAAAABB1BcGxvcmlzLkJhc2UuT2JqZWN0cy5WYXJpYWJsZQMAAAAB8wIAALoCAAABAAAAAAAAAAH0AgAAugIAAAAAAAAAAAAAAfUCAAC6AgAAAAAAAAAAAAAB9gIAALoCAAAAAAAAAAAAAA+TAgAAAQAAAAgcAAAAAZQCAAB6AAAACgoAAAAAAAAAAA0AAAAAAAWVAgAAGkFwbG9yaXMuQmFzZS5PYmplY3RzLkNvbG9yBwAAABJEYXRhT2JqZWN0K21QYXJlbnQVRGF0YU9iamVjdCttQ29udGFpbmVyBW1UeXBlBG1SR0IQbVRoZW1lQ29sb3JJbmRleAxtQXV0b1VwZGF0ZWQJbU1vZGlmaWVkBAIAAAAAAB9BcGxvcmlzLkJhc2UuT2JqZWN0cy5MaW5lRm9ybWF0AwAAAAgICAEBAwAAAAnvAQAACgEAAAAAAAAA/////wABD5YCAAABAAAACFIAAAABlwIAAHoAAAAKCgAAAAAAAAAADQAAAAAAAZgCAAB6AAAACgoAAAAAAAAAAA0AAAAAAQeZAgAAAAEAAAAEAAAABB1BcGxvcmlzLkJhc2UuT2JqZWN0cy5WYXJpYWJsZQMAAAAB9wIAALoCAAABAAAAAAAAAAH4AgAAugIAAAAAAAAAAAAAAfkCAAC6AgAAAAAAAAAAAAAB+gIAALoCAAAAAAAAAAAAAA+aAgAAAQAAAAgaAAAAAZsCAAB6AAAACgoAAAAAAAAAAA0AAAAAAAWcAgAAGkFwbG9yaXMuQmFzZS5PYmplY3RzLkNvbG9yBwAAABJEYXRhT2JqZWN0K21QYXJlbnQVRGF0YU9iamVjdCttQ29udGFpbmVyBW1UeXBlBG1SR0IQbVRoZW1lQ29sb3JJbmRleAxtQXV0b1VwZGF0ZWQJbU1vZGlmaWVkBAIAAAAAAB9BcGxvcmlzLkJhc2UuT2JqZWN0cy5MaW5lRm9ybWF0AwAAAAgICAEBAwAAAAn+AQAACgEAAAAAAAAA/////wABD50CAAABAAAACFMAAAABngIAAHoAAAAKCgAAAAAAAAAADQAAAAAAAZ8CAAB6AAAACgoAAAAAAAAAAA0AAAAAAQegAgAAAAEAAAAEAAAABB1BcGxvcmlzLkJhc2UuT2JqZWN0cy5WYXJpYWJsZQMAAAAB+wIAALoCAAABAAAAAAAAAAH8AgAAugIAAAAAAAAAAAAAAf0CAAC6AgAAAAAAAAAAAAAB/gIAALoCAAAAAAAAAAAAAA+hAgAAAQAAAAgbAAAAAaICAAB6AAAACgoAAAAAAAAAAA0AAAAAAAWjAgAAGkFwbG9yaXMuQmFzZS5PYmplY3RzLkNvbG9yBwAAABJEYXRhT2JqZWN0K21QYXJlbnQVRGF0YU9iamVjdCttQ29udGFpbmVyBW1UeXBlBG1SR0IQbVRoZW1lQ29sb3JJbmRleAxtQXV0b1VwZGF0ZWQJbU1vZGlmaWVkBAIAAAAAAB9BcGxvcmlzLkJhc2UuT2JqZWN0cy5MaW5lRm9ybWF0AwAAAAgICAEBAwAAAAkNAgAACgEAAAAAAAAA/////wABD6QCAAABAAAACFYAAAABpQIAAHoAAAAKCgAAAAAAAAAADQAAAAAAAaYCAAB6AAAACgoAAAAAAAAAAA0AAAAAAQenAgAAAAEAAAAEAAAABB1BcGxvcmlzLkJhc2UuT2JqZWN0cy5WYXJpYWJsZQMAAAAB/wIAALoCAAABAAAAAAAAAAEAAwAAugIAAAAAAAAAAAAAAQEDAAC6AgAAAAAAAAAAAAABAgMAALoCAAAAAAAAAAAAAA+oAgAAAQAAAAgfAAAAAakCAAB6AAAACgoAAAAAAAAAAA0AAAAAAAWqAgAAGkFwbG9yaXMuQmFzZS5PYmplY3RzLkNvbG9yBwAAABJEYXRhT2JqZWN0K21QYXJlbnQVRGF0YU9iamVjdCttQ29udGFpbmVyBW1UeXBlBG1SR0IQbVRoZW1lQ29sb3JJbmRleAxtQXV0b1VwZGF0ZWQJbU1vZGlmaWVkBAIAAAAAAB9BcGxvcmlzLkJhc2UuT2JqZWN0cy5MaW5lRm9ybWF0AwAAAAgICAEBAwAAAAkcAgAACgEAAAAAAAAA/////wABD6sCAAABAAAACFQAAAABrAIAAHoAAAAKCgAAAAAAAAAADQAAAAAAAa0CAAB6AAAACgoAAAAAAAAAAA0AAAAAAQeuAgAAAAEAAAAEAAAABB1BcGxvcmlzLkJhc2UuT2JqZWN0cy5WYXJpYWJsZQMAAAABAwMAALoCAAABAAAAAAAAAAEEAwAAugIAAAAAAAAAAAAAAQUDAAC6AgAAAAAAAAAAAAABBgMAALoCAAAAAAAAAAAAAA+vAgAAAQAAAAgdAAAAAbACAAB6AAAACgoAAAAAAAAAAA0AAAAAAAWxAgAAGkFwbG9yaXMuQmFzZS5PYmplY3RzLkNvbG9yBwAAABJEYXRhT2JqZWN0K21QYXJlbnQVRGF0YU9iamVjdCttQ29udGFpbmVyBW1UeXBlBG1SR0IQbVRoZW1lQ29sb3JJbmRleAxtQXV0b1VwZGF0ZWQJbU1vZGlmaWVkBAIAAAAAAB9BcGxvcmlzLkJhc2UuT2JqZWN0cy5MaW5lRm9ybWF0AwAAAAgICAEBAwAAAAkrAgAACgEAAAAAAAAA/////wABD7ICAAABAAAACFUAAAABswIAAHoAAAAKCgAAAAAAAAAADQAAAAAAAbQCAAB6AAAACgoAAAAAAAAAAA0AAAAAAQe1AgAAAAEAAAAEAAAABB1BcGxvcmlzLkJhc2UuT2JqZWN0cy5WYXJpYWJsZQMAAAABBwMAALoCAAABAAAAAAAAAAEIAwAAugIAAAAAAAAAAAAAAQkDAAC6AgAAAAAAAAAAAAABCgMAALoCAAAAAAAAAAAAAA+2AgAAAQAAAAgeAAAABbcC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CwMAAAkMAwAACgkNAwAACgkIAQAACAY9CtejcD3mPwoAAAAACQ4DAAAJDwMAAAAAAAAACRADAAAJCAEAAAkBAAAACREDAAABuAIAALcCAAAJEgMAAAkTAwAACgkUAwAACgkIAQAACAakcD0K16PQPwoBAAAACRUDAAAJFgMAAAAAAAAACRcDAAAJCAEAAAkBAAAACRgDAAABuQIAALcCAAAJGQMAAAkaAwAACgkbAwAACgkIAQAACAbZzvdT46XLPwoCAAAACRwDAAAJHQMAAAAAAAAACR4DAAAJCAEAAAkBAAAACR8DAAABvgIAALcCAAAJIAMAAAkhAwAACgkiAwAACgkJAQAACAYzMzMzMzPrPwoAAAAACSMDAAAJJAMAAAAAAAAACSUDAAAJCQEAAAkBAAAACSYDAAABvwIAALcCAAAJJwMAAAkoAwAACgkpAwAACgkJAQAACAY5tMh2vp/aPwoBAAAACSoDAAAJKwMAAAAAAAAACSwDAAAJCQEAAAkBAAAACS0DAAABwAIAALcCAAAJLgMAAAkvAwAACgkwAwAACgkJAQAACAZ9PzVeuknUPwoCAAAACTEDAAAJMgMAAAAAAAAACTMDAAAJCQEAAAkBAAAACTQDAAABxQIAALcCAAAJNQMAAAk2AwAACgk3AwAACgkKAQAACAbpJjEIrBzqPwoAAAAACTgDAAAJOQMAAAAAAAAACToDAAAJCgEAAAkBAAAACTsDAAABxgIAALcCAAAJPAMAAAk9AwAACgk+AwAACgkKAQAACAZU46WbxCDgPwoBAAAACT8DAAAJQAMAAAAAAAAACUEDAAAJCgEAAAkBAAAACUIDAAABxwIAALcCAAAJQwMAAAlEAwAACglFAwAACgkKAQAACAYMAiuHFtnePwoCAAAACUYDAAAJRwMAAAAAAAAACUgDAAAJCgEAAAkBAAAACUkDAAAB2AIAAHoAAAAKCgAAAAAAAAAADQAAAAAAAdkCAAB6AAAACgoBAAAAAAAAAP////8AAQfaAgAAAAEAAAAEAAAABB1BcGxvcmlzLkJhc2UuT2JqZWN0cy5WYXJpYWJsZQMAAAABSgMAALoCAAABAAAAAAAAAAFLAwAAugIAAAAAAAAAAAAAAUwDAAC6AgAAAAAAAAAAAAABTQMAALoCAAAAAAAAAAAAAA/bAgAAAQAAAAgqAAAAAdwCAAB6AAAACgoAAAAA////AA4AAAAAAAXdAgAAGkFwbG9yaXMuQmFzZS5PYmplY3RzLkNvbG9yBwAAABJEYXRhT2JqZWN0K21QYXJlbnQVRGF0YU9iamVjdCttQ29udGFpbmVyBW1UeXBlBG1SR0IQbVRoZW1lQ29sb3JJbmRleAxtQXV0b1VwZGF0ZWQJbU1vZGlmaWVkBAIAAAAAAB9BcGxvcmlzLkJhc2UuT2JqZWN0cy5MaW5lRm9ybWF0AwAAAAgICAEBAwAAAAlhAgAACgEAAAAAAAAA/////wABAd4CAAB6AAAACgoBAAAA26wAAP////8AAAHfAgAAegAAAAoKAQAAAP///wD/////AAAP4AIAAAEAAAAILAAAAAHhAgAAegAAAAoKAAAAAAAAAAANAAAAAAAB4gIAAHoAAAAKCgEAAAAAAAAA/////wABB+MCAAAAAQAAAAQAAAAEHUFwbG9yaXMuQmFzZS5PYmplY3RzLlZhcmlhYmxlAwAAAAFOAwAAugIAAAEAAAAAAAAAAU8DAAC6AgAAAAAAAAAAAAABUAMAALoCAAAAAAAAAAAAAAFRAwAAugIAAAAAAAAAAAAAD+QCAAABAAAACCkAAAAB5QIAAHoAAAAKCgAAAAD///8ADgAAAAAABeYCAAAaQXBsb3Jpcy5CYXNlLk9iamVjdHMuQ29sb3IHAAAAEkRhdGFPYmplY3QrbVBhcmVudBVEYXRhT2JqZWN0K21Db250YWluZXIFbVR5cGUEbVJHQhBtVGhlbWVDb2xvckluZGV4DG1BdXRvVXBkYXRlZAltTW9kaWZpZWQEAgAAAAAAH0FwbG9yaXMuQmFzZS5PYmplY3RzLkxpbmVGb3JtYXQDAAAACAgIAQEDAAAACXMCAAAKAQAAAAAAAAD/////AAEB5wIAAHoAAAAKCgEAAAA5pMQA/////wAAAegCAAB6AAAACgoBAAAA////AP////8AAA/pAgAAAQAAAAguAAAAAeoCAAB6AAAACgoAAAAAAAAAAA0AAAAAAAHrAgAAegAAAAoKAQAAAAAAAAD/////AAEH7AIAAAABAAAABAAAAAQdQXBsb3Jpcy5CYXNlLk9iamVjdHMuVmFyaWFibGUDAAAAAVIDAAC6AgAAAAAAAAAAAAABUwMAALoCAAAAAAAAAAAAAAFUAwAAugIAAAAAAAAAAAAAAVUDAAC6AgAAAAAAAAAAAAAP7QIAAAEAAAAIKwAAAAHuAgAAegAAAAoKAAAAAP///wAOAAAAAAAF7wIAABpBcGxvcmlzLkJhc2UuT2JqZWN0cy5Db2xvcgcAAAASRGF0YU9iamVjdCttUGFyZW50FURhdGFPYmplY3QrbUNvbnRhaW5lcgVtVHlwZQRtUkdCEG1UaGVtZUNvbG9ySW5kZXgMbUF1dG9VcGRhdGVkCW1Nb2RpZmllZAQCAAAAAAAfQXBsb3Jpcy5CYXNlLk9iamVjdHMuTGluZUZvcm1hdAMAAAAICAgBAQMAAAAJhgIAAAoBAAAAAAAAAP////8AAQHwAgAAegAAAAoKAQAAAGWRKQD/////AAAB8QIAAHoAAAAKCgEAAAD///8A/////wAAD/ICAAABAAAACC0AAAABCwMAAB8BAAAKWAIAAAFWAwAAcwEAAAIAAAABVwMAAHQBAAABAAAAAVgDAAAVAAAAKh6AQvPL00LN4UdCcOg9QwFZAwAAdgEAAAAAAAAAAKBAAAFaAwAAIQAAAJ0WskIy2khDAVsDAACiAAAAAAAAAAAAAAAAAAAAAAlcAwAAAAAAAAldAwAAAAAAAV4DAACrAAAAAAAAAAFfAwAAdAAAAAAA2EEAAHBBAWADAAAVAAAAxE6YQp3YQUPE971BiZ04QRKDvj8GYQMAAAM3MCUKCWIDAAAJfwEAADQDAAD/////AQEKCWMDAAABAAoBAQwDAAAcAAAAAWQDAAAhAAAAUzx0QjVnlUMBZQMAACEAAAAQD+pC88vNQglmAwAACWcDAAAAAAAACgFoAwAAdAAAAAAAAAAAAAAAAWkDAAB0AAAAAAAAAAAAAAAAAAAAAWoDAAAVAAAAAAAAAAAAAAAAAAAAAAAAAKQBAAD/////AQEKCWsDAAABAAoBBw0DAAAAAQAAAAIAAAAEGkFwbG9yaXMuQmFzZS5VSS5WaXN1YWxMaW5lAwAAAAoKBw4DAAAAAQAAAAQAAAAEFVN5c3RlbS5EcmF3aW5nLlBvaW50RgQAAAABbAMAACEAAACdFrJCMtpIQwFtAwAAIQAAAFM8aEIy2khDAW4DAAAhAAAAEA/wQjLaSEMBbwMAACEAAACdFrJC88vHQgcPAwAAAAEAAAAEAAAABBdBcGxvcmlzLkJhc2UuQW5jaG9yTW9kZQMAAAABcAMAAKIAAAAAAAAAAXEDAACiAAAAAgAAAAFyAwAAogAAAAQAAAABcwMAAKIAAAABAAAAARADAAAlAAAACdsAAAAAAAAAAAAAAAERAwAAJgAAAAl0AwAAAgAAAAoAAAABEgMAAB8BAAAKWAIAAAF1AwAAcwEAAAIAAAABdgMAAHQBAAABAAAAAXcDAAAVAAAAwcaEQ1qEZEPQ4UdCIJSGQgF4AwAAdgEAAAAAAAAAAKBAAAF5AwAAIQAAAN5EkUOxFINDAXoDAACiAAAAAAAAAAAAAAAAAAAAAAl7AwAAAAAAAAl8AwAAAAAAAX0DAACrAAAAAAAAAAF+AwAAdAAAAAAA2EEAAHBBAX8DAAAVAAAAndiKQ3Vif0PE971BiZ04QRKDvj8GgAMAAAMyNiUKCYEDAAAJfwEAADQDAAD/////AQEKCYIDAAABAAoBARMDAAAcAAAAAYMDAAAhAAAAwUaDQzVnlUMBhAMAACEAAAD7Qp9DWoRhQwmFAwAACYYDAAAAAAAACgGHAwAAdAAAAAAAAAAAAAAAAYgDAAB0AAAAAAAAAAAAAAAAAAAAAYkDAAAVAAAAAAAAAAAAAAAAAAAAAAAAAKQBAAD/////AQEKCYoDAAABAAoBBxQDAAAAAQAAAAIAAAAEGkFwbG9yaXMuQmFzZS5VSS5WaXN1YWxMaW5lAwAAAAoKBxUDAAAAAQAAAAQAAAAEFVN5c3RlbS5EcmF3aW5nLlBvaW50RgQAAAABiwMAACEAAADeRJFDsRSDQwGMAwAAIQAAAMHGgUOxFINDAY0DAAAhAAAA+8KgQ7EUg0MBjgMAACEAAADeRJFDWoReQwcWAwAAAAEAAAAEAAAABBdBcGxvcmlzLkJhc2UuQW5jaG9yTW9kZQMAAAABjwMAAKIAAAAAAAAAAZADAACiAAAAAgAAAAGRAwAAogAAAAQAAAABkgMAAKIAAAABAAAAARcDAAAlAAAACdsAAAAAAAAAAAAAAAEYAwAAJgAAAAmTAwAAAgAAAAoAAAABGQMAAB8BAAAKWAIAAAGUAwAAcwEAAAIAAAABlQMAAHQBAAABAAAAAZYDAAAVAAAA94XpQ3jrcEPI4UdCyItbQgGXAwAAdgEAAAAAAAAAAKBAAAGYAwAAIQAAABQE9kN4LoZDAZkDAACiAAAAAAAAAAAAAAAAAAAAAAmaAwAAAAAAAAmbAwAAAAAAAZwDAACrAAAAAAAAAAGdAwAAdAAAAAAA2EEAAHBBAZ4DAAAVAAAAiZ3vQ+zEgkPE971BiZ04QRKDvj8GnwMAAAMyMiUKCaADAAAJfwEAADQDAAD/////AQEKCaEDAAABAAoBARoDAAAcAAAAAaIDAAAhAAAA9wXoQzVnlUMBowMAACEAAAAYAQJEeOttQwmkAwAACaUDAAAAAAAACgGmAwAAdAAAAAAAAAAAAAAAAacDAAB0AAAAAAAAAAAAAAAAAAAAAagDAAAVAAAAAAAAAAAAAAAAAAAAAAAAAKQBAAD/////AQEKCakDAAABAAoBBxsDAAAAAQAAAAIAAAAEGkFwbG9yaXMuQmFzZS5VSS5WaXN1YWxMaW5lAwAAAAoKBxwDAAAAAQAAAAQAAAAEFVN5c3RlbS5EcmF3aW5nLlBvaW50RgQAAAABqgMAACEAAAAUBPZDeC6GQwGrAwAAIQAAAPeF5kN4LoZDAawDAAAhAAAAGMECRHguhkMBrQMAACEAAAAUBPZDeOtqQwcdAwAAAAEAAAAEAAAABBdBcGxvcmlzLkJhc2UuQW5jaG9yTW9kZQMAAAABrgMAAKIAAAAAAAAAAa8DAACiAAAAAgAAAAGwAwAAogAAAAQAAAABsQMAAKIAAAABAAAAAR4DAAAlAAAACdsAAAAAAAAAAAAAAAEfAwAAJgAAAAmyAwAAAgAAAAoAAAABIAMAAB8BAAAKWAIAAAGzAwAAcwEAAAIAAAABtAMAAHQBAAABAAAAAbUDAAAVAAAAEA/wQpjTeELQ4UdChJlpQwG2AwAAdgEAAAAAAAAAAKBAAAG3AwAAIQAAAMIDEUOoATNDAbgDAACiAAAAAAAAAAAAAAAAAAAAAAm5AwAAAAAAAAm6AwAAAAAAAbsDAACrAAAAAAAAAAG8AwAAdAAAAAAA2EEAAHBBAb0DAAAVAAAAxE4EQ8ROLEPE971BiZ04QRKDvj8GvgMAAAM4NSUKCb8DAAAJfwEAADQDAAD/////AQEKCcADAAABAAoBASEDAAAcAAAAAcEDAAAhAAAAEA/qQjVnlUMBwgMAACEAAAD8/yxDmNNsQgnDAwAACcQDAAAAAAAACgHFAwAAdAAAAAAAAAAAAAAAAcYDAAB0AAAAAAAAAAAAAAAAAAAAAccDAAAVAAAAAAAAAAAAAAAAAAAAAAAAAKQBAAD/////AQEKCcgDAAABAAoBByIDAAAAAQAAAAIAAAAEGkFwbG9yaXMuQmFzZS5VSS5WaXN1YWxMaW5lAwAAAAoKByMDAAAAAQAAAAQAAAAEFVN5c3RlbS5EcmF3aW5nLlBvaW50RgQAAAAByQMAACEAAADCAxFDqAEzQwHKAwAAIQAAABAP5EKoATNDAcsDAAAhAAAA/P8vQ6gBM0MBzAMAACEAAADCAxFDmNNgQgckAwAAAAEAAAAEAAAABBdBcGxvcmlzLkJhc2UuQW5jaG9yTW9kZQMAAAABzQMAAKIAAAAAAAAAAc4DAACiAAAAAgAAAAHPAwAAogAAAAQAAAAB0AMAAKIAAAABAAAAASUDAAAlAAAACdsAAAAAAAAAAAAAAAEmAwAAJgAAAAnRAwAAAgAAAAoAAAABJwMAAB8BAAAKWAIAAAHSAwAAcwEAAAIAAAAB0wMAAHQBAAABAAAAAdQDAAAVAAAA+8KgQx2LOEPQ4UdCmobeQgHVAwAAdgEAAAAAAAAAAKBAAAHWAwAAIQAAABhBrUPELHBDAdcDAACiAAAAAAAAAAAAAAAAAAAAAAnYAwAAAAAAAAnZAwAAAAAAAdoDAACrAAAAAAAAAAHbAwAAdAAAAAAA2EEAAHBBAdwDAAAVAAAATuymQ7ATaUPE971BiZ04QRKDvj8G3QMAAAM0MiUKCd4DAAAJfwEAADQDAAD/////AQEKCd8DAAABAAoBASgDAAAcAAAAAeADAAAhAAAA+0KfQzVnlUMB4QMAACEAAAA1P7tDHYs1QwniAwAACeMDAAAAAAAACgHkAwAAdAAAAAAAAAAAAAAAAeUDAAB0AAAAAAAAAAAAAAAAAAAAAeYDAAAVAAAAAAAAAAAAAAAAAAAAAAAAAKQBAAD/////AQEKCecDAAABAAoBBykDAAAAAQAAAAIAAAAEGkFwbG9yaXMuQmFzZS5VSS5WaXN1YWxMaW5lAwAAAAoKByoDAAAAAQAAAAQAAAAEFVN5c3RlbS5EcmF3aW5nLlBvaW50RgQAAAAB6AMAACEAAAAYQa1DxCxwQwHpAwAAIQAAAPvCnUPELHBDAeoDAAAhAAAANb+8Q8QscEMB6wMAACEAAAAYQa1DHYsyQwcrAwAAAAEAAAAEAAAABBdBcGxvcmlzLkJhc2UuQW5jaG9yTW9kZQMAAAAB7AMAAKIAAAAAAAAAAe0DAACiAAAAAgAAAAHuAwAAogAAAAQAAAAB7wMAAKIAAAABAAAAASwDAAAlAAAACdsAAAAAAAAAAAAAAAEtAwAAJgAAAAnwAwAAAgAAAAoAAAABLgMAAB8BAAAKWAIAAAHxAwAAcwEAAAIAAAAB8gMAAHQBAAABAAAAAfMDAAAVAAAAGcECRCFzVEPA4UdCkramQgH0AwAAdgEAAAAAAAAAAKBAAAH1AwAAIQAAACcACUTGIH5DAfYDAACiAAAAAAAAAAAAAAAAAAAAAAn3AwAAAAAAAAn4AwAAAAAAAfkDAACrAAAAAAAAAAH6AwAAdAAAAAAA2EEAAHBBAfsDAAAVAAAAndgFRDqxd0PE971BiZ04QRKDvj8G/AMAAAMzMiUKCf0DAAAJfwEAADQDAAD/////AQEKCf4DAAABAAoBAS8DAAAcAAAAAf8DAAAhAAAAGQECRDVnlUMBAAQAACEAAAA1/w9EIXNRQwkBBAAACQIEAAAAAAAACgEDBAAAdAAAAAAAAAAAAAAAAQQEAAB0AAAAAAAAAAAAAAAAAAAAAQUEAAAVAAAAAAAAAAAAAAAAAAAAAAAAAKQBAAD/////AQEKCQYEAAABAAoBBzADAAAAAQAAAAIAAAAEGkFwbG9yaXMuQmFzZS5VSS5WaXN1YWxMaW5lAwAAAAoKBzEDAAAAAQAAAAQAAAAEFVN5c3RlbS5EcmF3aW5nLlBvaW50RgQAAAABBwQAACEAAAAnAAlExiB+QwEIBAAAIQAAABlBAUTGIH5DAQkEAAAhAAAANb8QRMYgfkMBCgQAACEAAAAnAAlEIXNOQwcyAwAAAAEAAAAEAAAABBdBcGxvcmlzLkJhc2UuQW5jaG9yTW9kZQMAAAABCwQAAKIAAAAAAAAAAQwEAACiAAAAAgAAAAENBAAAogAAAAQAAAABDgQAAKIAAAABAAAAATMDAAAlAAAACdsAAAAAAAAAAAAAAAE0AwAAJgAAAAkPBAAAAgAAAAoAAAABNQMAAB8BAAAKWAIAAAEQBAAAcwEAAAIAAAABEQQAAHQBAAABAAAAARIEAAAVAAAA/P8vQ8yUj0LQ4UdCBARgQwETBAAAdgEAAAAAAAAAAKBAAAEUBAAAIQAAADb8SENozDdDARUEAACiAAAAAAAAAAAAAAAAAAAAAAkWBAAAAAAAAAkXBAAAAAAAARgEAACrAAAAAAAAAAEZBAAAdAAAAAAA2EEAAHBBARoEAAAVAAAAJ3Y8Q07sMEPE971BiZ04QRKDvj8GGwQAAAM4MiUKCRwEAAAJfwEAADQDAAD/////AQEKCR0EAAABAAoBATYDAAAcAAAAAR4EAAAhAAAA/P8sQzVnlUMBHwQAACEAAABw+GRDzJSJQgkgBAAACSEEAAAAAAAACgEiBAAAdAAAAAAAAAAAAAAAASMEAAB0AAAAAAAAAAAAAAAAAAAAASQEAAAVAAAAAAAAAAAAAAAAAAAAAAAAAKQBAAD/////AQEKCSUEAAABAAoBBzcDAAAAAQAAAAIAAAAEGkFwbG9yaXMuQmFzZS5VSS5WaXN1YWxMaW5lAwAAAAoKBzgDAAAAAQAAAAQAAAAEFVN5c3RlbS5EcmF3aW5nLlBvaW50RgQAAAABJgQAACEAAAA2/EhDaMw3QwEnBAAAIQAAAPz/KUNozDdDASgEAAAhAAAAcPhnQ2jMN0MBKQQAACEAAAA2/EhDzJSDQgc5AwAAAAEAAAAEAAAABBdBcGxvcmlzLkJhc2UuQW5jaG9yTW9kZQMAAAABKgQAAKIAAAAAAAAAASsEAACiAAAAAgAAAAEsBAAAogAAAAQAAAABLQQAAKIAAAABAAAAAToDAAAlAAAACdsAAAAAAAAAAAAAAAE7AwAAJgAAAAkuBAAAAgAAAAoAAAABPAMAAB8BAAAKWAIAAAEvBAAAcwEAAAIAAAABMAQAAHQBAAABAAAAATEEAAAVAAAANL+8Q+C8H0PQ4UdCihEIQwEyBAAAdgEAAAAAAAAAAKBAAAEzBAAAIQAAAFE9yUOlxWNDATQEAACiAAAAAAAAAAAAAAAAAAAAAAk1BAAAAAAAAAk2BAAAAAAAATcEAACrAAAAAAAAAAE4BAAAdAAAAAAA2EEAAHBBATkEAAAVAAAAiZ3CQ+zEXEPE971BiZ04QRKDvj8GOgQAAAM1MCUKCTsEAAAJfwEAADQDAAD/////AQEKCTwEAAABAAoBAT0DAAAcAAAAAT0EAAAhAAAAND+7QzVnlUMBPgQAACEAAABuO9dD4LwcQwk/BAAACUAEAAAAAAAACgFBBAAAdAAAAAAAAAAAAAAAAUIEAAB0AAAAAAAAAAAAAAAAAAAAAUMEAAAVAAAAAAAAAAAAAAAAAAAAAAAAAKQBAAD/////AQEKCUQEAAABAAoBBz4DAAAAAQAAAAIAAAAEGkFwbG9yaXMuQmFzZS5VSS5WaXN1YWxMaW5lAwAAAAoKBz8DAAAAAQAAAAQAAAAEFVN5c3RlbS5EcmF3aW5nLlBvaW50RgQAAAABRQQAACEAAABRPclDpcVjQwFGBAAAIQAAADS/uUOlxWNDAUcEAAAhAAAAbrvYQ6XFY0MBSAQAACEAAABRPclD4LwZQwdAAwAAAAEAAAAEAAAABBdBcGxvcmlzLkJhc2UuQW5jaG9yTW9kZQMAAAABSQQAAKIAAAAAAAAAAUoEAACiAAAAAgAAAAFLBAAAogAAAAQAAAABTAQAAKIAAAABAAAAAUEDAAAlAAAACdsAAAAAAAAAAAAAAAFCAwAAJgAAAAlNBAAAAgAAAAoAAAABQwMAAB8BAAAKWAIAAAFOBAAAcwEAAAIAAAABTwQAAHQBAAABAAAAAVAEAAAVAAAANr8QRG/wJUPA4UdC+90BQwFRBAAAdgEAAAAAAAAAAKBAAAFSBAAAIQAAAET+FkRs32ZDAVMEAACiAAAAAAAAAAAAAAAAAAAAAAlUBAAAAAAAAAlVBAAAAAAAAVYEAACrAAAAAAAAAAFXBAAAdAAAAAAA2EEAAHBBAVgEAAAVAAAAO7ETRJ3YX0PE971BiZ04QRKDvj8GWQQAAAM0OCUKCVoEAAAJfwEAADQDAAD/////AQEKCVsEAAABAAoBAUQDAAAcAAAAAVwEAAAhAAAANv8PRDVnlUMBXQQAACEAAABS/R1Eb/AiQwleBAAACV8EAAAAAAAACgFgBAAAdAAAAAAAAAAAAAAAAWEEAAB0AAAAAAAAAAAAAAAAAAAAAWIEAAAVAAAAAAAAAAAAAAAAAAAAAAAAAKQBAAD/////AQEKCWMEAAABAAoBB0UDAAAAAQAAAAIAAAAEGkFwbG9yaXMuQmFzZS5VSS5WaXN1YWxMaW5lAwAAAAoKB0YDAAAAAQAAAAQAAAAEFVN5c3RlbS5EcmF3aW5nLlBvaW50RgQAAAABZAQAACEAAABE/hZEbN9mQwFlBAAAIQAAADY/D0Rs32ZDAWYEAAAhAAAAUr0eRGzfZkMBZwQAACEAAABE/hZEb/AfQwdHAwAAAAEAAAAEAAAABBdBcGxvcmlzLkJhc2UuQW5jaG9yTW9kZQMAAAABaAQAAKIAAAAAAAAAAWkEAACiAAAAAgAAAAFqBAAAogAAAAQAAAABawQAAKIAAAABAAAAAUgDAAAlAAAACdsAAAAAAAAAAAAAAAFJAwAAJgAAAAlsBAAAAgAAAAoAAAABXAMAACMAAAAKCgAAAAAAKEEJeAAAAAl5AAAACW0EAAAAAAluBAAAAV0DAAB6AAAACgoBAAAA26wAAP////8AAQFiAwAArwAAAAlvBAAAAQAAAAEAAAABYwMAAHcAAAAJcAQAAAoBZgMAAHIAAAAKCgAAAEA/CXEEAAAJcgQAAAEAAAD+////AAAAAAEAAAAAAAAAAAAAAAEAAAAAAAAAAAAAAWcDAABzAAAACgoJcwQAAAl0BAAAAQAAAP7///8AAAAA/////wAAAWsDAAB3AAAACXUEAAAKB3QDAAAAAQAAAAQAAAAEHEFwbG9yaXMuQmFzZS5VSS5WaXN1YWxPYmplY3QDAAAACQwDAAAJCwMAAAoKAXsDAAAjAAAACgoAAAAAAChBCXgAAAAJeQAAAAl2BAAAAAAJdwQAAAF8AwAAegAAAAoKAQAAANusAAD/////AAEBgQMAAK8AAAAJeAQAAAEAAAADAAAAAYIDAAB3AAAACXkEAAAKAYUDAAByAAAACgoAAABAPwl6BAAACXsEAAABAAAA/v///wAAAAABAAAAAAAAAAAAAAABAAAAAAAAAAAAAAGGAwAAcwAAAAoKCXwEAAAJfQQAAAEAAAD+////AAAAAP////8AAAGKAwAAdwAAAAl+BAAACgeTAwAAAAEAAAAEAAAABBxBcGxvcmlzLkJhc2UuVUkuVmlzdWFsT2JqZWN0AwAAAAkTAwAACRIDAAAKCgGaAwAAIwAAAAoKAAAAAAAoQQl4AAAACXkAAAAJfwQAAAAACYAEAAABmwMAAHoAAAAKCgEAAADbrAAA/////wABAaADAACvAAAACYEEAAABAAAAAwAAAAGhAwAAdwAAAAmCBAAACgGkAwAAcgAAAAoKAAAAQD8JgwQAAAmEBAAAAQAAAP7///8AAAAAAQAAAAAAAAAAAAAAAQAAAAAAAAAAAAABpQMAAHMAAAAKCgmFBAAACYYEAAABAAAA/v///wAAAAD/////AAABqQMAAHcAAAAJhwQAAAoHsgMAAAABAAAABAAAAAQcQXBsb3Jpcy5CYXNlLlVJLlZpc3VhbE9iamVjdAMAAAAJGgMAAAkZAwAACgoBuQMAACMAAAAKCgAAAAAAKEEJeAAAAAl5AAAACYgEAAAAAAmJBAAAAboDAAB6AAAACgoBAAAAOaTEAP////8AAQG/AwAArwAAAAmKBAAAAQAAAAMAAAABwAMAAHcAAAAJiwQAAAoBwwMAAHIAAAAKCgAAAEA/CYwEAAAJjQQAAAEAAAD+////AAAAAAEAAAAAAAAAAAAAAAEAAAAAAAAAAAAAAcQDAABzAAAACgoJjgQAAAmPBAAAAQAAAP7///8AAAAA/////wAAAcgDAAB3AAAACZAEAAAKB9EDAAAAAQAAAAQAAAAEHEFwbG9yaXMuQmFzZS5VSS5WaXN1YWxPYmplY3QDAAAACSEDAAAJIAMAAAoKAdgDAAAjAAAACgoAAAAAAChBCXgAAAAJeQAAAAmRBAAAAAAJkgQAAAHZAwAAegAAAAoKAQAAADmkxAD/////AAEB3gMAAK8AAAAJkwQAAAEAAAADAAAAAd8DAAB3AAAACZQEAAAKAeIDAAByAAAACgoAAABAPwmVBAAACZYEAAABAAAA/v///wAAAAABAAAAAAAAAAAAAAABAAAAAAAAAAAAAAHjAwAAcwAAAAoKCZcEAAAJmAQAAAEAAAD+////AAAAAP////8AAAHnAwAAdwAAAAmZBAAACgfwAwAAAAEAAAAEAAAABBxBcGxvcmlzLkJhc2UuVUkuVmlzdWFsT2JqZWN0AwAAAAkoAwAACScDAAAKCgH3AwAAIwAAAAoKAAAAAAAoQQl4AAAACXkAAAAJmgQAAAAACZsEAAAB+AMAAHoAAAAKCgEAAAA5pMQA/////wABAf0DAACvAAAACZwEAAABAAAAAwAAAAH+AwAAdwAAAAmdBAAACgEBBAAAcgAAAAoKAAAAQD8JngQAAAmfBAAAAQAAAP7///8AAAAAAQAAAAAAAAAAAAAAAQAAAAAAAAAAAAABAgQAAHMAAAAKCgmgBAAACaEEAAABAAAA/v///wAAAAD/////AAABBgQAAHcAAAAJogQAAAoHDwQAAAABAAAABAAAAAQcQXBsb3Jpcy5CYXNlLlVJLlZpc3VhbE9iamVjdAMAAAAJLwMAAAkuAwAACgoBFgQAACMAAAAKCgAAAAAAKEEJeAAAAAl5AAAACaMEAAAAAAmkBAAAARcEAAB6AAAACgoBAAAAZZEpAP////8AAQEcBAAArwAAAAmlBAAAAQAAAAMAAAABHQQAAHcAAAAJpgQAAAoBIAQAAHIAAAAKCgAAAEA/CacEAAAJqAQAAAEAAAD+////AAAAAAEAAAAAAAAAAAAAAAEAAAAAAAAAAAAAASEEAABzAAAACgoJqQQAAAmqBAAAAQAAAP7///8AAAAA/////wAAASUEAAB3AAAACasEAAAKBy4EAAAAAQAAAAQAAAAEHEFwbG9yaXMuQmFzZS5VSS5WaXN1YWxPYmplY3QDAAAACTYDAAAJNQMAAAoKATUEAAAjAAAACgoAAAAAAChBCXgAAAAJeQAAAAmsBAAAAAAJrQQAAAE2BAAAegAAAAoKAQAAAGWRKQD/////AAEBOwQAAK8AAAAJrgQAAAEAAAADAAAAATwEAAB3AAAACa8EAAAKAT8EAAByAAAACgoAAABAPwmwBAAACbEEAAABAAAA/v///wAAAAABAAAAAAAAAAAAAAABAAAAAAAAAAAAAAFABAAAcwAAAAoKCbIEAAAJswQAAAEAAAD+////AAAAAP////8AAAFEBAAAdwAAAAm0BAAACgdNBAAAAAEAAAAEAAAABBxBcGxvcmlzLkJhc2UuVUkuVmlzdWFsT2JqZWN0AwAAAAk9AwAACTwDAAAKCgFUBAAAIwAAAAoKAAAAAAAoQQl4AAAACXkAAAAJtQQAAAAACbYEAAABVQQAAHoAAAAKCgEAAABlkSkA/////wABAVoEAACvAAAACbcEAAABAAAAAwAAAAFbBAAAdwAAAAm4BAAACgFeBAAAcgAAAAoKAAAAQD8JuQQAAAm6BAAAAQAAAP7///8AAAAAAQAAAAAAAAAAAAAAAQAAAAAAAAAAAAABXwQAAHMAAAAKCgm7BAAACbwEAAABAAAA/v///wAAAAD/////AAABYwQAAHcAAAAJvQQAAAoHbAQAAAABAAAABAAAAAQcQXBsb3Jpcy5CYXNlLlVJLlZpc3VhbE9iamVjdAMAAAAJRAMAAAlDAwAACgoBbQQAAHoAAAAKCgAAAAAAAAAADQAAAAAAAW4EAAB6AAAACgoAAAAAAAAAAA0AAAAAAQdvBAAAAAEAAAAEAAAABB1BcGxvcmlzLkJhc2UuT2JqZWN0cy5WYXJpYWJsZQMAAAABvgQAALoCAAABAAAAAAAAAAG/BAAAugIAAAAAAAAAAAAAAcAEAAC6AgAAAAAAAAAAAAABwQQAALoCAAAAAAAAAAAAAA9wBAAAAQAAAAglAAAABXEEAAAaQXBsb3Jpcy5CYXNlLk9iamVjdHMuQ29sb3IHAAAAEkRhdGFPYmplY3QrbVBhcmVudBVEYXRhT2JqZWN0K21Db250YWluZXIFbVR5cGUEbVJHQhBtVGhlbWVDb2xvckluZGV4DG1BdXRvVXBkYXRlZAltTW9kaWZpZWQEAgAAAAAAH0FwbG9yaXMuQmFzZS5PYmplY3RzLkxpbmVGb3JtYXQDAAAACAgIAQEDAAAACWYDAAAKAAAAAP///wAOAAAAAAAFcgQAABpBcGxvcmlzLkJhc2UuT2JqZWN0cy5Db2xvcgcAAAASRGF0YU9iamVjdCttUGFyZW50FURhdGFPYmplY3QrbUNvbnRhaW5lcgVtVHlwZQRtUkdCEG1UaGVtZUNvbG9ySW5kZXgMbUF1dG9VcGRhdGVkCW1Nb2RpZmllZAQCAAAAAAAfQXBsb3Jpcy5CYXNlLk9iamVjdHMuTGluZUZvcm1hdAMAAAAICAgBAQMAAAAJZgMAAAoBAAAAAAAAAP////8AAQFzBAAAegAAAAoKAQAAANusAAD/////AAABdAQAAHoAAAAKCgEAAAD///8A/////wAAD3UEAAABAAAACA8AAAABdgQAAHoAAAAKCgAAAAAAAAAADQAAAAAAAXcEAAB6AAAACgoAAAAAAAAAAA0AAAAAAQd4BAAAAAEAAAAEAAAABB1BcGxvcmlzLkJhc2UuT2JqZWN0cy5WYXJpYWJsZQMAAAABwgQAALoCAAABAAAAAAAAAAHDBAAAugIAAAAAAAAAAAAAAcQEAAC6AgAAAAAAAAAAAAABxQQAALoCAAAAAAAAAAAAAA95BAAAAQAAAAgkAAAABXoEAAAaQXBsb3Jpcy5CYXNlLk9iamVjdHMuQ29sb3IHAAAAEkRhdGFPYmplY3QrbVBhcmVudBVEYXRhT2JqZWN0K21Db250YWluZXIFbVR5cGUEbVJHQhBtVGhlbWVDb2xvckluZGV4DG1BdXRvVXBkYXRlZAltTW9kaWZpZWQEAgAAAAAAH0FwbG9yaXMuQmFzZS5PYmplY3RzLkxpbmVGb3JtYXQDAAAACAgIAQEDAAAACYUDAAAKAAAAAP///wAOAAAAAAAFewQAABpBcGxvcmlzLkJhc2UuT2JqZWN0cy5Db2xvcgcAAAASRGF0YU9iamVjdCttUGFyZW50FURhdGFPYmplY3QrbUNvbnRhaW5lcgVtVHlwZQRtUkdCEG1UaGVtZUNvbG9ySW5kZXgMbUF1dG9VcGRhdGVkCW1Nb2RpZmllZAQCAAAAAAAfQXBsb3Jpcy5CYXNlLk9iamVjdHMuTGluZUZvcm1hdAMAAAAICAgBAQMAAAAJhQMAAAoBAAAAAAAAAP////8AAQF8BAAAegAAAAoKAQAAANusAAD/////AAABfQQAAHoAAAAKCgEAAAD///8A/////wAAD34EAAABAAAACBAAAAABfwQAAHoAAAAKCgAAAAAAAAAADQAAAAAAAYAEAAB6AAAACgoAAAAAAAAAAA0AAAAAAQeBBAAAAAEAAAAEAAAABB1BcGxvcmlzLkJhc2UuT2JqZWN0cy5WYXJpYWJsZQMAAAABxgQAALoCAAABAAAAAAAAAAHHBAAAugIAAAAAAAAAAAAAAcgEAAC6AgAAAAAAAAAAAAAByQQAALoCAAAAAAAAAAAAAA+CBAAAAQAAAAgnAAAABYMEAAAaQXBsb3Jpcy5CYXNlLk9iamVjdHMuQ29sb3IHAAAAEkRhdGFPYmplY3QrbVBhcmVudBVEYXRhT2JqZWN0K21Db250YWluZXIFbVR5cGUEbVJHQhBtVGhlbWVDb2xvckluZGV4DG1BdXRvVXBkYXRlZAltTW9kaWZpZWQEAgAAAAAAH0FwbG9yaXMuQmFzZS5PYmplY3RzLkxpbmVGb3JtYXQDAAAACAgIAQEDAAAACaQDAAAKAAAAAP///wAOAAAAAAAFhAQAABpBcGxvcmlzLkJhc2UuT2JqZWN0cy5Db2xvcgcAAAASRGF0YU9iamVjdCttUGFyZW50FURhdGFPYmplY3QrbUNvbnRhaW5lcgVtVHlwZQRtUkdCEG1UaGVtZUNvbG9ySW5kZXgMbUF1dG9VcGRhdGVkCW1Nb2RpZmllZAQCAAAAAAAfQXBsb3Jpcy5CYXNlLk9iamVjdHMuTGluZUZvcm1hdAMAAAAICAgBAQMAAAAJpAMAAAoBAAAAAAAAAP////8AAQGFBAAAegAAAAoKAQAAANusAAD/////AAABhgQAAHoAAAAKCgEAAAD///8A/////wAAD4cEAAABAAAACBEAAAABiAQAAHoAAAAKCgAAAAAAAAAADQAAAAAAAYkEAAB6AAAACgoAAAAAAAAAAA0AAAAAAQeKBAAAAAEAAAAEAAAABB1BcGxvcmlzLkJhc2UuT2JqZWN0cy5WYXJpYWJsZQMAAAABygQAALoCAAABAAAAAAAAAAHLBAAAugIAAAAAAAAAAAAAAcwEAAC6AgAAAAAAAAAAAAABzQQAALoCAAAAAAAAAAAAAA+LBAAAAQAAAAgmAAAABYwEAAAaQXBsb3Jpcy5CYXNlLk9iamVjdHMuQ29sb3IHAAAAEkRhdGFPYmplY3QrbVBhcmVudBVEYXRhT2JqZWN0K21Db250YWluZXIFbVR5cGUEbVJHQhBtVGhlbWVDb2xvckluZGV4DG1BdXRvVXBkYXRlZAltTW9kaWZpZWQEAgAAAAAAH0FwbG9yaXMuQmFzZS5PYmplY3RzLkxpbmVGb3JtYXQDAAAACAgIAQEDAAAACcMDAAAKAAAAAP///wAOAAAAAAAFjQQAABpBcGxvcmlzLkJhc2UuT2JqZWN0cy5Db2xvcgcAAAASRGF0YU9iamVjdCttUGFyZW50FURhdGFPYmplY3QrbUNvbnRhaW5lcgVtVHlwZQRtUkdCEG1UaGVtZUNvbG9ySW5kZXgMbUF1dG9VcGRhdGVkCW1Nb2RpZmllZAQCAAAAAAAfQXBsb3Jpcy5CYXNlLk9iamVjdHMuTGluZUZvcm1hdAMAAAAICAgBAQMAAAAJwwMAAAoBAAAAAAAAAP////8AAQGOBAAAegAAAAoKAQAAADmkxAD/////AAABjwQAAHoAAAAKCgEAAAD///8A/////wAAD5AEAAABAAAACAsAAAABkQQAAHoAAAAKCgAAAAAAAAAADQAAAAAAAZIEAAB6AAAACgoAAAAAAAAAAA0AAAAAAQeTBAAAAAEAAAAEAAAABB1BcGxvcmlzLkJhc2UuT2JqZWN0cy5WYXJpYWJsZQMAAAABzgQAALoCAAABAAAAAAAAAAHPBAAAugIAAAAAAAAAAAAAAdAEAAC6AgAAAAAAAAAAAAAB0QQAALoCAAAAAAAAAAAAAA+UBAAAAQAAAAghAAAABZUEAAAaQXBsb3Jpcy5CYXNlLk9iamVjdHMuQ29sb3IHAAAAEkRhdGFPYmplY3QrbVBhcmVudBVEYXRhT2JqZWN0K21Db250YWluZXIFbVR5cGUEbVJHQhBtVGhlbWVDb2xvckluZGV4DG1BdXRvVXBkYXRlZAltTW9kaWZpZWQEAgAAAAAAH0FwbG9yaXMuQmFzZS5PYmplY3RzLkxpbmVGb3JtYXQDAAAACAgIAQEDAAAACeIDAAAKAAAAAP///wAOAAAAAAAFlgQAABpBcGxvcmlzLkJhc2UuT2JqZWN0cy5Db2xvcgcAAAASRGF0YU9iamVjdCttUGFyZW50FURhdGFPYmplY3QrbUNvbnRhaW5lcgVtVHlwZQRtUkdCEG1UaGVtZUNvbG9ySW5kZXgMbUF1dG9VcGRhdGVkCW1Nb2RpZmllZAQCAAAAAAAfQXBsb3Jpcy5CYXNlLk9iamVjdHMuTGluZUZvcm1hdAMAAAAICAgBAQMAAAAJ4gMAAAoBAAAAAAAAAP////8AAQGXBAAAegAAAAoKAQAAADmkxAD/////AAABmAQAAHoAAAAKCgEAAAD///8A/////wAAD5kEAAABAAAACAoAAAABmgQAAHoAAAAKCgAAAAAAAAAADQAAAAAAAZsEAAB6AAAACgoAAAAAAAAAAA0AAAAAAQecBAAAAAEAAAAEAAAABB1BcGxvcmlzLkJhc2UuT2JqZWN0cy5WYXJpYWJsZQMAAAAB0gQAALoCAAABAAAAAAAAAAHTBAAAugIAAAAAAAAAAAAAAdQEAAC6AgAAAAAAAAAAAAAB1QQAALoCAAAAAAAAAAAAAA+dBAAAAQAAAAggAAAABZ4EAAAaQXBsb3Jpcy5CYXNlLk9iamVjdHMuQ29sb3IHAAAAEkRhdGFPYmplY3QrbVBhcmVudBVEYXRhT2JqZWN0K21Db250YWluZXIFbVR5cGUEbVJHQhBtVGhlbWVDb2xvckluZGV4DG1BdXRvVXBkYXRlZAltTW9kaWZpZWQEAgAAAAAAH0FwbG9yaXMuQmFzZS5PYmplY3RzLkxpbmVGb3JtYXQDAAAACAgIAQEDAAAACQEEAAAKAAAAAP///wAOAAAAAAAFnwQAABpBcGxvcmlzLkJhc2UuT2JqZWN0cy5Db2xvcgcAAAASRGF0YU9iamVjdCttUGFyZW50FURhdGFPYmplY3QrbUNvbnRhaW5lcgVtVHlwZQRtUkdCEG1UaGVtZUNvbG9ySW5kZXgMbUF1dG9VcGRhdGVkCW1Nb2RpZmllZAQCAAAAAAAfQXBsb3Jpcy5CYXNlLk9iamVjdHMuTGluZUZvcm1hdAMAAAAICAgBAQMAAAAJAQQAAAoBAAAAAAAAAP////8AAQGgBAAAegAAAAoKAQAAADmkxAD/////AAABoQQAAHoAAAAKCgEAAAD///8A/////wAAD6IEAAABAAAACAkAAAABowQAAHoAAAAKCgAAAAD///8ADgAAAAAAAaQEAAB6AAAACgoAAAAA////AA4AAAAAAQelBAAAAAEAAAAEAAAABB1BcGxvcmlzLkJhc2UuT2JqZWN0cy5WYXJpYWJsZQMAAAAB1gQAALoCAAABAAAAAAAAAAHXBAAAugIAAAAAAAAAAAAAAdgEAAC6AgAAAAAAAAAAAAAB2QQAALoCAAAAAAAAAAAAAA+mBAAAAQAAAAgjAAAABacEAAAaQXBsb3Jpcy5CYXNlLk9iamVjdHMuQ29sb3IHAAAAEkRhdGFPYmplY3QrbVBhcmVudBVEYXRhT2JqZWN0K21Db250YWluZXIFbVR5cGUEbVJHQhBtVGhlbWVDb2xvckluZGV4DG1BdXRvVXBkYXRlZAltTW9kaWZpZWQEAgAAAAAAH0FwbG9yaXMuQmFzZS5PYmplY3RzLkxpbmVGb3JtYXQDAAAACAgIAQEDAAAACSAEAAAKAAAAAP///wAOAAAAAAAFqAQAABpBcGxvcmlzLkJhc2UuT2JqZWN0cy5Db2xvcgcAAAASRGF0YU9iamVjdCttUGFyZW50FURhdGFPYmplY3QrbUNvbnRhaW5lcgVtVHlwZQRtUkdCEG1UaGVtZUNvbG9ySW5kZXgMbUF1dG9VcGRhdGVkCW1Nb2RpZmllZAQCAAAAAAAfQXBsb3Jpcy5CYXNlLk9iamVjdHMuTGluZUZvcm1hdAMAAAAICAgBAQMAAAAJIAQAAAoBAAAAAAAAAP////8AAQGpBAAAegAAAAoKAQAAAGWRKQD/////AAABqgQAAHoAAAAKCgEAAAD///8A/////wAAD6sEAAABAAAACA4AAAABrAQAAHoAAAAKCgAAAAD///8ADgAAAAAAAa0EAAB6AAAACgoAAAAA////AA4AAAAAAQeuBAAAAAEAAAAEAAAABB1BcGxvcmlzLkJhc2UuT2JqZWN0cy5WYXJpYWJsZQMAAAAB2gQAALoCAAABAAAAAAAAAAHbBAAAugIAAAAAAAAAAAAAAdwEAAC6AgAAAAAAAAAAAAAB3QQAALoCAAAAAAAAAAAAAA+vBAAAAQAAAAgiAAAABbAEAAAaQXBsb3Jpcy5CYXNlLk9iamVjdHMuQ29sb3IHAAAAEkRhdGFPYmplY3QrbVBhcmVudBVEYXRhT2JqZWN0K21Db250YWluZXIFbVR5cGUEbVJHQhBtVGhlbWVDb2xvckluZGV4DG1BdXRvVXBkYXRlZAltTW9kaWZpZWQEAgAAAAAAH0FwbG9yaXMuQmFzZS5PYmplY3RzLkxpbmVGb3JtYXQDAAAACAgIAQEDAAAACT8EAAAKAAAAAP///wAOAAAAAAAFsQQAABpBcGxvcmlzLkJhc2UuT2JqZWN0cy5Db2xvcgcAAAASRGF0YU9iamVjdCttUGFyZW50FURhdGFPYmplY3QrbUNvbnRhaW5lcgVtVHlwZQRtUkdCEG1UaGVtZUNvbG9ySW5kZXgMbUF1dG9VcGRhdGVkCW1Nb2RpZmllZAQCAAAAAAAfQXBsb3Jpcy5CYXNlLk9iamVjdHMuTGluZUZvcm1hdAMAAAAICAgBAQMAAAAJPwQAAAoBAAAAAAAAAP////8AAQGyBAAAegAAAAoKAQAAAGWRKQD/////AAABswQAAHoAAAAKCgEAAAD///8A/////wAAD7QEAAABAAAACA0AAAABtQQAAHoAAAAKCgAAAAD///8ADgAAAAAAAbYEAAB6AAAACgoAAAAA////AA4AAAAAAQe3BAAAAAEAAAAEAAAABB1BcGxvcmlzLkJhc2UuT2JqZWN0cy5WYXJpYWJsZQMAAAAB3gQAALoCAAABAAAAAAAAAAHfBAAAugIAAAAAAAAAAAAAAeAEAAC6AgAAAAAAAAAAAAAB4QQAALoCAAAAAAAAAAAAAA+4BAAAAQAAAAgoAAAABbkEAAAaQXBsb3Jpcy5CYXNlLk9iamVjdHMuQ29sb3IHAAAAEkRhdGFPYmplY3QrbVBhcmVudBVEYXRhT2JqZWN0K21Db250YWluZXIFbVR5cGUEbVJHQhBtVGhlbWVDb2xvckluZGV4DG1BdXRvVXBkYXRlZAltTW9kaWZpZWQEAgAAAAAAH0FwbG9yaXMuQmFzZS5PYmplY3RzLkxpbmVGb3JtYXQDAAAACAgIAQEDAAAACV4EAAAKAAAAAP///wAOAAAAAAAFugQAABpBcGxvcmlzLkJhc2UuT2JqZWN0cy5Db2xvcgcAAAASRGF0YU9iamVjdCttUGFyZW50FURhdGFPYmplY3QrbUNvbnRhaW5lcgVtVHlwZQRtUkdCEG1UaGVtZUNvbG9ySW5kZXgMbUF1dG9VcGRhdGVkCW1Nb2RpZmllZAQCAAAAAAAfQXBsb3Jpcy5CYXNlLk9iamVjdHMuTGluZUZvcm1hdAMAAAAICAgBAQMAAAAJXgQAAAoBAAAAAAAAAP////8AAQG7BAAAegAAAAoKAQAAAGWRKQD/////AAABvAQAAHoAAAAKCgEAAAD///8A/////wAAD70EAAABAAAACAwAAAAL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0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1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2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3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4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6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7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15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7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62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0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1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2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3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4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5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86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28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2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36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27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29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5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2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9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7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6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38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4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0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5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3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32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1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2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3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4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37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yVcu+ZFpO0COz0vy.46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9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A4THEKOTYVB0h4XROTwjEMABB0AAAALU3lzdGVtLkd1aWQLAAAAAl9hAl9iAl9jAl9kAl9lAl9mAl9nAl9oAl9pAl9qAl9rAAAAAAAAAAAAAAAIBwcCAgICAgICAgAAAAAAAAAAAAAAAAAAAAAACgoJHgAAAAAKCgoBAAAAAAAAAP////8BAQEfAAAAFAAAAP//H0H//x9BqrQXRE7sl0NS4ONBX/McQwOYI0RObKJDBSAAAAAVU3lzdGVtLkRyYXdpbmcuUG9pbnRGAgAAAAF4AXkAAAsLBAAAABwKx0OjMlNDBiEAAAAQb002dkpFSXV1ZnF6RXZ2S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AOExxCvUWVQwEuAAAAIAAAAAPgIES9RZVDCS8AAAAJMAAAAAkxAAAACTIAAAAAAAAAAAAAAAAAAAAJMwAAAAAAAAAAAAk0AAAACQEAAAAJAQAAAAk1AAAAAQcAAAAGAAAACQEAAAABNgAAACYAAAAAAAAAzcxMPwAAAAgBAAkBAAAACTcAAAAJOAAAAAEAAAAAAAAAAAAzMzMzMzPjPwCamZmZmZnJPwAAACBBAAEJOQAAAAoJOgAAAAk7AAAACTwAAAABPQAAACAAAAAOExxCvUWVQwE+AAAAIAAAAA4THEKOTYV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AOExxCjk2FQQFpAAAAIAAAAAPgIES9RZVDCWoAAAAJawAAAAAAAAAKBWwAAAAUU3lzdGVtLkRyYXdpbmcuU2l6ZUYCAAAABXdpZHRoBmhlaWdodAAACwsEAAAAAAAAAAAAAAABbQAAAGwAAAAAAAAAAAAAAAAAAAABbgAAABQAAAAAAAAAAAAAAAAAAAAAAAAAFAAAAP////8BAQoJbwAAAAEACgEPHgAAAKEm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FTrTY+jAgAASQUAAA8AAAB4bC93b3JrYm9vay54bWykVMtunDAU3VfqPyD2jHkY5qGBaDIPdaSqiqo0WVYe4xms+EFskyGt+u+9QEnSZpO2LLCvbY7PPedelhetFN4DM5ZrlfvRJPQ9pqguuTrl/pfrXTDzPeuIKonQiuX+I7P+RfH+3fKszd1B6zsPAJTN/cq5eoGQpRWTxE50zRTsHLWRxEFoTsjWhpHSVow5KVAchhmShCt/QFiYt2Do45FTttG0kUy5AcQwQRzQtxWv7Ygm6VvgJDF3TR1QLWuAOHDB3WMP6nuSLvYnpQ05CEi7jdIRGaavoCWnRlt9dBOAQgPJV/lGIYqiIeVieeSC3Qyye6SuPxHZ3SJ8TxDrtiV3rMz9DEJ9Zs8LQMI09WXDBezGszSMfQ8VT15cmS4C5ivhmFHEsbVWDoT6JfH/itJjrysNFnif2X3DDQPnO22KJbwJXZCDvSKu8hojch89EIOOWpSQJ7o/o7iax9U3WsZJlJiofHBY1eprOAvhOSl0jZysk5BGGB+mE5ijF5KT137+heiE9johkGagXyy7+Z8yFcuuom84O9tnUbvQa2+5KvUZOiRLY+iRxzHGGUTnfvOWl66CE/MUP619YPxUOVjEWfcZuINeXNH3AlzVj57qa2BVC2243RBHoPO6ZtmD1xEYv+AwMfsS5h3O+DElgoLx3dCfxGkWwxGqFW2MAfPXsJP7w+2sdR+tK5Ywgkc8979P57sUz6dZEG1WaYCzaBZcRnga4PVmiy/nabJKZj+ejcD/VvvhHM3H0m8jvBj/HkC8ZEfSCLeX5MQ2NVBK4mk2HXIEmr9xTeNkm26SIE53SbBKt2EQZUkcZHgXp3gdxziNn7jK9m1UJaGItZT1v6TZSFK2i5Wh1X7j7QQ5QZUPnQYngVH37mVEYx7FTwAAAP//AwBQSwMEFAAGAAgAAAAhAHCMrCHYAAAAMQEAABQAAAB4bC9zaGFyZWRTdHJpbmdzLnhtbFyQQUsDMRCF74L/IeRuswqKSDY9lOpFPEj7A8LuNAndnUkzk9b+eyMiwh7f+97Ae2PXX/OkzlA4Efb6ftVpBTjQmDD0er97vXvWisXj6CdC6PUVWK/d7Y1lFtVukXsdRfKLMTxEmD2vKAM2cqAye2myBMO5gB85Asg8mYeuezKzT6jVQBWl149aVUynCps/7SwnZ8VtIgxHtcWQEKwRZ82P/8s+4VBhak2XYHuqKWcY1Yc/p+CFCi8j73RROxgi0kThqvbcXrDMvBW64L9p2mT3DQ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2SAyWbsCAAAeBwAADQAAAHhsL3N0eWxlcy54bWykVdtu2zAMfR+wfzD0njpJkzYObBfIxUCBbhiQDNirbMuOUF0MSe6cDfv3UbKduOuK3vISiqLOOSIpOrxpOPMeiNJUighNLsbIIyKTORVlhL7vk9ECedpgkWMmBYnQkWh0E3/+FGpzZGR3IMR4ACF0hA7GVEvf19mBcKwvZEUE7BRScWxgqUpfV4rgXNtDnPnT8fjK55gK1CIsefYaEI7VfV2NMskrbGhKGTVHh4U8ni1vSyEVThlIbSYznPXYbvEEntNMSS0LcwFwviwKmpGnKgM/8AEpDgspjPYyWQsToSlAW4blvZA/RWK3IIFdVBzqX94DZuCZIM+Pw0wyqTwDqQFlrUtgTtqYNWY0VdQFFphTdmz9QAFHXUK7SE7hes7rWzGtpDhMXVzHGAwIqchJQ/IILf7l3OOD5PgZyg7c/WkgoYyd7j2zVwRHHEL+DVEigYXX2ftjBfcT0CqdSBf4Qnip8HEynb/hhJaM5lZHuXZ5VWUaoQR+622Hk3Y7pwRczVr8geg49FtlL+h7lm17HSQO9U1sjhSymkqVw8Pr+8m2TuuKQ0YKY0uqaHlwhpGVXafSGMmtlVNcSoGZtf3+WGcAdkYY29kX+qN4RNAUnqh5ws0t9AS8ddtEvQml6swWr1tYgiFcCz7AtQ3xDtymOBN85DiuKna0Pdi/q1eAwcN6dMeTlveAXb4azOURMjeoz6PqnNLs2dkQoa92djKYM32q0poyQ8X/KgOgeXMuNtQWCmfsJHR9cOKBjZwUuGZmf9qM0Nn+QnJac0hQF/WNPkjjICJ0tu9sY06uHAlpzJ2GUQT/Xq1ohH5vV9fBZptMR4vxajGaXZL5KJivNqP5bL3abJJgPB2v/wwm8wfmsvt+QP9NZkvNYHqr7rad+t3ZF6HBotXfTgTQDS3e38I/f9jivwAAAP//AwBQSwMEFAAGAAgAAAAhAHJVopl9AgAArQUAABgAAAB4bC93b3Jrc2hlZXRzL3NoZWV0MS54bWyMVMtu2zAQvBfoPxC8Rw/biRNBUhDbCZpDgaDPM02tJMKUqJL06++7ImPZjovCPsgSOZyd2R0pfdw1kmxAG6HajMZBRAm0XBWirTL688fLzT0lxrK2YFK1kNE9GPqYf/6UbpVemRrAEmRoTUZra7skDA2voWEmUB20uFMq3TCLj7oKTaeBFe5QI8NRFN2FDRMt9QyJvoZDlaXgsFB83UBrPYkGySzqN7XozIFtV1zFV2i2Ra8HPScSF35n4IsnF/oawbUyqrQBV03opV26fAgfznw2/BqjDdOrdXeDxB2aWwop7N7ZpaThyWvVKs2WEieyiyeMn6hkl/TX60SmPC0E9rYPBNFQZvQpTp5HlIR56kb3S8DWnNwTy5bfQQK3UGCCKOmTsVRq1QNfcSlCSuMAPSXjVmxgDlJmdIZo88cVmcXJzBcJhyp5erw/VHxxeXrTZMkMzJX8LQpbY1nMbQElW0t7XLwP7sejaByPbofNb2r7BURVWzyCq653SbFfgOEYJ9QaeBFcSayIV9KI/r3AprNdRnFz6wuechu77wcxdj0K/VFnYsEsy1OttgSz2HvtWP+mxAmWxn9k42tjVeNNOcg/FaGSnuGpp3AonIVbcQ10RKjdYJ83+TgNN9g4/o6Y+zNYakBE54jFJSI+RzxfIkYDIkR7g0csc+rxv2Z6rGvaIGxyXhbz0BuKgvHDXXT6OxZ3TZgPuOn0g7XDzu2HI5hnT307Oac+SvC+fAD9HDtWwVemK9EaIqF0aZlSon2cogDvrer6DE1xvktlcbKHpxo/fIAjRDOUlErZ4QFHKaFifP/+vSE6EfjS6NcCu46b4fChzf8CAAD//wMAUEsDBBQABgAIAAAAIQAH33NwZAIAAJMEAAAbAAAAeGwvZHJhd2luZ3Mvdm1sRHJhd2luZzEudm1sjFTLbtswELwX6D8QzMEXC3qkTVpGEhCkyK0t0PRxDGiJtpiQXEFcy3K+vktJduyiKCrAMrk7XM7Mrp0P1jD6OC/6gm87J3zVKCt9ZHXVgYc1RhVY0VvD376ZkfAvJKzXulJi+no9M/zHGTVU6uQaS4waxFbEsZXVT2seRmo/Os1L4pKD8I1slZF72CLrhRqw4KrWOKZDXtdWtmcZVkuUBU95PJaIz2qUeT+VxH2rmK4L/jgk9DxilmScVQBd7fWLKniWXiXJcnxzRjVaujlgiBZrJTYFt8kyMTNkAp69k0HNLOlK7OBZsSfQzuPeUHmrUXUTRUacQkW26WStlcNRMzwXHMPNFTinKgyEC97R6iDsRMlR1qkknybZFWfTwYsznROJRQteowYn5MqD2aK6Ceqs7DbaRUatUaTX71q8mSMIrchou9M1NiLNPtC6UXrToMhC/CXSrlaDSMcyvfZ6pY3GvWh0XSt3Yz1Eu0620Xi9wHBywdbamAoMdAW/WNOj0qCajFJooSbNcotwdDKgqU0Ez17xY6eDjeRcDTsGbvJu5attp6jJs2dHp/9w1YFTr71AmrIVDGw2KbCudTCenIqkQREILcJwMZbXuj8AwznK640TwbtFmceUHXF53Iu57LQfxJ0Jrf5Es8q+rp6o+vexwV8A57Fh+SA+Q69+aWzulDF+UhnCDzShfwnfuqqBbiLGLpcsfb9kyZJlS0aLy2sKLNnHPB7EKZDK3ZKee/K1vJfGqxFwiEwiB/ENdmUSMmFxCN7RzFhXZiE+r0Nq3B7VTT/CeVbJEvonKn8DAAD//wMAUEsDBBQABgAIAAAAIQCIgDpD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c1OwzAQhO9IvIPle+K4hdJaSSoB6okKJFqBuFn2prWIf2Qb0r49biihqBxXM/tpZrec73SLPsEHZU2FaV5gBEZYqcymwuvVIptiFCI3krfWQIX3EPC8vrwohWPCenjy1oGPCgJKJBOYcBXexugYIUFsQfOQJ4dJYmO95jGNfkMcF+98A2RUFBOiIXLJIycHYOYGIj4ipRiQ7sO3PUAKAi1oMDEQmlPy643gdfh3oVdOnFrFvUudjnFP2VJ8i4N7F9Rg7Lou78Z9jJSfktflw3NfNVPmcCsBuC6lYMIDj9bXJTkd0uFaHuIy3bhRIG/39VIJb4NtInpsGiUArQP4kpwbE7TvwPRxGaVY7LvEj/QyvrtfLXA9KuhNVsyygq7ohF3P2NX07RDkLyBlO3tk/QUAAP//AwBQSwMEFAAGAAgAAAAhAGECoa0BAQAAegEAABAAAAB4bC9jb21tZW50czEueG1sVJDNasMwEITvhb6D2HuzTg4lLZZyCKQUeughfQDVXscC/RitEpw+fTd2XCgIofm0mhlU78bg1YUyuxQ1rFcVKIpNal08afg6Hp62oLjY2FqfImm4EsPOPD7UTQqBYmElBpE19KUMr4jc9BQsr9JAUW66lIMtIvMJechkW+6JSvC4qapnDNZFMLU9lz5lXg4KTY1/7B704biYJVVl6jTs16DmsfdWQyVGhUYZyrI+Zfu+GfGPuliv4QVuqkk+ZeViSyPJm604CM2HFMs8drR9CnainQ3OX2e8mQhOtsW85XQeVEvcZDcU+TmuUXJRMnGugPfWAv71XxSbXwAAAP//AwBQSwMEFAAGAAgAAAAhAF6k9QCL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b9swDIbvA/YfDN0bOd0HhkBWUbQbelixAEm7MyfTsVBFMkTWSPbrR9to6qw77caPV+SjVzJXh30oeszkU6zUclGqAqNLtY+7Sj1sv118UQUxxBpCilipI5K6su/fmXVOHWb2SIWMiFSplrlbaU2uxT3QQtpROk3Ke2BJ806npvEOb5N73mNkfVmWnzUeGGON9UV3Gqimiaue/3dondzAR4/bYyfA1lx3XfAOWG5p773LiVLDxT04HzlRW3w9OAxGz2VGODfonrPnoy2Nnqdm4yDgjaywDQRCo18L5g5hsG8NPpM1Pa96dJxyQf63GHipil9AOIBVqofsIbIADrIpGePQEWf7M+UnahGZjBbBVBzDuXYe+492OQokOBcOAyYQaZwjbj0HpB/NGjL/g3g5Jx4ZJt4J57oLKXu6BYY3kOO9Zd1fC777+EQP3TbJIXwx8LxoNi1krMXzk8GngrkT73IYhty0EHdYv2jeNoaHf5x+t11+WpQfSnnJWc3o139s/wAAAP//AwBQSwECLQAUAAYACAAAACEAkleNNXIBAABwBQAAEwAAAAAAAAAAAAAAAAAAAAAAW0NvbnRlbnRfVHlwZXNdLnhtbFBLAQItABQABgAIAAAAIQBQfE7B8wAAAEwCAAALAAAAAAAAAAAAAAAAAKsDAABfcmVscy8ucmVsc1BLAQItABQABgAIAAAAIQCMlsVu8wAAALoCAAAaAAAAAAAAAAAAAAAAAM8GAAB4bC9fcmVscy93b3JrYm9vay54bWwucmVsc1BLAQItABQABgAIAAAAIQBU602PowIAAEkFAAAPAAAAAAAAAAAAAAAAAAIJAAB4bC93b3JrYm9vay54bWxQSwECLQAUAAYACAAAACEAcIysIdgAAAAxAQAAFAAAAAAAAAAAAAAAAADSCwAAeGwvc2hhcmVkU3RyaW5ncy54bWxQSwECLQAUAAYACAAAACEA52V1uNYAAAC4AQAAIwAAAAAAAAAAAAAAAADcDAAAeGwvd29ya3NoZWV0cy9fcmVscy9zaGVldDEueG1sLnJlbHNQSwECLQAUAAYACAAAACEA3AYHvnoGAADZGwAAEwAAAAAAAAAAAAAAAADzDQAAeGwvdGhlbWUvdGhlbWUxLnhtbFBLAQItABQABgAIAAAAIQDZIDJZuwIAAB4HAAANAAAAAAAAAAAAAAAAAJ4UAAB4bC9zdHlsZXMueG1sUEsBAi0AFAAGAAgAAAAhAHJVopl9AgAArQUAABgAAAAAAAAAAAAAAAAAhBcAAHhsL3dvcmtzaGVldHMvc2hlZXQxLnhtbFBLAQItABQABgAIAAAAIQAH33NwZAIAAJMEAAAbAAAAAAAAAAAAAAAAADcaAAB4bC9kcmF3aW5ncy92bWxEcmF3aW5nMS52bWxQSwECLQAUAAYACAAAACEAiIA6QzgBAAAVAgAAEQAAAAAAAAAAAAAAAADUHAAAZG9jUHJvcHMvY29yZS54bWxQSwECLQAUAAYACAAAACEAYQKhrQEBAAB6AQAAEAAAAAAAAAAAAAAAAABDHwAAeGwvY29tbWVudHMxLnhtbFBLAQItABQABgAIAAAAIQBepPUAiwEAAA0DAAAQAAAAAAAAAAAAAAAAAHIgAABkb2NQcm9wcy9hcHAueG1sUEsFBgAAAAANAA0AWAMAADMj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W77yt77yzIO+8sOOCtOOCt+ODg+OCrwlyAAAAAQAJcwAAAAcjAAAAAAEAAAARAAAABBRTeXN0ZW0uRHJhd2luZy5Db2xvcgQAAAAFdAAAABRTeXN0ZW0uRHJhd2luZy5Db2xvcgQAAAAFdmFsdWUFc3RhdGUKa25vd25Db2xvcgRuYW1lAAAAAQkHBwQAAAAAAAAAAAAAAAAAAAAKAXUAAAB0AAAAAAAA//////8CAAAACgF2AAAAdAAAAP//////////AgAAAAoBdwAAAHQAAABOQSL//////wIAAAAKAXgAAAB0AAAA3tzb//////8CAAAACgF5AAAAdAAAAH5pP///////AgAAAAoBegAAAHQAAACMhHL//////wIAAAAKAXsAAAB0AAAAJSHt//////8CAAAACgF8AAAAdAAAADQ7Rv//////AgAAAAoBfQAAAHQAAAB0mMP//////wIAAAAKAX4AAAB0AAAAHpT3//////8CAAAACgF/AAAAdAAAAB6U9///////AgAAAAoBgAAAAHQAAAAlIe3//////wIAAAAKAYEAAAB0AAAAAAAA//////8CAAAACgGCAAAAdAAAAP//////////AgAAAAoBgwAAAHQAAABOQSL//////wIAAAAKAYQAAAB0AAAA3tzb//////8CAAAACgQkAAAAmAFTeXN0ZW0uQ29sbGVjdGlvbnMuR2VuZXJpYy5MaXN0YDFbW0FwbG9yaXMuQmFzZS5PYmplY3RzLkRhdGFPYmplY3QsIEFwbG9yaXMuQmFzZSwgVmVyc2lvbj00LjIuMC4xOTA4LCBDdWx0dXJlPW5ldXRyYWwsIFB1YmxpY0tleVRva2VuPTE2ZmMxM2EyMjZjMGU5NTFdXQMAAAAGX2l0ZW1zBV9zaXplCF92ZXJzaW9uBAAAIUFwbG9yaXMuQmFzZS5PYmplY3RzLkRhdGFPYmplY3RbXQMAAAAICAmFAAAADAAAAAwAAAAEJQAAAJUBU3lzdGVtLkNvbGxlY3Rpb25zLkdlbmVyaWMuTGlzdGAxW1tBcGxvcmlzLkJhc2UuVUkuVmlzdWFsT2JqZWN0LCBBcGxvcmlzLkJhc2UsIFZlcnNpb249NC4yLjAuMTkwOC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wOCwgQ3VsdHVyZT1uZXV0cmFsLCBQdWJsaWNLZXlUb2tlbj0xNmZjMTNhMjI2YzBlOTUxXV0DAAAAkQFTeXN0ZW0uQ29sbGVjdGlvbnMuR2VuZXJpYy5MaXN0YDFbW0FwbG9yaXMuQ2hhcnQuVmFsdWVMaW5l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cAAAAJiAAAAAkGAAAACQEAAAAJiQAAAAUoAAAAmwFBcGxvcmlzLkJhc2UuT2JqZWN0cy5EYXRhT2JqZWN0Q29sbGVjdGlvbmAxW1tBcGxvcmlzLkNoYXJ0LkF4aXNCcmVhay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DgsIEN1bHR1cmU9bmV1dHJhbCwgUHVibGljS2V5VG9rZW49MTZmYzEzYTIyNmMwZTk1MV1dAwAAAJEBU3lzdGVtLkNvbGxlY3Rpb25zLkdlbmVyaWMuTGlzdGAxW1tBcGxvcmlzLkNoYXJ0LkF4aXNCcmVh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IuMC4xOTA4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wOCwgQ3VsdHVyZT1uZXV0cmFsLCBQdWJsaWNLZXlUb2tlbj0xNmZjMTNhMjI2YzBlOTUxXV0DAAAAkAFTeXN0ZW0uQ29sbGVjdGlvbnMuR2VuZXJpYy5MaXN0YDFbW0FwbG9yaXMuQ2hhcnQuVGlja01hcm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AOExxCvUWVQwGSAAAAIAAAAAPgIES9RZVDCZMAAAC4AQAA/////wEBCgmUAAAAAQAKAQcwAAAAAAEAAAAFAAAABBVTeXN0ZW0uRHJhd2luZy5Qb2ludEYEAAAAAZUAAAAgAAAAA6AhRL1FlUMBlgAAACAAAAAOExxCqYqdQwGXAAAAIAAAADShqkOpip1DAZgAAAAgAAAAA+AgRKmKnUMBmQAAACAAAAADoCFEvcWXQwcxAAAAAAEAAAAFAAAABBdBcGxvcmlzLkJhc2UuQW5jaG9yTW9kZQMAAAAFmgAAABdBcGxvcmlzLkJhc2UuQW5jaG9yTW9kZQEAAAAHdmFsdWVfXwAIAwAAAAQAAAABmwAAAJoAAAAFAAAAAZwAAACaAAAAAwAAAAGdAAAAmgAAAAYAAAABngAAAJoAAAAFAAAADzIAAAAFAAAAAQAAAAABBT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BnwAAACAAAAADoCFEvUWVQwGgAAAAmgAAAAQAAAAAAAAAAAAAAAAJoQAAAAAAAAAJogAAAAAAAAWjAAAAKkFwbG9yaXMuQmFzZS5VSS5MYWJlbCtMaW5lQWxpZ25tZW50T3B0aW9ucwEAAAAHdmFsdWVfXwAIAwAAAAAAAAABpAAAAGwAAAAAAAAAAAAAAAGlAAAAFAAAAAAAAAAAAAAAAAAAAAAAAAAAAAAABqYAAAANQ2F0ZWdvcnkgYXhpcwoJpwAAAAmmAAAA5AIAAP////8AAQoJqAAAAAEACgE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GsQAAAAEl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CbEAAAA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E8AAAALAAAAAoJsgAAAAmzAAAACQcAAAAJAQAAAAm0AAAAAT8AAAAvAAAAAbUAAAAgAAAADhMcQr1FlUMBtgAAACAAAAAOExxCjk2FQQm3AAAAuAEAAP////8BAQoJuAAAAAEACgEHQAAAAAABAAAABQAAAAQVU3lzdGVtLkRyYXdpbmcuUG9pbnRGBAAAAAG5AAAAIAAAAA4THEJYTC5BAboAAAAgAAAAEi00Qb1FlUMBuwAAACAAAAASLTRBlpodQwG8AAAAIAAAABItNEGOTYVBAb0AAAAgAAAAEi00QVhMLkEHQQAAAAABAAAABQAAAAQXQXBsb3Jpcy5CYXNlLkFuY2hvck1vZGUDAAAAAb4AAACaAAAAAQAAAAG/AAAAmgAAAAgAAAABwAAAAJoAAAACAAAAAcEAAACaAAAABgAAAAHCAAAAmgAAAAcAAAAPQgAAAAUAAAABAAAAAAEBQwAAADMAAAABwwAAACAAAAAOExxCWEwuQQHEAAAAmgAAAAEAAAAAAAAAAAAAAAAJxQAAAAAAAAAJxgAAAAAAAAHHAAAAowAAAAAAAAAByAAAAGwAAAAAAAAAAAAAAAHJAAAAFAAAAAAAAAAAAAAAAAAAAAAAAAAAAAAABsoAAAAKVmFsdWUgYXhpcwoJywAAAAnKAAAA5AIAAP////8AAQoJzAAAAAEACgEBRAAAACQAAAAJzQAAAAYAAAAGAAAAAUUAAAAlAAAACc4AAAACAAAAAgAAAAdGAAAAAAEAAAAAAAAABC5BcGxvcmlzLkNoYXJ0LkNvbHVtbk9yaWVudGVkQ2hhcnQrVW51c2VkU2VyaWVzAgAAAARHAAAAlwFTeXN0ZW0uQ29sbGVjdGlvbnMuR2VuZXJpYy5MaXN0YDFbW0FwbG9yaXMuQ2hhcnQuQ2hhcnREYXRhU2VyaWVzLCBBcGxvcmlzLkNoYXJ0LCBWZXJzaW9uPTQuMi4wLjE5MDgsIEN1bHR1cmU9bmV1dHJhbCwgUHVibGljS2V5VG9rZW49MTZmYzEzYTIyNmMwZTk1MV1dAwAAAAZfaXRlbXMFX3NpemUIX3ZlcnNpb24EAAAfQXBsb3Jpcy5DaGFydC5DaGFydERhdGFTZXJpZXNbXQIAAAAICAnPAAAAAQAAABgAAAABSAAAACQAAAAJ0AAAAAEAAAAHAAAAAUkAAAAlAAAACdEAAAAAAAAAAAAAAARKAAAAnAFTeXN0ZW0uQ29sbGVjdGlvbnMuR2VuZXJpYy5MaXN0YDFbW0FwbG9yaXMuQ2hhcnQuQW5ub3RhdGlvbkRhdGFTZXJpZXMsIEFwbG9yaXMuQ2hhcnQsIFZlcnNpb249NC4yLjAuMTkwOCwgQ3VsdHVyZT1uZXV0cmFsLCBQdWJsaWNLZXlUb2tlbj0xNmZjMTNhMjI2YzBlOTUxXV0DAAAABl9pdGVtcwVfc2l6ZQhfdmVyc2lvbgQAACRBcGxvcmlzLkNoYXJ0LkFubm90YXRpb25EYXRhU2VyaWVzW10CAAAACAgJ0gAAAAAAAAAAAAAAAUsAAAAkAAAACdMAAAAAAAAAAAAAAAFMAAAAJQAAAAnRAAAAAAAAAAAAAAAETQAAAJcBU3lzdGVtLkNvbGxlY3Rpb25zLkdlbmVyaWMuTGlzdGAxW1tBcGxvcmlzLkNoYXJ0LkFubm90YXRpb25Hcm91cCwgQXBsb3Jpcy5DaGFydCwgVmVyc2lvbj00LjIuMC4xOTA4LCBDdWx0dXJlPW5ldXRyYWwsIFB1YmxpY0tleVRva2VuPTE2ZmMxM2EyMjZjMGU5NTFdXQMAAAAGX2l0ZW1zBV9zaXplCF92ZXJzaW9uBAAAH0FwbG9yaXMuQ2hhcnQuQW5ub3RhdGlvbkdyb3VwW10CAAAACAgJ1AAAAAAAAAAAAAAAAU4AAAAkAAAACdMAAAAAAAAAAAAAAAFPAAAAJQAAAAnRAAAAAAAAAAAAAAAEUAAAAJYBU3lzdGVtLkNvbGxlY3Rpb25zLkdlbmVyaWMuTGlzdGAxW1tBcGxvcmlzLkNoYXJ0LkNoYXJ0RGF0YUdyb3VwLCBBcGxvcmlzLkNoYXJ0LCBWZXJzaW9uPTQuMi4wLjE5MDgsIEN1bHR1cmU9bmV1dHJhbCwgUHVibGljS2V5VG9rZW49MTZmYzEzYTIyNmMwZTk1MV1dAwAAAAZfaXRlbXMFX3NpemUIX3ZlcnNpb24EAAAeQXBsb3Jpcy5DaGFydC5DaGFydERhdGFHcm91cFtdAgAAAAgICdUAAAAEAAAABgAAAAFRAAAAJAAAAAnWAAAABAAAAAQAAAABUgAAACUAAAAJ0QAAAAAAAAAAAAAABFMAAACQAVN5c3RlbS5Db2xsZWN0aW9ucy5HZW5lcmljLkxpc3RgMVtbQXBsb3Jpcy5DaGFydC5EZWx0YUJhciwgQXBsb3Jpcy5DaGFydCwgVmVyc2lvbj00LjIuMC4xOTA4LCBDdWx0dXJlPW5ldXRyYWwsIFB1YmxpY0tleVRva2VuPTE2ZmMxM2EyMjZjMGU5NTFdXQMAAAAGX2l0ZW1zBV9zaXplCF92ZXJzaW9uBAAAGEFwbG9yaXMuQ2hhcnQuRGVsdGFCYXJbXQIAAAAICAnXAAAAAAAAAAAAAAABVAAAACQAAAAJ0wAAAAAAAAAAAAAAAVUAAAAlAAAACdEAAAAAAAAAAAAAAARWAAAAkwFTeXN0ZW0uQ29sbGVjdGlvbnMuR2VuZXJpYy5MaXN0YDFbW0FwbG9yaXMuQ2hhcnQuRGVsdGFCcmlkZ2UsIEFwbG9yaXMuQ2hhcnQsIFZlcnNpb249NC4yLjAuMTkwOCwgQ3VsdHVyZT1uZXV0cmFsLCBQdWJsaWNLZXlUb2tlbj0xNmZjMTNhMjI2YzBlOTUxXV0DAAAABl9pdGVtcwVfc2l6ZQhfdmVyc2lvbgQAABtBcGxvcmlzLkNoYXJ0LkRlbHRhQnJpZGdlW10CAAAACAgJ2AAAAAAAAAAAAAAAAVcAAAAkAAAACdMAAAAAAAAAAAAAAAFYAAAAJQAAAAnRAAAAAAAAAAAAAAAEWQAAAJMBU3lzdGVtLkNvbGxlY3Rpb25zLkdlbmVyaWMuTGlzdGAxW1tBcGxvcmlzLkNoYXJ0Lkdyb3d0aEFycm93LCBBcGxvcmlzLkNoYXJ0LCBWZXJzaW9uPTQuMi4wLjE5MDgsIEN1bHR1cmU9bmV1dHJhbCwgUHVibGljS2V5VG9rZW49MTZmYzEzYTIyNmMwZTk1MV1dAwAAAAZfaXRlbXMFX3NpemUIX3ZlcnNpb24EAAAbQXBsb3Jpcy5DaGFydC5Hcm93dGhBcnJvd1tdAgAAAAgICdkAAAAAAAAAAAAAAAFaAAAAJAAAAAnTAAAAAAAAAAAAAAABWwAAACUAAAAJ0QAAAAAAAAAAAAAABFwAAACaAVN5c3RlbS5Db2xsZWN0aW9ucy5HZW5lcmljLkxpc3RgMVtbQXBsb3Jpcy5DaGFydC5XYXRlcmZhbGxDb25uZWN0b3IsIEFwbG9yaXMuQ2hhcnQsIFZlcnNpb249NC4yLjAuMTkwOCwgQ3VsdHVyZT1uZXV0cmFsLCBQdWJsaWNLZXlUb2tlbj0xNmZjMTNhMjI2YzBlOTUxXV0DAAAABl9pdGVtcwVfc2l6ZQhfdmVyc2lvbgQAACJBcGxvcmlzLkNoYXJ0LldhdGVyZmFsbENvbm5lY3RvcltdAgAAAAgICdoAAAAAAAAAAAAAAAFdAAAAJAAAAAnTAAAAAAAAAAAAAAABXgAAACUAAAAJ0QAAAAAAAAAAAAAABF8AAACYAVN5c3RlbS5Db2xsZWN0aW9ucy5HZW5lcmljLkxpc3RgMVtbQXBsb3Jpcy5DaGFydC5FbGVtZW50Q29ubmVjdG9yLCBBcGxvcmlzLkNoYXJ0LCBWZXJzaW9uPTQuMi4wLjE5MDgsIEN1bHR1cmU9bmV1dHJhbCwgUHVibGljS2V5VG9rZW49MTZmYzEzYTIyNmMwZTk1MV1dAwAAAAZfaXRlbXMFX3NpemUIX3ZlcnNpb24EAAAgQXBsb3Jpcy5DaGFydC5FbGVtZW50Q29ubmVjdG9yW10CAAAACAgJ2wAAAAAAAAAAAAAAAWAAAAAkAAAACdMAAAAAAAAAAAAAAAFhAAAAJQAAAAnR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cAAAACd0AAAABAAAA/v///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4AAAAJ3wAAAAEAAAAAAAAAAAAAAAAAAAAAAQVvAAAAH0FwbG9yaXMuQmFzZS5PYmplY3RzLlBlcnNJZERhdGECAAAAA21JZAttQ3VzdG9tRGF0YQcCCAMAAAAJ4AAAAAoFcgAAABpBcGxvcmlzLkJhc2UuT2JqZWN0cy5Db2xvcgcAAAASRGF0YU9iamVjdCttUGFyZW50FURhdGFPYmplY3QrbUNvbnRhaW5lcgVtVHlwZQRtUkdCEG1UaGVtZUNvbG9ySW5kZXgMbUF1dG9VcGRhdGVkCW1Nb2RpZmllZAICAAAAAAAICAgBAQMAAAAKCgAAAAAAAAAADQAAAAABAXMAAAByAAAACgoBAAAAAAAAAP////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i4wLjE5MDgsIEN1bHR1cmU9bmV1dHJhbCwgUHVibGljS2V5VG9rZW49MTZmYzEzYTIyNmMwZTk1MV1dAwAAAAZfaXRlbXMFX3NpemUIX3ZlcnNpb24EAAAZQXBsb3Jpcy5DaGFydC5WYWx1ZUxpbmVbXQIAAAAICAnhAAAAAAAAAAAAAAABiAAAACQAAAAJ0wAAAAAAAAAAAAAAAYkAAAAlAAAACdEAAAAAAAAAAAAAAASKAAAAkQFTeXN0ZW0uQ29sbGVjdGlvbnMuR2VuZXJpYy5MaXN0YDFbW0FwbG9yaXMuQ2hhcnQuQXhpc0JyZWFrLCBBcGxvcmlzLkNoYXJ0LCBWZXJzaW9uPTQuMi4wLjE5MDgsIEN1bHR1cmU9bmV1dHJhbCwgUHVibGljS2V5VG9rZW49MTZmYzEzYTIyNmMwZTk1MV1dAwAAAAZfaXRlbXMFX3NpemUIX3ZlcnNpb24EAAAZQXBsb3Jpcy5DaGFydC5BeGlzQnJlYWtbXQIAAAAICAniAAAAAAAAAAAAAAABiwAAACQAAAAJ0wAAAAAAAAAAAAAAAYwAAAAlAAAACdEAAAAAAAAAAAAAAASOAAAAkAFTeXN0ZW0uQ29sbGVjdGlvbnMuR2VuZXJpYy5MaXN0YDFbW0FwbG9yaXMuQ2hhcnQuVGlja01hcmssIEFwbG9yaXMuQ2hhcnQsIFZlcnNpb249NC4yLjAuMTkwOCwgQ3VsdHVyZT1uZXV0cmFsLCBQdWJsaWNLZXlUb2tlbj0xNmZjMTNhMjI2YzBlOTUxXV0DAAAABl9pdGVtcwVfc2l6ZQhfdmVyc2lvbgQAABhBcGxvcmlzLkNoYXJ0LlRpY2tNYXJrW10CAAAACAgJ4wAAAAAAAAAAAAAAAY8AAAAkAAAACdMAAAAAAAAAAAAAAAGQAAAAJQAAAAnRAAAAAAAAAAAAAAABkwAAAGoAAAAKCgAAAEA/CeQAAAAJ5QAAAAEAAAD+////AAAAAAEAAAAAAAAAAAAAAAEAAAAAAAAAAAAAAZQAAABvAAAACeY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wAAAAEACegAAAABogAAAHIAAAAKCgEAAAAAAAAA/////wABBKc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6QAAAAAAAAAAAAAAAagAAABvAAAACeoAAAAKB6kAAAAAAQAAAAgAAAAEH0FwbG9yaXMuQmFzZS5PYmplY3RzLkRhdGFPYmplY3QDAAAACSkAAAAJKgAAAAkrAAAACSwAAAAJJwAAAAkoAAAACgoHqgAAAAABAAAABAAAAAQcQXBsb3Jpcy5CYXNlLlVJLlZpc3VhbE9iamVjdAMAAAAJLwAAAAkzAAAACgoBqwAAAIcAAAAJ4QAAAAAAAAAAAAAAAawAAAAkAAAACdMAAAAAAAAAAAAAAAGtAAAAJQAAAAnRAAAAAAAAAAAAAAABrgAAAIoAAAAJ4gAAAAAAAAAAAAAAAa8AAAAkAAAACdMAAAAAAAAAAAAAAAGwAAAAJQAAAAnRAAAAAAAAAAAAAAABsgAAAI4AAAAJ6wAAAAQAAAAoAAAAAbMAAAAkAAAACewAAAAEAAAAKAAAAAG0AAAAJQAAAAnRAAAAAAAAAAAAAAABtwAAAGoAAAAKCgAAAEA/Ce0AAAAJ7gAAAAEAAAD+////AAAAAAEAAAAAAAAAAAAAAAEAAAAAAAAAAAAAAbgAAABvAAAACe8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8AAAAAEACfEAAAABxgAAAHIAAAAKCgEAAAAAAAAA/////wABAcsAAACnAAAACekAAAAAAAAAAAAAAAHMAAAAbwAAAAnyAAAACgfNAAAAAAEAAAAIAAAABB9BcGxvcmlzLkJhc2UuT2JqZWN0cy5EYXRhT2JqZWN0AwAAAAk5AAAACToAAAAJOwAAAAk8AAAACTcAAAAJOAAAAAoKB84AAAAAAQAAAAQAAAAEHEFwbG9yaXMuQmFzZS5VSS5WaXN1YWxPYmplY3QDAAAACT8AAAAJQwAAAAoKB88AAAAAAQAAAAQAAAAEHUFwbG9yaXMuQ2hhcnQuQ2hhcnREYXRhU2VyaWVzAgAAAAnzAAAADQMH0AAAAAABAAAABAAAAAQfQXBsb3Jpcy5CYXNlLk9iamVjdHMuRGF0YU9iamVjdAMAAAAJ8wAAAA0DB9EAAAAAAQAAAAAAAAAEHEFwbG9yaXMuQmFzZS5VSS5WaXN1YWxPYmplY3QDAAAAB9IAAAAAAQAAAAAAAAAEIkFwbG9yaXMuQ2hhcnQuQW5ub3RhdGlvbkRhdGFTZXJpZXMCAAAAB9MAAAAAAQAAAAAAAAAEH0FwbG9yaXMuQmFzZS5PYmplY3RzLkRhdGFPYmplY3QDAAAAB9QAAAAAAQAAAAAAAAAEHUFwbG9yaXMuQ2hhcnQuQW5ub3RhdGlvbkdyb3VwAgAAAAfVAAAAAAEAAAAIAAAABBxBcGxvcmlzLkNoYXJ0LkNoYXJ0RGF0YUdyb3VwAgAAAAn0AAAACfUAAAAJ9gAAAAn3AAAADQQH1gAAAAABAAAABAAAAAQfQXBsb3Jpcy5CYXNlLk9iamVjdHMuRGF0YU9iamVjdAMAAAAJ9QAAAAn2AAAACfcAAAAJ9AAAAA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/////wABAd4AAAByAAAACgoBAAAA////AP////8AAQHfAAAAcgAAAAoKAQAAAAAAAAD/////AAEP4AAAAAEAAAAIAAAAAAfhAAAAAAEAAAAAAAAABBdBcGxvcmlzLkNoYXJ0LlZhbHVlTGluZQIAAAAH4gAAAAABAAAAAAAAAAQXQXBsb3Jpcy5DaGFydC5BeGlzQnJlYWsCAAAAB+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////8AAQ/mAAAAAQAAAAhJAAAAAecAAAByAAAACgoAAAAAAAAAAA0AAAAAAQHoAAAAcgAAAAoKAQAAAAAAAAD/////AAEH6QAAAAABAAAAAAAAAAQdQXBsb3Jpcy5CYXNlLk9iamVjdHMuVmFyaWFibGUDAAAAD+oAAAABAAAACAAAAAAH6wAAAAABAAAAEAAAAAQWQXBsb3Jpcy5DaGFydC5UaWNrTWFyawIAAAAJ+AAAAAn5AAAACfoAAAAJ+wAAAA0MB+wAAAAAAQAAABAAAAAEH0FwbG9yaXMuQmFzZS5PYmplY3RzLkRhdGFPYmplY3QDAAAACfgAAAAJ+QAAAAn6AAAACfsAAAANDA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/////AAEP7wAAAAEAAAAISgAAAAHwAAAAcgAAAAoKAAAAAAAAAAANAAAAAAEB8QAAAHIAAAAKCgEAAAAAAAAA/////wABD/IAAAABAAAAC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fwAAAATAAAAAAAAAAIAAAD/////CQcAAAAJ/QAAAAb+AAAABUdyb3duCgoAAAAAAAAAAAAAAAAKCgAJ/wAAAAkAAQAACQEBAAAAAAAAAAAAAAAAAAAAAAAAAAAJAgEAAAkBAAAACQEAAAAJAwEAAAX0AA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gQBAAAUTG93IFRlY2hub2xvZ3kgVXNlcnMABQUBAAAeQXBsb3Jpcy5DaGFydC5DaGFydEdyb3VwQW5jaG9yAQAAAAd2YWx1ZV9fAAgCAAAAAAAAAAoAAAAAAQAAAAEAAAAJBgEAAAkHAQAACQgBAAAKCQcAAAAJCQEAAAkBAAAACQEAAAAJCgEAAAH1AAAA9AAAAAkBAAAABgsBAAAMQ2hlY2sgRW5naW5lAAEMAQAABQEAAAAAAAAKAAAAAAEAAAABAAAACQ0BAAAJDgEAAAkPAQAACgkHAAAACRABAAAJAQAAAAkBAAAACREBAAAB9gAAAPQAAAAJAQAAAAYSAQAACVJlZnVlbGluZwABEwEAAAUBAAAAAAAACgAAAAABAAAAAQAAAAkUAQAACRUBAAAJFgEAAAoJBwAAAAkXAQAACQEAAAAJAQAAAAkYAQAAAfcAAAD0AAAACQEAAAAGGQEAABNFcXVpcHBlZCBOYXZpZ2F0b3JzAAEaAQAABQEAAAAAAAAKAAAAAAEAAAABAAAACRsBAAAJHAEAAAkdAQAACgkHAAAACR4BAAAJAQAAAAkBAAAACR8BAAAF+A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SABAAAKCSEBAAAJBwAAAAEAAAAAAAAAAAEiAQAAIAAAAA4THEK9RZVDASMBAAAgAAAADhMMQr1FlUMACSQBAAAJBwAAAAkBAAAACSUBAAAB+QAAAPgAAAAJJgEAAAoJJwEAAAkHAAAAAZqZmZmZmck/ASgBAAAgAAAADhMcQo2VTEMBKQEAACAAAAAOEwxCjZVMQwAJKgEAAAkHAAAACQEAAAAJKwEAAAH6AAAA+AAAAAksAQAACgktAQAACQcAAAABmpmZmZmZ2T8BLgEAACAAAAAOExxCPj/dQgEvAQAAIAAAAA4TDEI+P91CAAkwAQAACQcAAAAJAQAAAAkxAQAAAfsAAAD4AAAACTIBAAAKCTMBAAAJBwAAAAEzMzMzMzPjPwE0AQAAIAAAAA4THEKOTYVBATUBAAAgAAAADhMMQo5NhUEACTYBAAAJBwAAAAkBAAAACTcBAAAF/QAAAKIBQXBsb3Jpcy5CYXNlLk9iamVjdHMuRGF0YU9iamVjdENvbGxlY3Rpb25gMVtbQXBsb3Jpcy5DaGFydC5DaGFydERhdGFFbGVtZW50LCBBcGxvcmlzLkNoYXJ0LCBWZXJzaW9uPTQuMi4wLjE5MDg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i4wLjE5MDgsIEN1bHR1cmU9bmV1dHJhbCwgUHVibGljS2V5VG9rZW49MTZmYzEzYTIyNmMwZTk1MV1dAwAAAJgBU3lzdGVtLkNvbGxlY3Rpb25zLkdlbmVyaWMuTGlzdGAxW1tBcGxvcmlzLkNoYXJ0LkNoYXJ0RGF0YUVsZW1lbnQ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OAEAAAk5AQAACfMAAAAJAQAAAAk6AQAABf8AAAAcQXBsb3Jpcy5DaGFydC5Db25uZWN0ZWRMYWJlbCU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0xhYmVsK21DdXN0b21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CAAAAClgCAAAFOwEAACtBcGxvcmlzLkNoYXJ0LkNvbm5lY3RlZExhYmVsK2VDb25uZWN0b3JNb2RlAQAAAAd2YWx1ZV9fAAgCAAAAAQAAAAU8AQAANkFwbG9yaXMuQ2hhcnQuQ29ubmVjdGVkTGFiZWwrZUFuZ2xlZENvbm5lY3RvckRpcmVjdGlvbgEAAAAHdmFsdWVfXwAIAgAAAAAAAAABPQEAABQAAADB7QJEBSE0QoDmsEI4g3pDBT4BAAAtQXBsb3Jpcy5DaGFydC5Db25uZWN0ZWRMYWJlbCtlVGFyZ2V0QXJlYVNoYXBlAQAAAAd2YWx1ZV9fAAgCAAAAAAAAAAAAEEEBAT8BAAAgAAAAkQobRN5JKkMBQAEAAJoAAAAEAAAAAAAAAAAAAAAACUEBAAAAAAAACUIBAAAAAAABQwEAAKMAAAAAAAAAAUQBAABsAAAAAAA0QgAAiEEBRQEAABQAAAAAAAAAAAAAAAAAAAAAAAAAXrrZPwn+AAAACglGAQAABkcBAAAAIAMAAP////8AAQoJSAEAAAEACgEHAAEAAAABAAAAAgAAAAQVU3lzdGVtLkRyYXdpbmcuUG9pbnRGBAAAAAFJAQAAIAAAAJEKG0TeSSpDAUoBAAAgAAAADhMIQheGTUMHAQEAAAABAAAAAgAAAAQXQXBsb3Jpcy5CYXNlLkFuY2hvck1vZGUDAAAAAUsBAACaAAAABAAAAAFMAQAAmgAAAAIAAAABAgEAACQAAAAJTQEAAAEAAAABAAAAAQMBAAAlAAAACU4BAAABAAAAAQAAAA8GAQAAAQAAAAgAAAAABwcBAAAAAQAAAAEAAAAEFUFwbG9yaXMuQmFzZS5VSS5MYWJlbAMAAAAJTwEAAAEIAQAAMwAAAAFQAQAAIAAAAFko5UK9xZdDAVEBAACaAAAAAwAAAAAAAAAAAAAAAAlSAQAAAAAAAAlTAQAAAAAAAVQBAACjAAAAAAAAAAFVAQAAbAAAAAAACkMAAHBBAVYBAAAUAAAATuxsQmInl0PdQtpCiZ04QRKDvj8JBAEAAAoJVwEAAAlHAQAAIAMAAP////8BAQoJWAEAAAEACgEBCQEAACQAAAAJ0wAAAAAAAAAAAAAAAQoBAAAlAAAACVkBAAACAAAAAgAAAA8NAQAAAQAAAAgAAAAABw4BAAAAAQAAAAEAAAAEFUFwbG9yaXMuQmFzZS5VSS5MYWJlbAMAAAAJWgEAAAEPAQAAMwAAAAFbAQAAIAAAAH/ZhEO9xZdDAVwBAACaAAAAAwAAAAAAAAAAAAAAAAldAQAAAAAAAAleAQAAAAAAAV8BAACjAAAAAAAAAAFgAQAAbAAAAAAAqEIAAHBBAWEBAAAUAAAA68RmQ2Inl0MsL4dCiZ04QRKDvj8JCwEAAAoJYgEAAAlHAQAAIAMAAP////8BAQoJYwEAAAEACgEBEAEAACQAAAAJ0wAAAAAAAAAAAAAAAREBAAAlAAAACWQBAAACAAAAAgAAAA8UAQAAAQAAAAgAAAAABxUBAAAAAQAAAAEAAAAEFUFwbG9yaXMuQmFzZS5VSS5MYWJlbAMAAAAJZQEAAAEWAQAAMwAAAAFmAQAAIAAAAOho0EO9xZdDAWcBAACaAAAAAwAAAAAAAAAAAAAAAAloAQAAAAAAAAlpAQAAAAAAAWoBAACjAAAAAAAAAAFrAQAAbAAAAAAAZEIAAHBBAWwBAAAUAAAAYifEQ2Inl0OmSjtCiZ04QRKDvj8JEgEAAAoJbQEAAAlHAQAAIAMAAP////8BAQoJbgEAAAEACgEBFwEAACQAAAAJ0wAAAAAAAAAAAAAAARgBAAAlAAAACW8BAAACAAAAAgAAAA8bAQAAAQAAAAgAAAAABxwBAAAAAQAAAAEAAAAEFUFwbG9yaXMuQmFzZS5VSS5MYWJlbAMAAAAJcAEAAAEdAQAAMwAAAAFxAQAAIAAAACn8DUS9xZdDAXIBAACaAAAAAwAAAAAAAAAAAAAAAAlzAQAAAAAAAAl0AQAAAAAAAXUBAACjAAAAAAAAAAF2AQAAbAAAAAAA/EIAAHBBAXcBAAAUAAAAEzsBRGInl0O2zMdCiZ04QRKDvj8JGQEAAAoJeAEAAAlHAQAAIAMAAP////8BAQoJeQEAAAEACgEBHgEAACQAAAAJ0wAAAAAAAAAAAAAAAR8BAAAlAAAACXoBAAACAAAAAgAAAAEgAQAALwAAAAF7AQAAIAAAAA4THEK9RZVDAXwBAAAgAAAADhMMQr1FlUMJfQEAAMwBAAD/////AQEKCX4BAAABAAoBASEBAAAzAAAAAX8BAAAgAAAADhMGQr1FlUMBgAEAAJoAAAACAAAAAAAAAAAAAAAACYEBAAAAAAAACYIBAAAAAAABgwEAAKMAAAAAAAAAAYQBAABsAAAAAACYQQAAcEEBhQEAABQAAAATO4FB7MSRQ7G8jEGJnThBEoO+PwaGAQAAAjAlCgmHAQAACUcBAADQAgAA/////wEBCgmIAQAAAQAKAQEkAQAAJAAAAAnTAAAAAAAAAAAAAAABJQEAACUAAAAJiQEAAAIAAAACAAAAASYBAAAvAAAAAYoBAAAgAAAADhMcQo2VTEMBiwEAACAAAAAOEwxCjZVMQwmMAQAAzAEAAP////8BAQoJjQEAAAEACgEBJwEAADMAAAABjgEAACAAAAAOEwZCjZVMQwGPAQAAmgAAAAIAAAAAAAAAAAAAAAAJkAEAAAAAAAAJkQEAAAAAAAGSAQAAowAAAAAAAAABkwEAAGwAAAAAANhBAABwQQGUAQAAFAAAAP//H0E6sUVDxPe9QYmdOEESg74/BpUBAAADMjAlCgmWAQAACUcBAADQAgAA/////wEBCgmXAQAAAQAKAQEqAQAAJAAAAAnTAAAAAAAAAAAAAAABKwEAACUAAAAJmAEAAAIAAAACAAAAASwBAAAvAAAAAZkBAAAgAAAADhMcQj4/3UIBmgEAACAAAAAOEwxCPj/dQgmbAQAAzAEAAP////8BAQoJnAEAAAEACgEBLQEAADMAAAABnQEAACAAAAAOEwZCPj/dQgGeAQAAmgAAAAIAAAAAAAAAAAAAAAAJnwEAAAAAAAAJoAEAAAAAAAGhAQAAowAAAAAAAAABogEAAGwAAAAAANhBAABwQQGjAQAAFAAAAP//H0E6sc9CxPe9QYmdOEESg74/BqQBAAADNDAlCgmlAQAACUcBAADQAgAA/////wEBCgmmAQAAAQAKAQEwAQAAJAAAAAnTAAAAAAAAAAAAAAABMQEAACUAAAAJpwEAAAIAAAACAAAAATIBAAAvAAAAAagBAAAgAAAADhMcQo5NhUEBqQEAACAAAAAOEwxCjk2FQQmqAQAAzAEAAP////8BAQoJqwEAAAEACgEBMwEAADMAAAABrAEAACAAAAAOEwZCjk2FQQGtAQAAmgAAAAIAAAAAAAAAAAAAAAAJrgEAAAAAAAAJrwEAAAAAAAGwAQAAowAAAAAAAAABsQEAAGwAAAAAANhBAABwQQGyAQAAFAAAAP//H0H//x9BxPe9QYmdOEESg74/BrMBAAADNjAlCgm0AQAACUcBAADQAgAA/////wEBCgm1AQAAAQAKAQE2AQAAJAAAAAnTAAAAAAAAAAAAAAABNwEAACUAAAAJtgEAAAIAAAACAAAABDgBAACYAVN5c3RlbS5Db2xsZWN0aW9ucy5HZW5lcmljLkxpc3RgMVtbQXBsb3Jpcy5DaGFydC5DaGFydERhdGFFbGVtZW50LCBBcGxvcmlzLkNoYXJ0LCBWZXJzaW9uPTQuMi4wLjE5MDgsIEN1bHR1cmU9bmV1dHJhbCwgUHVibGljS2V5VG9rZW49MTZmYzEzYTIyNmMwZTk1MV1dAwAAAAZfaXRlbXMFX3NpemUIX3ZlcnNpb24EAAAgQXBsb3Jpcy5DaGFydC5DaGFydERhdGFFbGVtZW50W10CAAAACAgJtwEAAAQAAAAGAAAAATkBAAAkAAAACbgBAAAEAAAABAAAAAE6AQAAJQAAAAnRAAAAAAAAAAAAAAAFQ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MAAAAKAAAAAABAQQlwAAAACXEAAAAJuQEAAAEACboBAAABQgEAAHIAAAAKCgAAAAD///8ADgAAAAABAUYBAACnAAAACbsBAAABAAAAAQAAAAFIAQAAbwAAAAm8AQAACgdNAQAAAAEAAAAEAAAABB9BcGxvcmlzLkJhc2UuT2JqZWN0cy5EYXRhT2JqZWN0AwAAAAn9AAAADQMHTgEAAAABAAAABAAAAAQcQXBsb3Jpcy5CYXNlLlVJLlZpc3VhbE9iamVjdAMAAAAJ/wAAAA0DAU8BAAAzAAAAAb0BAAAgAAAAWSjlQmcB20IBvgEAAJoAAAABAAAAAAAAAAAAAAAACb8BAAAAAAAACcABAAAAAAABwQEAAKMAAAAAAAAAAcIBAABsAAAAAACoQQAAiEEBwwEAABQAAAAAAAAAAAAAAAAAAAAAAAAAXrrZPwbEAQAAAzQwJQoJxQEAAAlHAQAANAMAAP////8AAQoJxgEAAAEACgEBUgEAACIAAAAKCgAAAAAAKEEJcAAAAAlxAAAACccBAAAAAAnIAQAAAVMBAAByAAAACgoAAAAA////AA4AAAAAAQFXAQAApwAAAAnJAQAAAQAAAAEAAAABWAEAAG8AAAAJygEAAAoHWQEAAAABAAAABAAAAAQcQXBsb3Jpcy5CYXNlLlVJLlZpc3VhbE9iamVjdAMAAAAJCAEAAAlPAQAACgoBWgEAADMAAAABywEAACAAAAB/2YRDptvsQgHMAQAAmgAAAAEAAAAAAAAAAAAAAAAJzQEAAAAAAAAJzgEAAAAAAAHPAQAAowAAAAAAAAAB0AEAAGwAAAAAAKhBAACIQQHRAQAAFAAAAAAAAAAAAAAAAAAAAAAAAABeutk/BtIBAAADMzglCgnTAQAACUcBAAA0AwAA/////wABCgnUAQAAAQAKAQFdAQAAIgAAAAoKAAAAAAAoQQlwAAAACXEAAAAJ1QEAAAAACdYBAAABXgEAAHIAAAAKCgAAAAD///8ADgAAAAABAWIBAACnAAAACdcBAAABAAAAAQAAAAFjAQAAbwAAAAnYAQAACgdkAQAAAAEAAAAEAAAABBxBcGxvcmlzLkJhc2UuVUkuVmlzdWFsT2JqZWN0AwAAAAkPAQAACVoBAAAKCgFlAQAAMwAAAAHZAQAAIAAAAOho0EMQ/UxCAdoBAACaAAAAAQAAAAAAAAAAAAAAAAnbAQAAAAAAAAncAQAAAAAAAd0BAACjAAAAAAAAAAHeAQAAbAAAAAAAqEEAAIhBAd8BAAAUAAAAAAAAAAAAAAAAAAAAAAAAAF662T8G4AEAAAM1MiUKCeEBAAAJRwEAADQDAAD/////AAEKCeIBAAABAAoBAWgBAAAiAAAACgoAAAAAAChBCXAAAAAJcQAAAAnjAQAAAAAJ5AEAAAFpAQAAcgAAAAoKAAAAAP///wAOAAAAAAEBbQEAAKcAAAAJ5QEAAAEAAAABAAAAAW4BAABvAAAACeYBAAAKB28BAAAAAQAAAAQAAAAEHEFwbG9yaXMuQmFzZS5VSS5WaXN1YWxPYmplY3QDAAAACRYBAAAJZQEAAAoKAXABAAAzAAAAAecBAAAgAAAAKfwNRAUhHEIB6AEAAJoAAAABAAAAAAAAAAAAAAAACekBAAAAAAAACeoBAAAAAAAB6wEAAKMAAAAAAAAAAewBAABsAAAAAACoQQAAiEEB7QEAABQAAAAAAAAAAAAAAAAAAAAAAAAAXrrZPwbuAQAAAzU1JQoJ7wEAAAlHAQAANAMAAP////8AAQoJ8AEAAAEACgEBcwEAACIAAAAKCgAAAAAAKEEJcAAAAAlxAAAACfEBAAAAAAnyAQAAAXQBAAByAAAACgoAAAAA////AA4AAAAAAQF4AQAApwAAAAnzAQAAAQAAAAEAAAABeQEAAG8AAAAJ9AEAAAoHegEAAAABAAAABAAAAAQcQXBsb3Jpcy5CYXNlLlVJLlZpc3VhbE9iamVjdAMAAAAJHQEAAAlwAQAACgoBfQEAAGoAAAAKCgAAAEA/CfUBAAAJ9gEAAAEAAAD+////AAAAAAEAAAAAAAAAAAAAAAEAAAAAAAAAAAAAAX4BAABvAAAACfcBAAAKAYEBAAAiAAAACgoAAAAAAChBCXAAAAAJcQAAAAn4AQAAAAAJ+QEAAAGCAQAAcgAAAAoKAAAAAP///wAOAAAAAAEBhwEAAKcAAAAJ+gEAAAEAAAABAAAAAYgBAABvAAAACfsBAAAKB4kBAAAAAQAAAAQAAAAEHEFwbG9yaXMuQmFzZS5VSS5WaXN1YWxPYmplY3QDAAAACSABAAAJIQEAAAoKAYwBAABqAAAACgoAAABAPwn8AQAACf0BAAABAAAA/v///wAAAAABAAAAAAAAAAAAAAABAAAAAAAAAAAAAAGNAQAAbwAAAAn+AQAACgGQAQAAIgAAAAoKAAAAAAAoQQlwAAAACXEAAAAJ/wEAAAAACQACAAABkQEAAHIAAAAKCgAAAAD///8ADgAAAAABAZYBAACnAAAACQECAAABAAAAAwAAAAGXAQAAbwAAAAkCAgAACgeYAQAAAAEAAAAEAAAABBxBcGxvcmlzLkJhc2UuVUkuVmlzdWFsT2JqZWN0AwAAAAkmAQAACScBAAAKCgGbAQAAagAAAAoKAAAAQD8JAwIAAAkEAgAAAQAAAP7///8AAAAAAQAAAAAAAAAAAAAAAQAAAAAAAAAAAAABnAEAAG8AAAAJBQIAAAoBnwEAACIAAAAKCgAAAAAAKEEJcAAAAAlxAAAACQYCAAAAAAkHAgAAAaABAAByAAAACgoAAAAA////AA4AAAAAAQGlAQAApwAAAAkIAgAAAQAAAAMAAAABpgEAAG8AAAAJCQIAAAoHpwEAAAABAAAABAAAAAQcQXBsb3Jpcy5CYXNlLlVJLlZpc3VhbE9iamVjdAMAAAAJLAEAAAktAQAACgoBqgEAAGoAAAAKCgAAAEA/CQoCAAAJCwIAAAEAAAD+////AAAAAAEAAAAAAAAAAAAAAAEAAAAAAAAAAAAAAasBAABvAAAACQwCAAAKAa4BAAAiAAAACgoAAAAAAChBCXAAAAAJcQAAAAkNAgAAAAAJDgIAAAGvAQAAcgAAAAoKAAAAAP///wAOAAAAAAEBtAEAAKcAAAAJDwIAAAEAAAADAAAAAbUBAABvAAAACRACAAAKB7YBAAAAAQAAAAQAAAAEHEFwbG9yaXMuQmFzZS5VSS5WaXN1YWxPYmplY3QDAAAACTIBAAAJMwEAAAoKB7cBAAAAAQAAAAgAAAAEHkFwbG9yaXMuQ2hhcnQuQ2hhcnREYXRhRWxlbWVudAIAAAAJEQIAAAkSAgAACRMCAAAJFAIAAA0EB7gBAAAAAQAAAAQAAAAEH0FwbG9yaXMuQmFzZS5PYmplY3RzLkRhdGFPYmplY3QDAAAACRICAAAJEwIAAAkUAgAACRECAAABuQEAAHIAAAAKCgAAAAAAAAAADQAAAAABAboBAAByAAAACgoBAAAAAAAAAP////8AAQe7AQAAAAEAAAAEAAAABB1BcGxvcmlzLkJhc2UuT2JqZWN0cy5WYXJpYWJsZQMAAAAFFQIAAB1BcGxvcmlzLkJhc2UuT2JqZWN0cy5WYXJpYWJsZQIAAAAGTnVtYmVyCFBvc2l0aW9uAAAICAMAAAABAAAAAAAAAAEWAgAAFQIAAAAAAAAAAAAAARcCAAAVAgAAAAAAAAAAAAABGAIAABUCAAAAAAAAAAAAAA+8AQAAAQAAAAgAAAAABb8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QAAAAKAAAAAABAQQlwAAAACXEAAAAJGQIAAAEACRoCAAABwAEAAHIAAAAKCgAAAAD///8ADgAAAAABAcUBAACnAAAACRsCAAABAAAAAwAAAAHGAQAAbwAAAAkcAgAACgHHAQAAcgAAAAoKAAAAAAAAAAANAAAAAAAByAEAAHIAAAAKCgAAAAAAAAAADQAAAAABB8kBAAAAAQAAAAQAAAAEHUFwbG9yaXMuQmFzZS5PYmplY3RzLlZhcmlhYmxlAwAAAAEdAgAAFQIAAAEAAAAAAAAAAR4CAAAVAgAAAAAAAAAAAAABHwIAABUCAAAAAAAAAAAAAAEgAgAAFQIAAAAAAAAAAAAAD8oBAAABAAAACCIAAAAFz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QAAAAoAAAAAAEBBCXAAAAAJcQAAAAkhAgAAAQAJIgIAAAHOAQAAcgAAAAoKAAAAAP///wAOAAAAAAEB0wEAAKcAAAAJIwIAAAEAAAABAAAAAdQBAABvAAAACSQCAAAKAdUBAAByAAAACgoAAAAAAAAAAA0AAAAAAAHWAQAAcgAAAAoKAAAAAAAAAAANAAAAAAEH1wEAAAABAAAABAAAAAQdQXBsb3Jpcy5CYXNlLk9iamVjdHMuVmFyaWFibGUDAAAAASUCAAAVAgAAAQAAAAAAAAABJgIAABUCAAAAAAAAAAAAAAEnAgAAFQIAAAAAAAAAAAAAASgCAAAVAgAAAAAAAAAAAAAP2AEAAAEAAAAIIAAAAAXb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2AAAACgAAAAAAQEEJcAAAAAlxAAAACSkCAAABAAkqAgAAAdwBAAByAAAACgoAAAAA////AA4AAAAAAQHhAQAApwAAAAkrAgAAAQAAAAMAAAAB4gEAAG8AAAAJLAIAAAoB4wEAAHIAAAAKCgAAAAAAAAAADQAAAAAAAeQBAAByAAAACgoAAAAAAAAAAA0AAAAAAQflAQAAAAEAAAAEAAAABB1BcGxvcmlzLkJhc2UuT2JqZWN0cy5WYXJpYWJsZQMAAAABLQIAABUCAAABAAAAAAAAAAEuAgAAFQIAAAAAAAAAAAAAAS8CAAAVAgAAAAAAAAAAAAABMAIAABUCAAAAAAAAAAAAAA/mAQAAAQAAAAgfAAAABek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MQIAAAEACTICAAAB6gEAAHIAAAAKCgAAAAD///8ADgAAAAABAe8BAACnAAAACTMCAAABAAAAAwAAAAHwAQAAbwAAAAk0AgAACgHxAQAAcgAAAAoKAAAAAAAAAAANAAAAAAAB8gEAAHIAAAAKCgAAAAAAAAAADQAAAAABB/MBAAAAAQAAAAQAAAAEHUFwbG9yaXMuQmFzZS5PYmplY3RzLlZhcmlhYmxlAwAAAAE1AgAAFQIAAAEAAAAAAAAAATYCAAAVAgAAAAAAAAAAAAABNwIAABUCAAAAAAAAAAAAAAE4AgAAFQIAAAAAAAAAAAAAD/QBAAABAAAACCEAAAAB9QEAAHIAAAAKCgAAAAAAAAAADQAAAAAABfYBAAAaQXBsb3Jpcy5CYXNlLk9iamVjdHMuQ29sb3IHAAAAEkRhdGFPYmplY3QrbVBhcmVudBVEYXRhT2JqZWN0K21Db250YWluZXIFbVR5cGUEbVJHQhBtVGhlbWVDb2xvckluZGV4DG1BdXRvVXBkYXRlZAltTW9kaWZpZWQEAgAAAAAAH0FwbG9yaXMuQmFzZS5PYmplY3RzLkxpbmVGb3JtYXQDAAAACAgIAQEDAAAACX0BAAAKAQAAAAAAAAD/////AAEP9wEAAAEAAAAITQAAAAH4AQAAcgAAAAoKAAAAAAAAAAANAAAAAAAB+QEAAHIAAAAKCgAAAAAAAAAADQAAAAABB/oBAAAAAQAAAAQAAAAEHUFwbG9yaXMuQmFzZS5PYmplY3RzLlZhcmlhYmxlAwAAAAE5AgAAFQIAAAEAAAAAAAAAAToCAAAVAgAAAAAAAAAAAAABOwIAABUCAAAAAAAAAAAAAAE8AgAAFQIAAAAAAAAAAAAAD/sBAAABAAAACBoAAAAB/AEAAHIAAAAKCgAAAAAAAAAADQAAAAAABf0BAAAaQXBsb3Jpcy5CYXNlLk9iamVjdHMuQ29sb3IHAAAAEkRhdGFPYmplY3QrbVBhcmVudBVEYXRhT2JqZWN0K21Db250YWluZXIFbVR5cGUEbVJHQhBtVGhlbWVDb2xvckluZGV4DG1BdXRvVXBkYXRlZAltTW9kaWZpZWQEAgAAAAAAH0FwbG9yaXMuQmFzZS5PYmplY3RzLkxpbmVGb3JtYXQDAAAACAgIAQEDAAAACYwBAAAKAQAAAAAAAAD/////AAEP/gEAAAEAAAAITAAAAAH/AQAAcgAAAAoKAAAAAAAAAAANAAAAAAABAAIAAHIAAAAKCgAAAAAAAAAADQAAAAABBwECAAAAAQAAAAQAAAAEHUFwbG9yaXMuQmFzZS5PYmplY3RzLlZhcmlhYmxlAwAAAAE9AgAAFQIAAAEAAAAAAAAAAT4CAAAVAgAAAAAAAAAAAAABPwIAABUCAAAAAAAAAAAAAAFAAgAAFQIAAAAAAAAAAAAADwICAAABAAAACBsAAAABAwIAAHIAAAAKCgAAAAAAAAAADQAAAAAABQQCAAAaQXBsb3Jpcy5CYXNlLk9iamVjdHMuQ29sb3IHAAAAEkRhdGFPYmplY3QrbVBhcmVudBVEYXRhT2JqZWN0K21Db250YWluZXIFbVR5cGUEbVJHQhBtVGhlbWVDb2xvckluZGV4DG1BdXRvVXBkYXRlZAltTW9kaWZpZWQEAgAAAAAAH0FwbG9yaXMuQmFzZS5PYmplY3RzLkxpbmVGb3JtYXQDAAAACAgIAQEDAAAACZsBAAAKAQAAAAAAAAD/////AAEPBQIAAAEAAAAISwAAAAEGAgAAcgAAAAoKAAAAAAAAAAANAAAAAAABBwIAAHIAAAAKCgAAAAAAAAAADQAAAAABBwgCAAAAAQAAAAQAAAAEHUFwbG9yaXMuQmFzZS5PYmplY3RzLlZhcmlhYmxlAwAAAAFBAgAAFQIAAAEAAAAAAAAAAUICAAAVAgAAAAAAAAAAAAABQwIAABUCAAAAAAAAAAAAAAFEAgAAFQIAAAAAAAAAAAAADwkCAAABAAAACB0AAAABCgIAAHIAAAAKCgAAAAAAAAAADQAAAAAABQsCAAAaQXBsb3Jpcy5CYXNlLk9iamVjdHMuQ29sb3IHAAAAEkRhdGFPYmplY3QrbVBhcmVudBVEYXRhT2JqZWN0K21Db250YWluZXIFbVR5cGUEbVJHQhBtVGhlbWVDb2xvckluZGV4DG1BdXRvVXBkYXRlZAltTW9kaWZpZWQEAgAAAAAAH0FwbG9yaXMuQmFzZS5PYmplY3RzLkxpbmVGb3JtYXQDAAAACAgIAQEDAAAACaoBAAAKAQAAAAAAAAD/////AAEPDAIAAAEAAAAITgAAAAENAgAAcgAAAAoKAAAAAAAAAAANAAAAAAABDgIAAHIAAAAKCgAAAAAAAAAADQAAAAABBw8CAAAAAQAAAAQAAAAEHUFwbG9yaXMuQmFzZS5PYmplY3RzLlZhcmlhYmxlAwAAAAFFAgAAFQIAAAEAAAAAAAAAAUYCAAAVAgAAAAAAAAAAAAABRwIAABUCAAAAAAAAAAAAAAFIAgAAFQIAAAAAAAAAAAAADxACAAABAAAACB4AAAAFEQI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lJAgAACUoCAAAKCUsCAAAKCfMAAAAIBvLSTWIQWNk/CgAAAAAJTAIAAAlNAgAAAAAAAAAJTgIAAAnzAAAACQEAAAAJTwIAAAESAgAAEQIAAAlQAgAACVECAAAKCVICAAAKCfMAAAAIBlTjpZvEINg/CgEAAAAJUwIAAAlUAgAAAAAAAAAJVQIAAAnzAAAACQEAAAAJVgIAAAETAgAAEQIAAAlXAgAACVgCAAAKCVkCAAAKCfMAAAAIBqRwPQrXo+A/CgIAAAAJWgIAAAlbAgAAAAAAAAAJXAIAAAnzAAAACQEAAAAJXQIAAAEUAgAAEQIAAAleAgAACV8CAAAKCWACAAAKCfMAAAAIBka28/3UeOE/CgMAAAAJYQIAAAliAgAAAAAAAAAJYwIAAAnzAAAACQEAAAAJZAIAAAEZAgAAcgAAAAoKAAAAAAAAAAANAAAAAAEBGgIAAHIAAAAKCgEAAAAAAAAA/////wABBxsCAAAAAQAAAAQAAAAEHUFwbG9yaXMuQmFzZS5PYmplY3RzLlZhcmlhYmxlAwAAAAFlAgAAFQIAAAEAAAAAAAAAAWYCAAAVAgAAAAAAAAAAAAABZwIAABUCAAAAAAAAAAAAAAFoAgAAFQIAAAAAAAAAAAAADxwCAAABAAAACAAAAAABIQIAAHIAAAAKCgAAAAAAAAAADQAAAAABASICAAByAAAACgoBAAAAAAAAAP////8AAQcjAgAAAAEAAAAEAAAABB1BcGxvcmlzLkJhc2UuT2JqZWN0cy5WYXJpYWJsZQMAAAABaQIAABUCAAABAAAAAAAAAAFqAgAAFQIAAAAAAAAAAAAAAWsCAAAVAgAAAAAAAAAAAAABbAIAABUCAAAAAAAAAAAAAA8kAgAAAQAAAAgAAAAAASkCAAByAAAACgoAAAAAAAAAAA0AAAAAAQEqAgAAcgAAAAoKAQAAAAAAAAD/////AAEHKwIAAAABAAAABAAAAAQdQXBsb3Jpcy5CYXNlLk9iamVjdHMuVmFyaWFibGUDAAAAAW0CAAAVAgAAAQAAAAAAAAABbgIAABUCAAAAAAAAAAAAAAFvAgAAFQIAAAAAAAAAAAAAAXACAAAVAgAAAAAAAAAAAAAPLAIAAAEAAAAIAAAAAAExAgAAcgAAAAoKAAAAAAAAAAANAAAAAAEBMgIAAHIAAAAKCgEAAAAAAAAA/////wABBzMCAAAAAQAAAAQAAAAEHUFwbG9yaXMuQmFzZS5PYmplY3RzLlZhcmlhYmxlAwAAAAFxAgAAFQIAAAEAAAAAAAAAAXICAAAVAgAAAAAAAAAAAAABcwIAABUCAAAAAAAAAAAAAAF0AgAAFQIAAAAAAAAAAAAADzQCAAABAAAACAAAAAABSQIAAP8AAAAKWAIAAAF1AgAAOwEAAAIAAAABdgIAADwBAAABAAAAAXcCAAAUAAAAFrWMQmcB50KG5rBCxgo0QwF4AgAAPgEAAAAAAAAAAKBAAAF5AgAAIAAAAFko5UIXhk1DAXoCAACaAAAAAAAAAAAAAAAAAAAAAAl7AgAAAAAAAAl8AgAAAAAAAX0CAACjAAAAAAAAAAF+AgAAbAAAAAAA2EEAAHBBAX8CAAAUAAAAsBPLQid2RkPE971BiZ04QRKDvj8GgAIAAAM0MCUKCYECAAAJRwEAADQDAAD/////AQEKCYICAAABAAoBAUoCAAAbAAAAAYMCAAAgAAAAFrWGQr1FlUMBhAIAACAAAADOzSFDZwHhQgmFAgAACYYCAAAAAAAACgGHAgAAbAAAAAAAAAAAAAAAAYgCAABsAAAAAAAAAAAAAAAAAAAAAYkCAAAUAAAAAAAAAAAAAAAAAAAAAAAAAKQBAAD/////AQEKCYoCAAABAAoBB0sCAAAAAQAAAAIAAAAEGkFwbG9yaXMuQmFzZS5VSS5WaXN1YWxMaW5lAwAAAAoKB0wCAAAAAQAAAAMAAAAEFVN5c3RlbS5EcmF3aW5nLlBvaW50RgQAAAABiwIAACAAAABZKOVCF4ZNQwGMAgAAIAAAABa1gEIXhk1DAY0CAAAgAAAAzs0kQxeGTUMHTQIAAAABAAAAAwAAAAQXQXBsb3Jpcy5CYXNlLkFuY2hvck1vZGUDAAAAAY4CAACaAAAAAAAAAAGPAgAAmgAAAAIAAAABkAIAAJoAAAAEAAAAAU4CAAAkAAAACdMAAAAAAAAAAAAAAAFPAgAAJQAAAAmRAgAAAgAAAAIAAAABUAIAAP8AAAAKWAIAAAGSAgAAOwEAAAIAAAABkwIAADwBAAABAAAAAZQCAAAUAAAAXHldQ6bb+EKI5rBCpx0rQwGVAgAAPgEAAAAAAAAAAKBAAAGWAgAAIAAAAH/ZhEOm/FFDAZcCAACaAAAAAAAAAAAAAAAAAAAAAAmYAgAAAAAAAAmZAgAAAAAAAZoCAACjAAAAAAAAAAGbAgAAbAAAAAAA2EEAAHBBAZwCAAAUAAAAsBN9Q7ATS0PE971BiZ04QRKDvj8GnQIAAAMzOCUKCZ4CAAAJRwEAADQDAAD/////AQEKCZ8CAAABAAoBAVECAAAbAAAAAaACAAAgAAAAXHlaQ71FlUMBoQIAACAAAABQdpxDptvyQgmiAgAACaMCAAAAAAAACgGkAgAAbAAAAAAAAAAAAAAAAaUCAABsAAAAAAAAAAAAAAAAAAAAAaYCAAAUAAAAAAAAAAAAAAAAAAAAAAAAAKQBAAD/////AQEKCacCAAABAAoBB1ICAAAAAQAAAAIAAAAEGkFwbG9yaXMuQmFzZS5VSS5WaXN1YWxMaW5lAwAAAAoKB1MCAAAAAQAAAAMAAAAEFVN5c3RlbS5EcmF3aW5nLlBvaW50RgQAAAABqAIAACAAAAB/2YRDpvxRQwGpAgAAIAAAAFx5V0Om/FFDAaoCAAAgAAAAUPadQ6b8UUMHVAIAAAABAAAAAwAAAAQXQXBsb3Jpcy5CYXNlLkFuY2hvck1vZGUDAAAAAasCAACaAAAAAAAAAAGsAgAAmgAAAAIAAAABrQIAAJoAAAAEAAAAAVUCAAAkAAAACdMAAAAAAAAAAAAAAAFWAgAAJQAAAAmuAgAAAgAAAAIAAAABVwIAAP8AAAAKWAIAAAGvAgAAOwEAAAIAAAABsAIAADwBAAABAAAAAbECAAAUAAAAF0y6QxD9ZEKI5rBCNkxuQwGyAgAAPgEAAAAAAAAAAKBAAAGzAgAAIAAAAOho0ENfZTBDAbQCAACaAAAAAAAAAAAAAAAAAAAAAAm1AgAAAAAAAAm2AgAAAAAAAbcCAACjAAAAAAAAAAG4AgAAbAAAAAAA2EEAAHBBAbkCAAAUAAAATuzJQ///KUPE971BiZ04QRKDvj8GugIAAAM1MiUKCbsCAAAJRwEAADQDAAD/////AQEKCbwCAAABAAoBAVgCAAAbAAAAAb0CAAAgAAAAF8y4Q71FlUMBvgIAACAAAAC5BehDEP1YQgm/AgAACcACAAAAAAAACgHBAgAAbAAAAAAAAAAAAAAAAcICAABsAAAAAAAAAAAAAAAAAAAAAcMCAAAUAAAAAAAAAAAAAAAAAAAAAAAAAKQBAAD/////AQEKCcQCAAABAAoBB1kCAAAAAQAAAAIAAAAEGkFwbG9yaXMuQmFzZS5VSS5WaXN1YWxMaW5lAwAAAAoKB1oCAAAAAQAAAAMAAAAEFVN5c3RlbS5EcmF3aW5nLlBvaW50RgQAAAABxQIAACAAAADoaNBDX2UwQwHGAgAAIAAAABdMt0NfZTBDAccCAAAgAAAAuYXpQ19lMEMHWwIAAAABAAAAAwAAAAQXQXBsb3Jpcy5CYXNlLkFuY2hvck1vZGUDAAAAAcgCAACaAAAAAAAAAAHJAgAAmgAAAAIAAAABygIAAJoAAAAEAAAAAVwCAAAkAAAACdMAAAAAAAAAAAAAAAFdAgAAJQAAAAnLAgAAAgAAAAIAAAABXgIAAP8AAAAKWAIAAAHMAgAAOwEAAAIAAAABzQIAADwBAAABAAAAAc4CAAAUAAAAwe0CRAUhNEKA5rBCOIN6QwHPAgAAPgEAAAAAAAAAAKBAAAHQAgAAIAAAACn8DUTeSSpDAdECAACaAAAAAAAAAAAAAAAAAAAAAAnSAgAAAAAAAAnTAgAAAAAAAdQCAACjAAAAAAAAAAHVAgAAbAAAAAAA2EEAAHBBAdYCAAAUAAAAndgKRJ3YI0PE971BiZ04QRKDvj8G1wIAAAM1NSUKCdgCAAAJRwEAADQDAAD/////AQEKCdkCAAABAAoBAV8CAAAbAAAAAdoCAAAgAAAAwS0CRL1FlUMB2wIAACAAAACRyhlEBSEoQgncAgAACd0CAAAAAAAACgHeAgAAbAAAAAAAAAAAAAAAAd8CAABsAAAAAAAAAAAAAAAAAAAAAeACAAAUAAAAAAAAAAAAAAAAAAAAAAAAAKQBAAD/////AQEKCeECAAABAAoBB2ACAAAAAQAAAAIAAAAEGkFwbG9yaXMuQmFzZS5VSS5WaXN1YWxMaW5lAwAAAAoKB2ECAAAAAQAAAAMAAAAEFVN5c3RlbS5EcmF3aW5nLlBvaW50RgQAAAAB4gIAACAAAAAp/A1E3kkqQwHjAgAAIAAAAMFtAUTeSSpDAeQCAAAgAAAAkYoaRN5JKkMHYgIAAAABAAAAAwAAAAQXQXBsb3Jpcy5CYXNlLkFuY2hvck1vZGUDAAAAAeUCAACaAAAAAAAAAAHmAgAAmgAAAAIAAAAB5wIAAJoAAAAEAAAAAWMCAAAkAAAACdMAAAAAAAAAAAAAAAFkAgAAJQAAAAnoAgAAAgAAAAIAAAABewIAACIAAAAKCgAAAAAAKEEJcAAAAAlxAAAACekCAAAAAAnqAgAAAXwCAAByAAAACgoAAAAA7SElAAcAAAAAAQGBAgAApwAAAAnrAgAAAQAAAAMAAAABggIAAG8AAAAJ7AIAAAoBhQIAAGoAAAAKCgAAAEA/Ce0CAAAJ7gIAAAEAAAD+////AAAAAAEAAAAAAAAAAAAAAAEAAAAAAAAAAAAAAYYCAABrAAAACgoJ7wIAAAnwAgAAAQAAAP7///8AAAAA/////wAAAYoCAABvAAAACfECAAAKB5ECAAAAAQAAAAQAAAAEHEFwbG9yaXMuQmFzZS5VSS5WaXN1YWxPYmplY3QDAAAACUoCAAAJSQIAAAoKAZgCAAAiAAAACgoAAAAAAChBCXAAAAAJcQAAAAnyAgAAAAAJ8wIAAAGZAgAAcgAAAAoKAAAAAPeUHgAKAAAAAAEBngIAAKcAAAAJ9AIAAAEAAAADAAAAAZ8CAABvAAAACfUCAAAKAaICAABqAAAACgoAAABAPwn2AgAACfcCAAABAAAA/v///wAAAAABAAAAAAAAAAAAAAABAAAAAAAAAAAAAAGjAgAAawAAAAoKCfgCAAAJ+QIAAAEAAAD+////AAAAAP////8AAAGnAgAAbwAAAAn6AgAACgeuAgAAAAEAAAAEAAAABBxBcGxvcmlzLkJhc2UuVUkuVmlzdWFsT2JqZWN0AwAAAAlRAgAACVACAAAKCgG1AgAAIgAAAAoKAAAAAAAoQQlwAAAACXEAAAAJ+wIAAAAACfwCAAABtgIAAHIAAAAKCgAAAAA/aX4ABQAAAAABAbsCAACnAAAACf0CAAABAAAAAwAAAAG8AgAAbwAAAAn+AgAACgG/AgAAagAAAAoKAAAAQD8J/wIAAAkAAwAAAQAAAP7///8AAAAAAQAAAAAAAAAAAAAAAQAAAAAAAAAAAAABwAIAAGsAAAAKCgkBAwAACQIDAAABAAAA/v///wAAAAD/////AAABxAIAAG8AAAAJAwMAAAoHywIAAAABAAAABAAAAAQcQXBsb3Jpcy5CYXNlLlVJLlZpc3VhbE9iamVjdAMAAAAJWAIAAAlXAgAACgoB0gIAACIAAAAKCgAAAAAAKEEJcAAAAAlxAAAACQQDAAAAAAkFAwAAAdMCAAByAAAACgoAAAAAw5h0AAkAAAAAAQHYAgAApwAAAAkGAwAAAQAAAAMAAAAB2QIAAG8AAAAJBwMAAAoB3AIAAGoAAAAKCgAAAEA/CQgDAAAJCQMAAAEAAAD+////AAAAAAEAAAAAAAAAAAAAAAEAAAAAAAAAAAAAAd0CAABrAAAACgoJCgMAAAkLAwAAAQAAAP7///8AAAAA/////wAAAeECAABvAAAACQwDAAAKB+gCAAAAAQAAAAQAAAAEHEFwbG9yaXMuQmFzZS5VSS5WaXN1YWxPYmplY3QDAAAACV8CAAAJXgIAAAoKAekCAAByAAAACgoAAAAA////AA4AAAAAAAHqAgAAcgAAAAoKAAAAAP///wAOAAAAAAEH6wIAAAABAAAABAAAAAQdQXBsb3Jpcy5CYXNlLk9iamVjdHMuVmFyaWFibGUDAAAAAQ0DAAAVAgAAAQAAAAAAAAABDgMAABUCAAAAAAAAAAAAAAEPAwAAFQIAAAAAAAAAAAAAARADAAAVAgAAAAAAAAAAAAAP7AIAAAEAAAAIMAAAAAXtAgAAGkFwbG9yaXMuQmFzZS5PYmplY3RzLkNvbG9yBwAAABJEYXRhT2JqZWN0K21QYXJlbnQVRGF0YU9iamVjdCttQ29udGFpbmVyBW1UeXBlBG1SR0IQbVRoZW1lQ29sb3JJbmRleAxtQXV0b1VwZGF0ZWQJbU1vZGlmaWVkBAIAAAAAAB9BcGxvcmlzLkJhc2UuT2JqZWN0cy5MaW5lRm9ybWF0AwAAAAgICAEBAwAAAAmFAgAACgAAAAD///8ADgAAAAAABe4CAAAaQXBsb3Jpcy5CYXNlLk9iamVjdHMuQ29sb3IHAAAAEkRhdGFPYmplY3QrbVBhcmVudBVEYXRhT2JqZWN0K21Db250YWluZXIFbVR5cGUEbVJHQhBtVGhlbWVDb2xvckluZGV4DG1BdXRvVXBkYXRlZAltTW9kaWZpZWQEAgAAAAAAH0FwbG9yaXMuQmFzZS5PYmplY3RzLkxpbmVGb3JtYXQDAAAACAgIAQEDAAAACYUCAAAKAQAAAAAAAAD/////AAEB7wIAAHIAAAAKCgAAAADtISUABwAAAAAAAfACAAByAAAACgoBAAAA////AP////8AAA/xAgAAAQAAAAgIAAAAAfICAAByAAAACgoAAAAAAAAAAA0AAAAAAAHzAgAAcgAAAAoKAAAAAAAAAAANAAAAAAEH9AIAAAABAAAABAAAAAQdQXBsb3Jpcy5CYXNlLk9iamVjdHMuVmFyaWFibGUDAAAAAREDAAAVAgAAAQAAAAAAAAABEgMAABUCAAAAAAAAAAAAAAETAwAAFQIAAAAAAAAAAAAAARQDAAAVAgAAAAAAAAAAAAAP9QIAAAEAAAAINQAAAAX2AgAAGkFwbG9yaXMuQmFzZS5PYmplY3RzLkNvbG9yBwAAABJEYXRhT2JqZWN0K21QYXJlbnQVRGF0YU9iamVjdCttQ29udGFpbmVyBW1UeXBlBG1SR0IQbVRoZW1lQ29sb3JJbmRleAxtQXV0b1VwZGF0ZWQJbU1vZGlmaWVkBAIAAAAAAB9BcGxvcmlzLkJhc2UuT2JqZWN0cy5MaW5lRm9ybWF0AwAAAAgICAEBAwAAAAmiAgAACgAAAAD///8ADgAAAAAABfcCAAAaQXBsb3Jpcy5CYXNlLk9iamVjdHMuQ29sb3IHAAAAEkRhdGFPYmplY3QrbVBhcmVudBVEYXRhT2JqZWN0K21Db250YWluZXIFbVR5cGUEbVJHQhBtVGhlbWVDb2xvckluZGV4DG1BdXRvVXBkYXRlZAltTW9kaWZpZWQEAgAAAAAAH0FwbG9yaXMuQmFzZS5PYmplY3RzLkxpbmVGb3JtYXQDAAAACAgIAQEDAAAACaICAAAKAQAAAAAAAAD/////AAEB+AIAAHIAAAAKCgAAAAD3lB4ACgAAAAAAAfkCAAByAAAACgoBAAAA////AP////8AAA/6AgAAAQAAAAgLAAAAAfsCAAByAAAACgoAAAAA////AA4AAAAAAAH8AgAAcgAAAAoKAAAAAP///wAOAAAAAAEH/QIAAAABAAAABAAAAAQdQXBsb3Jpcy5CYXNlLk9iamVjdHMuVmFyaWFibGUDAAAAARUDAAAVAgAAAQAAAAAAAAABFgMAABUCAAAAAAAAAAAAAAEXAwAAFQIAAAAAAAAAAAAAARgDAAAVAgAAAAAAAAAAAAAP/gIAAAEAAAAIMgAAAAX/AgAAGkFwbG9yaXMuQmFzZS5PYmplY3RzLkNvbG9yBwAAABJEYXRhT2JqZWN0K21QYXJlbnQVRGF0YU9iamVjdCttQ29udGFpbmVyBW1UeXBlBG1SR0IQbVRoZW1lQ29sb3JJbmRleAxtQXV0b1VwZGF0ZWQJbU1vZGlmaWVkBAIAAAAAAB9BcGxvcmlzLkJhc2UuT2JqZWN0cy5MaW5lRm9ybWF0AwAAAAgICAEBAwAAAAm/AgAACgAAAAD///8ADgAAAAAABQADAAAaQXBsb3Jpcy5CYXNlLk9iamVjdHMuQ29sb3IHAAAAEkRhdGFPYmplY3QrbVBhcmVudBVEYXRhT2JqZWN0K21Db250YWluZXIFbVR5cGUEbVJHQhBtVGhlbWVDb2xvckluZGV4DG1BdXRvVXBkYXRlZAltTW9kaWZpZWQEAgAAAAAAH0FwbG9yaXMuQmFzZS5PYmplY3RzLkxpbmVGb3JtYXQDAAAACAgIAQEDAAAACb8CAAAKAQAAAAAAAAD/////AAEBAQMAAHIAAAAKCgAAAAA/aX4ABQAAAAAAAQIDAAByAAAACgoBAAAA////AP////8AAA8DAwAAAQAAAAgJAAAAAQQDAAByAAAACgoAAAAAAAAAAA0AAAAAAAEFAwAAcgAAAAoKAAAAAAAAAAANAAAAAAEHBgMAAAABAAAABAAAAAQdQXBsb3Jpcy5CYXNlLk9iamVjdHMuVmFyaWFibGUDAAAAARkDAAAVAgAAAQAAAAAAAAABGgMAABUCAAAAAAAAAAAAAAEbAwAAFQIAAAAAAAAAAAAAARwDAAAVAgAAAAAAAAAAAAAPBwMAAAEAAAAIMQAAAAUIAwAAGkFwbG9yaXMuQmFzZS5PYmplY3RzLkNvbG9yBwAAABJEYXRhT2JqZWN0K21QYXJlbnQVRGF0YU9iamVjdCttQ29udGFpbmVyBW1UeXBlBG1SR0IQbVRoZW1lQ29sb3JJbmRleAxtQXV0b1VwZGF0ZWQJbU1vZGlmaWVkBAIAAAAAAB9BcGxvcmlzLkJhc2UuT2JqZWN0cy5MaW5lRm9ybWF0AwAAAAgICAEBAwAAAAncAgAACgAAAAD///8ADgAAAAAABQkDAAAaQXBsb3Jpcy5CYXNlLk9iamVjdHMuQ29sb3IHAAAAEkRhdGFPYmplY3QrbVBhcmVudBVEYXRhT2JqZWN0K21Db250YWluZXIFbVR5cGUEbVJHQhBtVGhlbWVDb2xvckluZGV4DG1BdXRvVXBkYXRlZAltTW9kaWZpZWQEAgAAAAAAH0FwbG9yaXMuQmFzZS5PYmplY3RzLkxpbmVGb3JtYXQDAAAACAgIAQEDAAAACdwCAAAKAQAAAAAAAAD/////AAEBCgMAAHIAAAAKCgAAAADDmHQACQAAAAAAAQsDAAByAAAACgoBAAAA////AP////8AAA8MAwAAAQAAAAgHAAAACw==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8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1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3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4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5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4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7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78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26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3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29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27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33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3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32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3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3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53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49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5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oM6vJEIuufqzEvvJ.48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FKbG0KCF4dB0h4XRH1PX0MABB0AAAALU3lzdGVtLkd1aWQLAAAAAl9hAl9iAl9jAl9kAl9lAl9mAl9nAl9oAl9pAl9qAl9rAAAAAAAAAAAAAAAIBwcCAgICAgICAgAAAAAAAAAAAAAAAAAAAAAACgoJHgAAAAAKCgoBAAAAAAAAAP////8BAQEfAAAAFAAAAP//H0H//x9BqrQXRHZidUOwz+RBJLocQ4eQI0Q7MYVDBSAAAAAVU3lzdGVtLkRyYXdpbmcuUG9pbnRGAgAAAAF4AXkAAAsLBAAAABsKx0MuaUhDBiEAAAAQNXErQUJGRzlaWEpmOUF3Z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BSmxtCbTJwQwEuAAAAIAAAAIfYIERtMnBDCS8AAAAJMAAAAAkxAAAACTIAAAAAAAAAAAAAAAAAAAAJMwAAAAAAAAAAAAk0AAAACQEAAAAJAQAAAAk1AAAAAQcAAAAGAAAACQEAAAABNgAAACYAAAAAAAAAzcxMPwAAAAgBAAkBAAAACTcAAAAJOAAAAAEAAAAAAAAAAAAzMzMzMzPjPwCamZmZmZnJPwAAACBBAAEJOQAAAAoJOgAAAAk7AAAACTwAAAABPQAAACAAAABSmxtCbTJwQwE+AAAAIAAAAFKbG0KCF4d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BSmxtCgheHQQFpAAAAIAAAAIfYIERtMnBDCWoAAAAJawAAAAAAAAAKBWwAAAAUU3lzdGVtLkRyYXdpbmcuU2l6ZUYCAAAABXdpZHRoBmhlaWdodAAACwsEAAAAAAAAAAAAAAABbQAAAGwAAAAAAAAAAAAAAAAAAAABbgAAABQAAAAAAAAAAAAAAAAAAAAAAAAAFAAAAP////8BAQoJbwAAAAEACgEPHgAAAPYm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EQMRneiAgAASQUAAA8AAAB4bC93b3JrYm9vay54bWykVMtunDAU3VfqPyD2jMEY5qGBaDIPdaSqiqo0WVYeYwYrfhBjMpNW/fdeoCRps0lbFtjXNsfnnnMvy4uzkt4Dt40wOvOjSeh7XDNTCH3M/C/Xu2Dme42juqDSaJ75j7zxL/L375YnY+8Oxtx5AKCbzK+cqxcINaziijYTU3MNO6WxijoI7RE1teW0aCrOnZIIh2GKFBXaHxAW9i0YpiwF4xvDWsW1G0Asl9QB/aYSdTOiKfYWOEXtXVsHzKgaIA5CCvfYg/qeYov9URtLDxLSPkfJiAzTV9BKMGsaU7oJQKGB5Kt8oxBF0ZByviyF5DeD7B6t609UdbdI35O0cdtCOF5kfgqhOfHnBSBh2/qyFRJ28SwJse+h/MmLK9tFwHwlHbeaOr422oFQvyT+X1F67HVlwALvM79vheXgfKdNvoQ3ZQt6aK6oq7zWysxHD9Si0sgC8kT3J4SrOa6+sQLHUWyj4sERXeuv4SyE56jRNXKqTlNc0JKSCczRC8npaz//QnTKep0QSDPQz5fd/E+Z8mVX0TeCn5pnUbvQO98KXZgTdEiaYOiRxzEmKUSnfvNWFK6CE/OEPK194OJYOVgkafcZuINeXNH3AlzVj57ua2BVS2NFs6GOQud1zbIHryMwfiFgYvcFzDuc8WNGJQPju6E/SZIUwxFmNGutBfPXsJP5w+387D42Ll/CCB6JzP8+ne8SMp+mQbRZJQFJo1lwGZFpQNabLbmcJ/Eqnv14NoL8W+2HczQfS/8ckcX49wDiBS9pK91e0SPf1EApxtN0OuQINH/jmuB4m2ziACe7OFgl2zCI0hgHKdnhhKwxJgl+4qrOb6OqKEP8zHj/S5qNJNV5sbKs2m+8naRHqPKh0+AkMOrevYxozCP/CQAA//8DAFBLAwQUAAYACAAAACEAP4BA+NkAAAA0AQAAFAAAAHhsL3NoYXJlZFN0cmluZ3MueG1sXJBBSwMxFITvgv/hkbvNVlBEsumh1JN40PYHhN3XJDR5SfOSav+9ERFhjzPfzGFGbb5igAsW9olGsV4NApCmNHuyozjsX+6eBHA1NJuQCEdxRRYbfXujmCv0LvEoXK35WUqeHEbDq5SROjmmEk3tsljJuaCZ2SHWGOT9MDzKaDwJmFKjOooHAY38ueH2T2vFXquqP7B4ZFgrWbWSP96vv3U4nWBH1hMu2TseG4a+YAl25+ZzxhnezMVbU1PhZeQ1fcIeJ0cpJHuFA/dr/jOyr9bfAA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NHxzYb4CAABdBwAADQAAAHhsL3N0eWxlcy54bWzEVclu2zAQvRfoPwi8O7IdO7EMSQG8CAiQFgXsAr1SEiUT4SKQVGq16L93SEm20jTI0kN98XA4fO9xZjgKb46ceQ9EaSpFhCYXY+QRkcmcijJCX/fJaIE8bbDIMZOCRKghGt3EHz+E2jSM7A6EGA8ghI7QwZhq6fs6OxCO9YWsiICdQiqODSxV6etKEZxre4gzfzoeX/kcU4FahCXPXgPCsbqvq1EmeYUNTSmjpnFYyOPZ8rYUUuGUgdTjZIazHtstnsBzmimpZWEuAM6XRUEz8lRl4Ac+IMVhIYXRXiZrYSI0BWjLsLwX8rtI7BYksIuKQ/3De8AMPBPk+XGYSSaVZyA1oKx1CcxJG7PGjKaKusACc8qa1g8UcNQltIvkFK7nvL4V00qKw9TFdYzBgJCKnBxJHqHFn5x7fJAcP0PZgbs/DSSUsdO9Z/aK4IhDyL8hSiSw8Dp731RwPwGt0ol0gS+Elwo3k+n8DSe0ZDS3Osq1y6sq0wgl8FtvO5y02zkl4GrW4g9Ex6HfKntB37Ns2+sgcahvYnOkkNVUqhweXt9PtnVaVxwyUhhbUkXLgzOMrOw6lcZIbq2c4lIKzKzt98c6A7AzwtjOvtBvxSOCY+GJmifc3EJPwFu3TdSbUKrObPG6hSUYwrXgA9w5CH8H7rE4E/zH47iqWGNbuH+Wr9AC7/JRik5XeQ/Y5avBXBkg8YPyPiruqUqeHS0R+mxHL4Mx1Wc6rSkzVPytsACaH8+9Aq0BdTd2kLo2OvHARk4KXDOzP21G6Gx/IjmtOSSoi/pCH6RxEBE623e2rydXjoQczZ2GSQb/Xq1ohH5uV9fBZptMR4vxajGaXZL5KJivNqP5bL3abJJgPB2vfw0G+z+Mdff5gfadzJaawfBX3W079buzL0KDRau/HSigG15Ifwv//F2MfwMAAP//AwBQSwMEFAAGAAgAAAAhAFuKWYeGAgAA3AUAABgAAAB4bC93b3Jrc2hlZXRzL3NoZWV0MS54bWyMVMtu2zAQvBfoPxC8Ry87jSNIChI7RXMoUPR5pilKIkKKKkm//r5LMlasuAisgy2Rw9mZ3ZGKu70UaMu04aovcRolGLGeqpr3bYl//fx8tcDIWNLXRKielfjADL6rPn4odko/m44xi4ChNyXurB3yODa0Y5KYSA2sh51GaUksPOo2NoNmpPaHpIizJPkUS8J7HBhyfQmHahpO2UrRjWS9DSSaCWJBv+n4YI5s+/oivlqTHXg96jmRuAo7I186P9MnOdXKqMZGVMk4SDt3eRvfTnxKeolRSfTzZrgC4gHMrbng9uDtYiRp/tT2SpO1gIns0zmhJyrJOf3lOoGpKmoOvXWBQJo1Jb5P88cMo7gq/Oh+c7YzJ/fIkvUPJhi1rIYEYeSSsVbq2QGfYCkBSuMBjpJQy7dsyYQo8QOgzV9f5CHNH0KReKxSFa/3x4qffZ6+abQmhi2V+MNr20FZyG3NGrIR9nVxES1mWTJLs+tx87vafWG87SwcgVXfu7w+rJihECfQGgURVAmoCL9IcvdeQNPJvsSwuQsFT7mNPbhBzH2P4nDUm1gRS6pCqx2CLDqvA3FvSppDafifYUQ3xioZTHnIfxWBEsdw7yi8CJiFX/EN9ESg3UCft9W8iLfQOPqCWIYzUGpEpFPE6hyRTRGP54jZiIjB3ugR+nPq8V0zDuubNgpLpmUhD85QEs2TWXJ6vZG3DEzpC3qWXN9Orjd2p+jrbPEetwu+m9hRyU02oV68aUPIaxj7QFr2leiW9wYJ1vhw3WCkQ/qSCO6tGlzkbiAOa2UhCMenDr6TDCaeRDC4Rik7PsDkBWsJPbx8npDOObxj+qmGIcFmPH6Xq38AAAD//wMAUEsDBBQABgAIAAAAIQCjVsRjnAIAAD0HAAAbAAAAeGwvZHJhd2luZ3Mvdm1sRHJhd2luZzEudm1s7FXLbtswELwX6D8QzMEXG3qkSVpGMhCkyK0t0PRxDGiJtpiQXEFcy3K+vktJduwiLVrk0EsFSyJ3l8uZ4QjOOmsY3c6LNufrxglfVMpKP7O6aMDDEmcFWNFaw1+/Givhd5WwXOpCieH1tKb7gzWqK9TBNpYQVYi1iCIri2/W3PbQvjaazwlLBsJXslZGbmGNrBWqw5yrUmOfDnldWlkfZVgpUeY84VHfIjrqMc/aoSVua8V0mfO7LqbrDtM45awAaEqvH1XO0+Q8jqf9kzPqUdPOoYZgsVpilXMbT2MzlgyFR8+4UyNK2hIbeFDsHrTzuDXU3mpUzQCREabQka0aWWrlsOcMDznHsHMBzqkCA+CcNzTaETtgsqd1SMkncXrG2bDw5IjnAGJSg9eowQm58GDWqC4DOyublXYzo5Yozt/WeDkGEGqRxDTf6BIrkaRvaFwpvapQpCH+ONOuVJ1I+jat9nqhjcatqHRZKndpPcw2jaxn/fYCw8oJW2pjCjDQ5PxkSZdKAmsSSqGFkjjLNcJeyVBNx0Tl6VN9f9JBRlKuhA0DN2i38MW6UXTIo2Z7pX9S1YFTT2eB5LIFdGwUKaAudRCelJpJgyIAmgRzMZaVut0VhnWU1ysngnaTeRZRtq/LolaMbYd5J65NOOr35FX2aXFP3b/0B/wRcLQNyzrxAVr1XWN1rYzxA8sQviWHPhO+ckUFzQCMJVOWnE1ZTC+6T+lHdwi+y6JOHJZSwytidEPKzm+k8aov2EUGmp34DJt5EjJhsAtek2usm8chPo5Dqp/u+Q2f4ejWXzr1/IVOTS6CHQ+smh44Nbh459QQ3zk1/e/Uf+/U4MvBqemU0eD0ojfqC3za+/EZn6Z/49OI/jPnPwAAAP//AwBQSwMEFAAGAAgAAAAhAM5gyBI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/Q8l7m2SDzYW2A5U9ORTcmPgWktst2PwhiXb79mbdrJP5eDnn/jjn3nK+1232BT4oaypEC4IyMMJKZbYVWq8W+R3KQuRG8tYaqNABAprXtzelcExYDy/eOvBRQcgSyQQmXIV2MTqGcRA70DwUyWGS2FiveUyj32LHxQffAh4RMsEaIpc8cnwE5m4gojNSigHpPn3bA6TA0IIGEwOmBcW/3gheh38XeuXCqVU8uNTpHPeSLcVJHNz7oAZj13VFN+5jpPwUvy2fXvuquTLHWwlAdSkFEx54tL4u8eWQDtfyEJfpxo0CeX+ol0p4G2wTs+emUQKydQBf4mtjgvYdmD4vZykWO5X4kTbjh8fVAtUjQqc5meWEruiUkRmjk/djkL+AlO3qkfU3AAAA//8DAFBLAwQUAAYACAAAACEA/YOV3BIBAAAtAgAAEAAAAHhsL2NvbW1lbnRzMS54bWzEUMtqwzAQvBf6D2LvjZwcSloshVBIKfRQaPoBqrWOBXoYrRKcfn03dtxDT70VhNCMZmeGrTdD8OKEmVyKCpaLCgTGJlkXDwo+9ru7NQgqJlrjU0QFZyTY6NubukkhYCwk2CCSgq6U/lFKajoMhhapx8g/bcrBFIb5IKnPaCx1iCV4uaqqexmMi6BrcyxdyjQ/hNS1/OGuQa+Oip5TRcZWwdMSxCR7sQoqNio4sCjzeePr82JEX+JkvIIHuKAm+ZSFixYH5Jk1OzCbdymWSbY3XQpmZFsTnD9P9Gpk5Ghb9HNOx15YpCa7vvDmqJacKzlTThXktfWvxlv2+ZfG75gd0h8rz+Wnlc+I9DcAAAD//wMAUEsDBBQABgAIAAAAIQBepPUAiwEAAA0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W/bMAyG7wP2HwzdGzndB4ZAVlG0G3pYsQBJuzMn07FQRTJE1kj260fbaOqsO+3Gj1fko1cyV4d9KHrM5FOs1HJRqgKjS7WPu0o9bL9dfFEFMcQaQopYqSOSurLv35l1Th1m9kiFjIhUqZa5W2lNrsU90ELaUTpNyntgSfNOp6bxDm+Te95jZH1Zlp81HhhjjfVFdxqopomrnv93aJ3cwEeP22MnwNZcd13wDlhuae+9y4lSw8U9OB85UVt8PTgMRs9lRjg36J6z56MtjZ6nZuMg4I2ssA0EQqNfC+YOYbBvDT6TNT2venScckH+txh4qYpfQDiAVaqH7CGyAA6yKRnj0BFn+zPlJ2oRmYwWwVQcw7l2HvuPdjkKJDgXDgMmEGmcI249B6QfzRoy/4N4OSceGSbeCee6Cyl7ugWGN5DjvWXdXwu++/hED902ySF8MfC8aDYtZKzF85PBp4K5E+9yGIbctBB3WL9o3jaGh3+cfrddflqUH0p5yVnN6Nd/bP8AAAD//wMAUEsBAi0AFAAGAAgAAAAhAJJXjTVyAQAAcAUAABMAAAAAAAAAAAAAAAAAAAAAAFtDb250ZW50X1R5cGVzXS54bWxQSwECLQAUAAYACAAAACEAUHxOwfMAAABMAgAACwAAAAAAAAAAAAAAAACrAwAAX3JlbHMvLnJlbHNQSwECLQAUAAYACAAAACEAjJbFbvMAAAC6AgAAGgAAAAAAAAAAAAAAAADPBgAAeGwvX3JlbHMvd29ya2Jvb2sueG1sLnJlbHNQSwECLQAUAAYACAAAACEARAxGd6ICAABJBQAADwAAAAAAAAAAAAAAAAACCQAAeGwvd29ya2Jvb2sueG1sUEsBAi0AFAAGAAgAAAAhAD+AQPjZAAAANAEAABQAAAAAAAAAAAAAAAAA0QsAAHhsL3NoYXJlZFN0cmluZ3MueG1sUEsBAi0AFAAGAAgAAAAhAOdldbjWAAAAuAEAACMAAAAAAAAAAAAAAAAA3AwAAHhsL3dvcmtzaGVldHMvX3JlbHMvc2hlZXQxLnhtbC5yZWxzUEsBAi0AFAAGAAgAAAAhANwGB756BgAA2RsAABMAAAAAAAAAAAAAAAAA8w0AAHhsL3RoZW1lL3RoZW1lMS54bWxQSwECLQAUAAYACAAAACEANHxzYb4CAABdBwAADQAAAAAAAAAAAAAAAACeFAAAeGwvc3R5bGVzLnhtbFBLAQItABQABgAIAAAAIQBbilmHhgIAANwFAAAYAAAAAAAAAAAAAAAAAIcXAAB4bC93b3Jrc2hlZXRzL3NoZWV0MS54bWxQSwECLQAUAAYACAAAACEAo1bEY5wCAAA9BwAAGwAAAAAAAAAAAAAAAABDGgAAeGwvZHJhd2luZ3Mvdm1sRHJhd2luZzEudm1sUEsBAi0AFAAGAAgAAAAhAM5gyBI4AQAAFQIAABEAAAAAAAAAAAAAAAAAGB0AAGRvY1Byb3BzL2NvcmUueG1sUEsBAi0AFAAGAAgAAAAhAP2DldwSAQAALQIAABAAAAAAAAAAAAAAAAAAhx8AAHhsL2NvbW1lbnRzMS54bWxQSwECLQAUAAYACAAAACEAXqT1AIsBAAANAwAAEAAAAAAAAAAAAAAAAADHIAAAZG9jUHJvcHMvYXBwLnhtbFBLBQYAAAAADQANAFgDAACIIw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KEEGcAAAAAVBcmlhbAZxAAAAFu+8re+8syDvvLDjgrTjgrfjg4Pjgq8JcgAAAAEACXMAAAAHIwAAAAABAAAAEQAAAAQUU3lzdGVtLkRyYXdpbmcuQ29sb3IEAAAABXQAAAAUU3lzdGVtLkRyYXdpbmcuQ29sb3IEAAAABXZhbHVlBXN0YXRlCmtub3duQ29sb3IEbmFtZQAAAAEJBwcEAAAAAAAAAAAAAAAAAAAACgF1AAAAdAAAAAAAAP//////AgAAAAoBdgAAAHQAAAD//////////wIAAAAKAXcAAAB0AAAATkEi//////8CAAAACgF4AAAAdAAAAN7c2///////AgAAAAoBeQAAAHQAAAB+aT///////wIAAAAKAXoAAAB0AAAAjIRy//////8CAAAACgF7AAAAdAAAACUh7f//////AgAAAAoBfAAAAHQAAAA0O0b//////wIAAAAKAX0AAAB0AAAAdJjD//////8CAAAACgF+AAAAdAAAAB6U9///////AgAAAAoBfwAAAHQAAAAelPf//////wIAAAAKAYAAAAB0AAAAJSHt//////8CAAAACgGBAAAAdAAAAAAAAP//////AgAAAAoBggAAAHQAAAD//////////wIAAAAKAYMAAAB0AAAATkEi//////8CAAAACgGEAAAAdAAAAN7c2///////AgAAAAoEJAAAAJgBU3lzdGVtLkNvbGxlY3Rpb25zLkdlbmVyaWMuTGlzdGAxW1tBcGxvcmlzLkJhc2UuT2JqZWN0cy5EYXRhT2JqZWN0LCBBcGxvcmlzLkJhc2UsIFZlcnNpb249NC4yLjAuMTkwOC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i4wLjE5MDg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IuMC4xOTA4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i4wLjE5MDgsIEN1bHR1cmU9bmV1dHJhbCwgUHVibGljS2V5VG9rZW49MTZmYzEzYTIyNmMwZTk1MV1dAwAAAJEBU3lzdGVtLkNvbGxlY3Rpb25zLkdlbmVyaWMuTGlzdGAxW1tBcGxvcmlzLkNoYXJ0LlZhbHVlTGlu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HAAAACYgAAAAJBgAAAAkBAAAACYkAAAAFKAAAAJsBQXBsb3Jpcy5CYXNlLk9iamVjdHMuRGF0YU9iamVjdENvbGxlY3Rpb25gMVtbQXBsb3Jpcy5DaGFydC5BeGlzQnJlYWs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IuMC4xOTA4LCBDdWx0dXJlPW5ldXRyYWwsIFB1YmxpY0tleVRva2VuPTE2ZmMxM2EyMjZjMGU5NTFdXQMAAACRAVN5c3RlbS5Db2xsZWN0aW9ucy5HZW5lcmljLkxpc3RgMVtbQXBsb3Jpcy5DaGFydC5BeGlzQnJlYWs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i4wLjE5MDgsIEN1bHR1cmU9bmV1dHJhbCwgUHVibGljS2V5VG9rZW49MTZmYzEzYTIyNmMwZTk1MV1dAwAAAJABU3lzdGVtLkNvbGxlY3Rpb25zLkdlbmVyaWMuTGlzdGAxW1tBcGxvcmlzLkNoYXJ0LlRpY2tNYXJ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UpsbQm0ycEMBkgAAACAAAACH2CBEbTJwQwmTAAAAuAEAAP////8BAQoJlAAAAAEACgEHMAAAAAABAAAABQAAAAQVU3lzdGVtLkRyYXdpbmcuUG9pbnRGBAAAAAGVAAAAIAAAAIiYIURtMnBDAZYAAAAgAAAAUpsbQiNegEMBlwAAACAAAAA8kqpDI16AQwGYAAAAIAAAAIfYIEQjXoBDAZkAAAAgAAAAiJghRG0ydUMHMQAAAAABAAAABQAAAAQXQXBsb3Jpcy5CYXNlLkFuY2hvck1vZGUDAAAABZoAAAAXQXBsb3Jpcy5CYXNlLkFuY2hvck1vZGUBAAAAB3ZhbHVlX18ACAMAAAAEAAAAAZsAAACaAAAABQAAAAGcAAAAmgAAAAMAAAABnQAAAJoAAAAGAAAAAZ4AAACaAAAABQAAAA8yAAAABQAAAAEAAAAAAQUzAAAAFUFwbG9yaXMuQmFzZS5VSS5MYWJlbB0AAAAPbUFuY2hvclBvc2l0aW9uC21BbmNob3JNb2RlD21BZGRJbm5lck1hcmdpbhZtT2Zmc2V0RGlyZWN0aW9uQW5jaG9yF21PZmZzZXRPcnRob2dvbmFsQW5jaG9yC21UZXh0Rm9ybWF0CW1Sb3RhdGlvbgptQmFja0NvbG9yDW1Vc2VCYWNrQ29sb3IObVVzZUJhY2tncm91bmQRbUN1c3Rvb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ABAQEAAEDAwEAAAAABwIAAAMA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i4wLjE5MDgsIEN1bHR1cmU9bmV1dHJhbCwgUHVibGljS2V5VG9rZW49MTZmYzEzYTIyNmMwZTk1MV1dlgFTeXN0ZW0uQ29sbGVjdGlvbnMuR2VuZXJpYy5MaXN0YDFbW0FwbG9yaXMuQmFzZS5PYmplY3RzLlZhcmlhYmxlLCBBcGxvcmlzLkJhc2UsIFZlcnNpb249NC4yLjAuMTkwOCwgQ3VsdHVyZT1uZXV0cmFsLCBQdWJsaWNLZXlUb2tlbj0xNmZjMTNhMjI2YzBlOTUxXV0ICAEBCAEBD1N5c3RlbS5JbnRQdHJbXQEDAAAAAZ8AAAAgAAAAiJghRG0ycEMBoAAAAJoAAAAEAAAAAAAAAAAAAAAACaEAAAAAAAAACaIAAAAAAAAFowAAACpBcGxvcmlzLkJhc2UuVUkuTGFiZWwrTGluZUFsaWdubWVudE9wdGlvbnMBAAAAB3ZhbHVlX18ACAMAAAAAAAAAAaQAAABsAAAAAAAAAAAAAAABpQAAABQAAAAAAAAAAAAAAAAAAAAAAAAAAAAAAAamAAAADUNhdGVnb3J5IGF4aXMKCacAAAAJpgAAAOQCAAD/////AAEKCagAAAABAAoB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BrEAAAABJQ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xAAAA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BPAAAACwAAAAKCbIAAAAJswAAAAkHAAAACQEAAAAJtAAAAAE/AAAALwAAAAG1AAAAIAAAAFKbG0JtMnBDAbYAAAAgAAAAUpsbQoIXh0EJtwAAALgBAAD/////AQEKCbgAAAABAAoBB0AAAAAAAQAAAAUAAAAEFVN5c3RlbS5EcmF3aW5nLlBvaW50RgQAAAABuQAAACAAAABSmxtCQOAxQQG6AAAAIAAAACJOMkFtMnBDAbsAAAAgAAAAIk4yQa+KAEMBvAAAACAAAAAiTjJBgheHQQG9AAAAIAAAACJOMkFA4DFBB0EAAAAAAQAAAAUAAAAEF0FwbG9yaXMuQmFzZS5BbmNob3JNb2RlAwAAAAG+AAAAmgAAAAEAAAABvwAAAJoAAAAIAAAAAcAAAACaAAAAAgAAAAHBAAAAmgAAAAYAAAABwgAAAJoAAAAHAAAAD0IAAAAFAAAAAQAAAAABAUMAAAAzAAAAAcMAAAAgAAAAUpsbQkDgMUEBxAAAAJoAAAABAAAAAAAAAAAAAAAACcUAAAAAAAAACcYAAAAAAAABxwAAAKMAAAAAAAAAAcgAAABsAAAAAAAAAAAAAAAByQAAABQAAAAAAAAAAAAAAAAAAAAAAAAAAAAAAAbKAAAAClZhbHVlIGF4aXMKCcsAAAAJygAAAOQCAAD/////AAEKCcwAAAABAAoBAUQAAAAkAAAACc0AAAAGAAAABgAAAAFFAAAAJQAAAAnOAAAAAgAAAAIAAAAHRgAAAAABAAAAAAAAAAQuQXBsb3Jpcy5DaGFydC5Db2x1bW5PcmllbnRlZENoYXJ0K1VudXNlZFNlcmllcwIAAAAERwAAAJcBU3lzdGVtLkNvbGxlY3Rpb25zLkdlbmVyaWMuTGlzdGAxW1tBcGxvcmlzLkNoYXJ0LkNoYXJ0RGF0YVNlcmllcywgQXBsb3Jpcy5DaGFydCwgVmVyc2lvbj00LjIuMC4xOTA4LCBDdWx0dXJlPW5ldXRyYWwsIFB1YmxpY0tleVRva2VuPTE2ZmMxM2EyMjZjMGU5NTFdXQMAAAAGX2l0ZW1zBV9zaXplCF92ZXJzaW9uBAAAH0FwbG9yaXMuQ2hhcnQuQ2hhcnREYXRhU2VyaWVzW10CAAAACAgJzwAAAAEAAAALAAAAAUgAAAAkAAAACdAAAAABAAAABQAAAAFJAAAAJQAAAAnRAAAAAAAAAAAAAAAESgAAAJwBU3lzdGVtLkNvbGxlY3Rpb25zLkdlbmVyaWMuTGlzdGAxW1tBcGxvcmlzLkNoYXJ0LkFubm90YXRpb25EYXRhU2VyaWVzLCBBcGxvcmlzLkNoYXJ0LCBWZXJzaW9uPTQuMi4wLjE5MDg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yLjAuMTkwOC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IuMC4xOTA4LCBDdWx0dXJlPW5ldXRyYWwsIFB1YmxpY0tleVRva2VuPTE2ZmMxM2EyMjZjMGU5NTFdXQMAAAAGX2l0ZW1zBV9zaXplCF92ZXJzaW9uBAAAHkFwbG9yaXMuQ2hhcnQuQ2hhcnREYXRhR3JvdXBbXQIAAAAICAnVAAAABAAAAAYAAAABUQAAACQAAAAJ1gAAAAQAAAAEAAAAAVIAAAAlAAAACdEAAAAAAAAAAAAAAARTAAAAkAFTeXN0ZW0uQ29sbGVjdGlvbnMuR2VuZXJpYy5MaXN0YDFbW0FwbG9yaXMuQ2hhcnQuRGVsdGFCYXIsIEFwbG9yaXMuQ2hhcnQsIFZlcnNpb249NC4yLjAuMTkwOC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i4wLjE5MDg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IuMC4xOTA4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i4wLjE5MDg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IuMC4xOTA4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///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/////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IuMC4xOTA4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IuMC4xOTA4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i4wLjE5MDgsIEN1bHR1cmU9bmV1dHJhbCwgUHVibGljS2V5VG9rZW49MTZmYzEzYTIyNmMwZTk1MV1dAwAAAAZfaXRlbXMFX3NpemUIX3ZlcnNpb24EAAAYQXBsb3Jpcy5DaGFydC5UaWNrTWFya1tdAgAAAAgICeMAAAAAAAAAAAAAAAGPAAAAJAAAAAnTAAAAAAAAAAAAAAABkAAAACUAAAAJ0QAAAAAAAAAAAAAAAZMAAABqAAAACgoAAABAPwnkAAAACeUAAAABAAAA/v///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KEEJcAAAAAlxAAAACecAAAABAAnoAAAAAaIAAAByAAAACgoBAAAAAAAAAP////8AAQSnAAAAlgFTeXN0ZW0uQ29sbGVjdGlvbnMuR2VuZXJpYy5MaXN0YDFbW0FwbG9yaXMuQmFzZS5PYmplY3RzLlZhcmlhYmxlLCBBcGxvcmlzLkJhc2UsIFZlcnNpb249NC4yLjAuMTkwOC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EAAAAKgAAAAGzAAAAJAAAAAnsAAAABAAAACoAAAABtAAAACUAAAAJ0QAAAAAAAAAAAAAAAbcAAABqAAAACgoAAABAPwntAAAACe4AAAABAAAA/v///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KEEJcAAAAAlxAAAACfAAAAABAAnxAAAAAcYAAAByAAAACgoBAAAAAAAAAP////8AAQHLAAAApwAAAAnpAAAAAAAAAAAAAAABzAAAAG8AAAAJ8gAAAAoHzQAAAAABAAAACAAAAAQfQXBsb3Jpcy5CYXNlLk9iamVjdHMuRGF0YU9iamVjdAMAAAAJOQAAAAk6AAAACTsAAAAJPAAAAAk3AAAACTgAAAAKCgfOAAAAAAEAAAAEAAAABBxBcGxvcmlzLkJhc2UuVUkuVmlzdWFsT2JqZWN0AwAAAAk/AAAACUMAAAAKCgfPAAAAAAEAAAAEAAAABB1BcGxvcmlzLkNoYXJ0LkNoYXJ0RGF0YVNlcmllcwIAAAAJ8wAAAA0DB9AAAAAAAQAAAAQAAAAEH0FwbG9yaXMuQmFzZS5PYmplY3RzLkRhdGFPYmplY3QDAAAACfMAAAANAw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CAAAAAQcQXBsb3Jpcy5DaGFydC5DaGFydERhdGFHcm91cAIAAAAJ9AAAAAn1AAAACfYAAAAJ9wAAAA0EB9YAAAAAAQAAAAQAAAAEH0FwbG9yaXMuQmFzZS5PYmplY3RzLkRhdGFPYmplY3QDAAAACfUAAAAJ9gAAAAn3AAAACfQAAAAH1wAAAAABAAAAAAAAAAQWQXBsb3Jpcy5DaGFydC5EZWx0YUJhcgIAAAAH2AAAAAABAAAAAAAAAAQZQXBsb3Jpcy5DaGFydC5EZWx0YUJyaWRnZQIAAAAH2QAAAAABAAAAAAAAAAQZQXBsb3Jpcy5DaGFydC5Hcm93dGhBcnJvdwIAAAAH2gAAAAABAAAAAAAAAAQgQXBsb3Jpcy5DaGFydC5XYXRlcmZhbGxDb25uZWN0b3ICAAAAB9sAAAAAAQAAAAAAAAAEHkFwbG9yaXMuQ2hhcnQuRWxlbWVudENvbm5lY3RvcgIAAAAB3AAAAHIAAAAKCgAAAAAAAAAADQAAAAABAd0AAAByAAAACgoBAAAAAAAAAP////8AAQHeAAAAcgAAAAoKAQAAAP///wD/////AAEB3wAAAHIAAAAKCgEAAAAAAAAA/////wABD+AAAAABAAAACAAAAAAH4QAAAAABAAAAAAAAAAQXQXBsb3Jpcy5DaGFydC5WYWx1ZUxpbmUCAAAAB+IAAAAAAQAAAAAAAAAEF0FwbG9yaXMuQ2hhcnQuQXhpc0JyZWFrAgAAAAfjAAAAAAEAAAAAAAAABBZBcGxvcmlzLkNoYXJ0LlRpY2tNYXJrAgAAAAXkAAAAGkFwbG9yaXMuQmFzZS5PYmplY3RzLkNvbG9yBwAAABJEYXRhT2JqZWN0K21QYXJlbnQVRGF0YU9iamVjdCttQ29udGFpbmVyBW1UeXBlBG1SR0IQbVRoZW1lQ29sb3JJbmRleAxtQXV0b1VwZGF0ZWQJbU1vZGlmaWVkBAIAAAAAAB9BcGxvcmlzLkJhc2UuT2JqZWN0cy5MaW5lRm9ybWF0AwAAAAgICAEBAwAAAAmTAAAACgAAAAAAAAAADQAAAAAABeUAAAAaQXBsb3Jpcy5CYXNlLk9iamVjdHMuQ29sb3IHAAAAEkRhdGFPYmplY3QrbVBhcmVudBVEYXRhT2JqZWN0K21Db250YWluZXIFbVR5cGUEbVJHQhBtVGhlbWVDb2xvckluZGV4DG1BdXRvVXBkYXRlZAltTW9kaWZpZWQEAgAAAAAAH0FwbG9yaXMuQmFzZS5PYmplY3RzLkxpbmVGb3JtYXQDAAAACAgIAQEDAAAACZMAAAAKAQAAAAAAAAD/////AAEP5gAAAAEAAAAIIwAAAAHnAAAAcgAAAAoKAAAAAAAAAAANAAAAAAEB6AAAAHIAAAAKCgEAAAAAAAAA/////wABB+kAAAAAAQAAAAAAAAAEHUFwbG9yaXMuQmFzZS5PYmplY3RzLlZhcmlhYmxlAwAAAA/qAAAAAQAAAAgAAAAAB+sAAAAAAQAAABAAAAAEFkFwbG9yaXMuQ2hhcnQuVGlja01hcmsCAAAACfgAAAAJ+QAAAAn6AAAACfsAAAANDAfsAAAAAAEAAAAQAAAABB9BcGxvcmlzLkJhc2UuT2JqZWN0cy5EYXRhT2JqZWN0AwAAAAn4AAAACfkAAAAJ+gAAAAn7AAAADQwF7QAAABpBcGxvcmlzLkJhc2UuT2JqZWN0cy5Db2xvcgcAAAASRGF0YU9iamVjdCttUGFyZW50FURhdGFPYmplY3QrbUNvbnRhaW5lcgVtVHlwZQRtUkdCEG1UaGVtZUNvbG9ySW5kZXgMbUF1dG9VcGRhdGVkCW1Nb2RpZmllZAQCAAAAAAAfQXBsb3Jpcy5CYXNlLk9iamVjdHMuTGluZUZvcm1hdAMAAAAICAgBAQMAAAAJtwAAAAoAAAAAAAAAAA0AAAAAAAXuAAAAGkFwbG9yaXMuQmFzZS5PYmplY3RzLkNvbG9yBwAAABJEYXRhT2JqZWN0K21QYXJlbnQVRGF0YU9iamVjdCttQ29udGFpbmVyBW1UeXBlBG1SR0IQbVRoZW1lQ29sb3JJbmRleAxtQXV0b1VwZGF0ZWQJbU1vZGlmaWVkBAIAAAAAAB9BcGxvcmlzLkJhc2UuT2JqZWN0cy5MaW5lRm9ybWF0AwAAAAgICAEBAwAAAAm3AAAACgEAAAAAAAAA/////wABD+8AAAABAAAACCQAAAAB8AAAAHIAAAAKCgAAAAAAAAAADQAAAAABAfEAAAByAAAACgoBAAAAAAAAAP////8AAQ/yAAAAAQAAAAg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yLjAuMTkwOC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H8AAAAEwAAAAAAAAACAAAA/////wkHAAAACf0AAAAG/gAAAAhTZXJpZXMgMQoKAAAAAAAAAAAAAAAACgoACf8AAAAJAAEAAAkBAQAAAAAAAAAAAAAAAAAAAAAAAAAACQIBAAAJAQAAAAkBAAAACQMBAAAF9A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YEAQAAFExvdyBUZWNobm9sb2d5IFVzZXJzAAUFAQAAHkFwbG9yaXMuQ2hhcnQuQ2hhcnRHcm91cEFuY2hvcgEAAAAHdmFsdWVfXwAIAgAAAAAAAAAKAAAAAAEAAAABAAAACQYBAAAJBwEAAAkIAQAACgkHAAAACQkBAAAJAQAAAAkBAAAACQoBAAAB9QAAAPQAAAAJAQAAAAYLAQAADENoZWNrIEVuZ2luZQABDAEAAAUBAAAAAAAACgAAAAABAAAAAQAAAAkNAQAACQ4BAAAJDwEAAAoJBwAAAAkQAQAACQEAAAAJAQAAAAkRAQAAAfYAAAD0AAAACQEAAAAGEgEAAAlSZWZ1ZWxpbmcAARMBAAAFAQAAAAAAAAoAAAAAAQAAAAEAAAAJFAEAAAkVAQAACRYBAAAKCQcAAAAJFwEAAAkBAAAACQEAAAAJGAEAAAH3AAAA9AAAAAkBAAAABhkBAAATRXF1aXBwZWQgTmF2aWdhdG9ycwABGgEAAAUBAAAAAAAACgAAAAABAAAAAQAAAAkbAQAACRwBAAAJHQEAAAoJBwAAAAkeAQAACQEAAAAJAQAAAAkfAQAABfgA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gAQAACgkhAQAACQcAAAABAAAAAAAAAAABIgEAACAAAABSmxtCbTJwQwEjAQAAIAAAAFKbC0JtMnBDAAkkAQAACQcAAAAJAQAAAAklAQAAAfkAAAD4AAAACSYBAAAKCScBAAAJBwAAAAGamZmZmZnJPwEoAQAAIAAAAFKbG0KZwiVDASkBAAAgAAAAUpsLQpnCJUMACSoBAAAJBwAAAAkBAAAACSsBAAAB+gAAAPgAAAAJLAEAAAoJLQEAAAkHAAAAAZqZmZmZmdk/AS4BAAAgAAAAUpsbQomltkIBLwEAACAAAABSmwtCiaW2QgAJMAEAAAkHAAAACQEAAAAJMQEAAAH7AAAA+AAAAAkyAQAACgkzAQAACQcAAAABMzMzMzMz4z8BNAEAACAAAABSmxtCgheHQQE1AQAAIAAAAFKbC0KCF4dBAAk2AQAACQcAAAAJAQAAAAk3AQAABf0AAACiAUFwbG9yaXMuQmFzZS5PYmplY3RzLkRhdGFPYmplY3RDb2xsZWN0aW9uYDFbW0FwbG9yaXMuQ2hhcnQuQ2hhcnREYXRh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IuMC4xOTA4LCBDdWx0dXJlPW5ldXRyYWwsIFB1YmxpY0tleVRva2VuPTE2ZmMxM2EyMjZjMGU5NTFdXQMAAACYAVN5c3RlbS5Db2xsZWN0aW9ucy5HZW5lcmljLkxpc3RgMVtbQXBsb3Jpcy5DaGFydC5DaGFydERhdGFFbGVtZW50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TgBAAAJOQEAAAnzAAAACQEAAAAJOgEAAAX/AAAAHEFwbG9yaXMuQ2hhcnQuQ29ubmVjdGVkTGFiZWwl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gAAAApYAgAABTsBAAArQXBsb3Jpcy5DaGFydC5Db25uZWN0ZWRMYWJlbCtlQ29ubmVjdG9yTW9kZQEAAAAHdmFsdWVfXwAIAgAAAAEAAAAFPAEAADZBcGxvcmlzLkNoYXJ0LkNvbm5lY3RlZExhYmVsK2VBbmdsZWRDb25uZWN0b3JEaXJlY3Rpb24BAAAAB3ZhbHVlX18ACAIAAAAAAAAAAT0BAAAUAAAAReYCRMhOhkKA5rBCCQsqQwU+AQAALUFwbG9yaXMuQ2hhcnQuQ29ubmVjdGVkTGFiZWwrZVRhcmdldEFyZWFTaGFwZQEAAAAHdmFsdWVfXwAIAgAAAAAAAAAAABBBAQE/AQAAIAAAABUDG0ToLBhDAUABAACaAAAABAAAAAAAAAAAAAAAAAlBAQAAAAAAAAlCAQAAAAAAAUMBAACjAAAAAAAAAAFEAQAAbAAAAAAAZEIAAIhBAUUBAAAUAAAAAAAAAAAAAAAAAAAAAAAAAF662T8J/gAAAAoJRgEAAAZHAQAAACADAAD/////AAEKCUgBAAABAAoBBwABAAAAAQAAAAIAAAAEFVN5c3RlbS5EcmF3aW5nLlBvaW50RgQAAAABSQEAACAAAAAVAxtE6CwYQwFKAQAAIAAAAFKbB0KuMyVDBwEBAAAAAQAAAAIAAAAEF0FwbG9yaXMuQmFzZS5BbmNob3JNb2RlAwAAAAFLAQAAmgAAAAQAAAABTAEAAJoAAAACAAAAAQIBAAAkAAAACU0BAAABAAAAAQAAAAEDAQAAJQAAAAlOAQAAAQAAAAEAAAAPBgEAAAEAAAAIAAAAAAcHAQAAAAEAAAABAAAABBVBcGxvcmlzLkJhc2UuVUkuTGFiZWwDAAAACU8BAAABCAEAADMAAAABUAEAACAAAAB77ORCbTJ1QwFRAQAAmgAAAAMAAAAAAAAAAAAAAAAJUgEAAAAAAAAJUwEAAAAAAAFUAQAAowAAAAAAAAABVQEAAGwAAAAAAApDAABwQQFWAQAAFAAAAE7sbEKd2HND3ULaQomdOEESg74/CQQBAAAKCVcBAAAJRwEAACADAAD/////AQEKCVgBAAABAAoBAQkBAAAkAAAACdMAAAAAAAAAAAAAAAEKAQAAJQAAAAlZAQAAAgAAAAIAAAAPDQEAAAEAAAAIAAAAAAcOAQAAAAEAAAABAAAABBVBcGxvcmlzLkJhc2UuVUkuTGFiZWwDAAAACVoBAAABDwEAADMAAAABWwEAACAAAACIyoRDbTJ1QwFcAQAAmgAAAAMAAAAAAAAAAAAAAAAJXQEAAAAAAAAJXgEAAAAAAAFfAQAAowAAAAAAAAABYAEAAGwAAAAAAKhCAABwQQFhAQAAFAAAAOvEZkOd2HNDLC+HQomdOEESg74/CQsBAAAKCWIBAAAJRwEAACADAAD/////AQEKCWMBAAABAAoBARABAAAkAAAACdMAAAAAAAAAAAAAAAERAQAAJQAAAAlkAQAAAgAAAAIAAAAPFAEAAAEAAAAIAAAAAAcVAQAAAAEAAAABAAAABBVBcGxvcmlzLkJhc2UuVUkuTGFiZWwDAAAACWUBAAABFgEAADMAAAABZgEAACAAAADxWdBDbTJ1QwFnAQAAmgAAAAMAAAAAAAAAAAAAAAAJaAEAAAAAAAAJaQEAAAAAAAFqAQAAowAAAAAAAAABawEAAGwAAAAAAGRCAABwQQFsAQAAFAAAAGInxEOd2HNDpko7QomdOEESg74/CRIBAAAKCW0BAAAJRwEAACADAAD/////AQEKCW4BAAABAAoBARcBAAAkAAAACdMAAAAAAAAAAAAAAAEYAQAAJQAAAAlvAQAAAgAAAAIAAAAPGwEAAAEAAAAIAAAAAAccAQAAAAEAAAABAAAABBVBcGxvcmlzLkJhc2UuVUkuTGFiZWwDAAAACXABAAABHQEAADMAAAABcQEAACAAAACt9A1EbTJ1QwFyAQAAmgAAAAMAAAAAAAAAAAAAAAAJcwEAAAAAAAAJdAEAAAAAAAF1AQAAowAAAAAAAAABdgEAAGwAAAAAAPxCAABwQQF3AQAAFAAAABM7AUSd2HNDtszHQomdOEESg74/CRkBAAAKCXgBAAAJRwEAACADAAD/////AQEKCXkBAAABAAoBAR4BAAAkAAAACdMAAAAAAAAAAAAAAAEfAQAAJQAAAAl6AQAAAgAAAAIAAAABIAEAAC8AAAABewEAACAAAABSmxtCbTJwQwF8AQAAIAAAAFKbC0JtMnBDCX0BAADMAQAA/////wEBCgl+AQAAAQAKAQEhAQAAMwAAAAF/AQAAIAAAAFKbBUJtMnBDAYABAACaAAAAAgAAAAAAAAAAAAAAAAmBAQAAAAAAAAmCAQAAAAAAAYMBAACjAAAAAAAAAAGEAQAAbAAAAAAAmEEAAHBBAYUBAAAUAAAAEzuBQbATaUOxvIxBiZ04QRKDvj8GhgEAAAIwJQoJhwEAAAlHAQAA0AIAAP////8BAQoJiAEAAAEACgEBJAEAACQAAAAJ0wAAAAAAAAAAAAAAASUBAAAlAAAACYkBAAACAAAAAgAAAAEmAQAALwAAAAGKAQAAIAAAAFKbG0KZwiVDAYsBAAAgAAAAUpsLQpnCJUMJjAEAAMwBAAD/////AQEKCY0BAAABAAoBAScBAAAzAAAAAY4BAAAgAAAAUpsFQpnCJUMBjwEAAJoAAAACAAAAAAAAAAAAAAAACZABAAAAAAAACZEBAAAAAAABkgEAAKMAAAAAAAAAAZMBAABsAAAAAADYQQAAcEEBlAEAABQAAAD//x9BEzsfQ8T3vUGJnThBEoO+PwaVAQAAAzIwJQoJlgEAAAlHAQAA0AIAAP////8BAQoJlwEAAAEACgEBKgEAACQAAAAJ0wAAAAAAAAAAAAAAASsBAAAlAAAACZgBAAACAAAAAgAAAAEsAQAALwAAAAGZAQAAIAAAAFKbG0KJpbZCAZoBAAAgAAAAUpsLQomltkIJmwEAAMwBAAD/////AQEKCZwBAAABAAoBAS0BAAAzAAAAAZ0BAAAgAAAAUpsFQomltkIBngEAAJoAAAACAAAAAAAAAAAAAAAACZ8BAAAAAAAACaABAAAAAAABoQEAAKMAAAAAAAAAAaIBAABsAAAAAADYQQAAcEEBowEAABQAAAD//x9BEzupQsT3vUGJnThBEoO+PwakAQAAAzQwJQoJpQEAAAlHAQAA0AIAAP////8BAQoJpgEAAAEACgEBMAEAACQAAAAJ0wAAAAAAAAAAAAAAATEBAAAlAAAACacBAAACAAAAAgAAAAEyAQAALwAAAAGoAQAAIAAAAFKbG0KCF4dBAakBAAAgAAAAUpsLQoIXh0EJqgEAAMwBAAD/////AQEKCasBAAABAAoBATMBAAAzAAAAAawBAAAgAAAAUpsFQoIXh0EBrQEAAJoAAAACAAAAAAAAAAAAAAAACa4BAAAAAAAACa8BAAAAAAABsAEAAKMAAAAAAAAAAbEBAABsAAAAAADYQQAAcEEBsgEAABQAAAD//x9B//8fQcT3vUGJnThBEoO+PwazAQAAAzYwJQoJtAEAAAlHAQAA0AIAAP////8BAQoJtQEAAAEACgEBNgEAACQAAAAJ0wAAAAAAAAAAAAAAATcBAAAlAAAACbYBAAACAAAAAgAAAAQ4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bcBAAAEAAAABgAAAAE5AQAAJAAAAAm4AQAABAAAAAQAAAABOgEAACUAAAAJ0QAAAAAAAAAAAAAABUE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zAAAACgAAAAAAKEEJcAAAAAlxAAAACbkBAAABAAm6AQAAAUIBAAByAAAACgoAAAAA////AA4AAAAAAQFGAQAApwAAAAm7AQAAAQAAAAEAAAABSAEAAG8AAAAJvAEAAAoHTQEAAAABAAAABAAAAAQfQXBsb3Jpcy5CYXNlLk9iamVjdHMuRGF0YU9iamVjdAMAAAAJ/QAAAA0DB04BAAAAAQAAAAQAAAAEHEFwbG9yaXMuQmFzZS5VSS5WaXN1YWxPYmplY3QDAAAACf8AAAANAwFPAQAAMwAAAAG9AQAAIAAAAHvs5ELcaa5CAb4BAACaAAAAAQAAAAAAAAAAAAAAAAm/AQAAAAAAAAnAAQAAAAAAAcEBAACjAAAAAAAAAAHCAQAAbAAAAAAA8EEAAIhBAcMBAAAUAAAAAAAAAAAAAAAAAAAAAAAAAF662T8GxAEAAAM0MCUKCcUBAAAJRwEAADQDAAD/////AAEKCcYBAAABAAoBAVIBAAAiAAAACgoAAAAAAChBCXAAAAAJcQAAAAnHAQAAAAAJyAEAAAFTAQAAcgAAAAoKAAAAAP///wAOAAAAAAEBVwEAAKcAAAAJyQEAAAEAAAABAAAAAVgBAABvAAAACcoBAAAKB1kBAAAAAQAAAAQAAAAEHEFwbG9yaXMuQmFzZS5VSS5WaXN1YWxPYmplY3QDAAAACQgBAAAJTwEAAAoKAVoBAAAzAAAAAcsBAAAgAAAAiMqEQwSe9kIBzAEAAJoAAAABAAAAAAAAAAAAAAAACc0BAAAAAAAACc4BAAAAAAABzwEAAKMAAAAAAAAAAdABAABsAAAAAADwQQAAiEEB0QEAABQAAAAAAAAAAAAAAAAAAAAAAAAAXrrZPwbSAQAAAzMxJQoJ0wEAAAlHAQAANAMAAP////8AAQoJ1AEAAAEACgEBXQEAACIAAAAKCgAAAAAAKEEJcAAAAAlxAAAACdUBAAAAAAnWAQAAAV4BAAByAAAACgoAAAAA////AA4AAAAAAQFiAQAApwAAAAnXAQAAAQAAAAEAAAABYwEAAG8AAAAJ2AEAAAoHZAEAAAABAAAABAAAAAQcQXBsb3Jpcy5CYXNlLlVJLlZpc3VhbE9iamVjdAMAAAAJDwEAAAlaAQAACgoBZQEAADMAAAAB2QEAACAAAADxWdBDJrwiQgHaAQAAmgAAAAEAAAAAAAAAAAAAAAAJ2wEAAAAAAAAJ3AEAAAAAAAHdAQAAowAAAAAAAAAB3gEAAGwAAAAAAPBBAACIQQHfAQAAFAAAAAAAAAAAAAAAAAAAAAAAAABeutk/BuABAAADNTMlCgnhAQAACUcBAAA0AwAA/////wABCgniAQAAAQAKAQFoAQAAIgAAAAoKAAAAAAAoQQlwAAAACXEAAAAJ4wEAAAAACeQBAAABaQEAAHIAAAAKCgAAAAD///8ADgAAAAABAW0BAACnAAAACeUBAAABAAAAAQAAAAFuAQAAbwAAAAnmAQAACgdvAQAAAAEAAAAEAAAABBxBcGxvcmlzLkJhc2UuVUkuVmlzdWFsT2JqZWN0AwAAAAkWAQAACWUBAAAKCgFwAQAAMwAAAAHnAQAAIAAAAK30DUSQnXRCAegBAACaAAAAAQAAAAAAAAAAAAAAAAnpAQAAAAAAAAnqAQAAAAAAAesBAACjAAAAAAAAAAHsAQAAbAAAAAAA8EEAAIhBAe0BAAAUAAAAAAAAAAAAAAAAAAAAAAAAAF662T8G7gEAAAM0NyUKCe8BAAAJRwEAADQDAAD/////AAEKCfABAAABAAoBAXMBAAAiAAAACgoAAAAAAChBCXAAAAAJcQAAAAnxAQAAAAAJ8gEAAAF0AQAAcgAAAAoKAAAAAP///wAOAAAAAAEBeAEAAKcAAAAJ8wEAAAEAAAABAAAAAXkBAABvAAAACfQBAAAKB3oBAAAAAQAAAAQAAAAEHEFwbG9yaXMuQmFzZS5VSS5WaXN1YWxPYmplY3QDAAAACR0BAAAJcAEAAAoKAX0BAABqAAAACgoAAABAPwn1AQAACfYBAAABAAAA/v///wAAAAABAAAAAAAAAAAAAAABAAAAAAAAAAAAAAF+AQAAbwAAAAn3AQAACgGBAQAAIgAAAAoKAAAAAAAoQQlwAAAACXEAAAAJ+AEAAAAACfkBAAABggEAAHIAAAAKCgAAAAD///8ADgAAAAABAYcBAACnAAAACfoBAAABAAAAAQAAAAGIAQAAbwAAAAn7AQAACgeJAQAAAAEAAAAEAAAABBxBcGxvcmlzLkJhc2UuVUkuVmlzdWFsT2JqZWN0AwAAAAkgAQAACSEBAAAKCgGMAQAAagAAAAoKAAAAQD8J/AEAAAn9AQAAAQAAAP7///8AAAAAAQAAAAAAAAAAAAAAAQAAAAAAAAAAAAABjQEAAG8AAAAJ/gEAAAoBkAEAACIAAAAKCgAAAAAAKEEJcAAAAAlxAAAACf8BAAAAAAkAAgAAAZEBAAByAAAACgoAAAAA////AA4AAAAAAQGWAQAApwAAAAkBAgAAAQAAAAMAAAABlwEAAG8AAAAJAgIAAAoHmAEAAAABAAAABAAAAAQcQXBsb3Jpcy5CYXNlLlVJLlZpc3VhbE9iamVjdAMAAAAJJgEAAAknAQAACgoBmwEAAGoAAAAKCgAAAEA/CQMCAAAJBAIAAAEAAAD+////AAAAAAEAAAAAAAAAAAAAAAEAAAAAAAAAAAAAAZwBAABvAAAACQUCAAAKAZ8BAAAiAAAACgoAAAAAAChBCXAAAAAJcQAAAAkGAgAAAAAJBwIAAAGgAQAAcgAAAAoKAAAAAP///wAOAAAAAAEBpQEAAKcAAAAJCAIAAAEAAAADAAAAAaYBAABvAAAACQkCAAAKB6cBAAAAAQAAAAQAAAAEHEFwbG9yaXMuQmFzZS5VSS5WaXN1YWxPYmplY3QDAAAACSwBAAAJLQEAAAoKAaoBAABqAAAACgoAAABAPwkKAgAACQsCAAABAAAA/v///wAAAAABAAAAAAAAAAAAAAABAAAAAAAAAAAAAAGrAQAAbwAAAAkMAgAACgGuAQAAIgAAAAoKAAAAAAAoQQlwAAAACXEAAAAJDQIAAAAACQ4CAAABrwEAAHIAAAAKCgAAAAD///8ADgAAAAABAbQBAACnAAAACQ8CAAABAAAAAwAAAAG1AQAAbwAAAAkQAgAACge2AQAAAAEAAAAEAAAABBxBcGxvcmlzLkJhc2UuVUkuVmlzdWFsT2JqZWN0AwAAAAkyAQAACTMBAAAKCge3AQAAAAEAAAAIAAAABB5BcGxvcmlzLkNoYXJ0LkNoYXJ0RGF0YUVsZW1lbnQCAAAACRECAAAJEgIAAAkTAgAACRQCAAANBAe4AQAAAAEAAAAEAAAABB9BcGxvcmlzLkJhc2UuT2JqZWN0cy5EYXRhT2JqZWN0AwAAAAkSAgAACRMCAAAJFAIAAAkRAgAAAbkBAAByAAAACgoAAAAAAAAAAA0AAAAAAQG6AQAAcgAAAAoKAQAAAAAAAAD/////AAEHuwEAAAABAAAABAAAAAQdQXBsb3Jpcy5CYXNlLk9iamVjdHMuVmFyaWFibGUDAAAABRUCAAAdQXBsb3Jpcy5CYXNlLk9iamVjdHMuVmFyaWFibGUCAAAABk51bWJlcghQb3NpdGlvbgAACAgDAAAAAQAAAAAAAAABFgIAABUCAAAAAAAAAAAAAAEXAgAAFQIAAAAAAAAAAAAAARgCAAAVAgAAAAAAAAAAAAAPvAEAAAEAAAAIAAAAAAW/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0AAAACgAAAAAAKEEJcAAAAAlxAAAACRkCAAABAAkaAgAAAcABAAByAAAACgoAAAAA////AA4AAAAAAQHFAQAApwAAAAkbAgAAAQAAAAMAAAABxgEAAG8AAAAJHAIAAAoBxwEAAHIAAAAKCgAAAAAAAAAADQAAAAAAAcgBAAByAAAACgoAAAAAAAAAAA0AAAAAAQfJAQAAAAEAAAAEAAAABB1BcGxvcmlzLkJhc2UuT2JqZWN0cy5WYXJpYWJsZQMAAAABHQIAABUCAAABAAAAAAAAAAEeAgAAFQIAAAAAAAAAAAAAAR8CAAAVAgAAAAAAAAAAAAABIAIAABUCAAAAAAAAAAAAAA/KAQAAAQAAAAgSAAAABc0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UAAAAKAAAAAAAoQQlwAAAACXEAAAAJIQIAAAEACSICAAABzgEAAHIAAAAKCgAAAAD///8ADgAAAAABAdMBAACnAAAACSMCAAABAAAAAQAAAAHUAQAAbwAAAAkkAgAACgHVAQAAcgAAAAoKAAAAAAAAAAANAAAAAAAB1gEAAHIAAAAKCgAAAAAAAAAADQAAAAABB9cBAAAAAQAAAAQAAAAEHUFwbG9yaXMuQmFzZS5PYmplY3RzLlZhcmlhYmxlAwAAAAElAgAAFQIAAAEAAAAAAAAAASYCAAAVAgAAAAAAAAAAAAABJwIAABUCAAAAAAAAAAAAAAEoAgAAFQIAAAAAAAAAAAAAD9gBAAABAAAACBEAAAAF2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gAAAAoAAAAAAChBCXAAAAAJcQAAAAkpAgAAAQAJKgIAAAHcAQAAcgAAAAoKAAAAAP///wAOAAAAAAEB4QEAAKcAAAAJKwIAAAEAAAADAAAAAeIBAABvAAAACSwCAAAKAeMBAAByAAAACgoAAAAAAAAAAA0AAAAAAAHkAQAAcgAAAAoKAAAAAAAAAAANAAAAAAEH5QEAAAABAAAABAAAAAQdQXBsb3Jpcy5CYXNlLk9iamVjdHMuVmFyaWFibGUDAAAAAS0CAAAVAgAAAQAAAAAAAAABLgIAABUCAAAAAAAAAAAAAAEvAgAAFQIAAAAAAAAAAAAAATACAAAVAgAAAAAAAAAAAAAP5gEAAAEAAAAIEAAAAAXp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3AAAACgAAAAAAKEEJcAAAAAlxAAAACTECAAABAAkyAgAAAeoBAAByAAAACgoAAAAA////AA4AAAAAAQHvAQAApwAAAAkzAgAAAQAAAAMAAAAB8AEAAG8AAAAJNAIAAAoB8QEAAHIAAAAKCgAAAAAAAAAADQAAAAAAAfIBAAByAAAACgoAAAAAAAAAAA0AAAAAAQfzAQAAAAEAAAAEAAAABB1BcGxvcmlzLkJhc2UuT2JqZWN0cy5WYXJpYWJsZQMAAAABNQIAABUCAAABAAAAAAAAAAE2AgAAFQIAAAAAAAAAAAAAATcCAAAVAgAAAAAAAAAAAAABOAIAABUCAAAAAAAAAAAAAA/0AQAAAQAAAAgPAAAAAfUBAAByAAAACgoAAAAAAAAAAA0AAAAAAAX2AQAAGkFwbG9yaXMuQmFzZS5PYmplY3RzLkNvbG9yBwAAABJEYXRhT2JqZWN0K21QYXJlbnQVRGF0YU9iamVjdCttQ29udGFpbmVyBW1UeXBlBG1SR0IQbVRoZW1lQ29sb3JJbmRleAxtQXV0b1VwZGF0ZWQJbU1vZGlmaWVkBAIAAAAAAB9BcGxvcmlzLkJhc2UuT2JqZWN0cy5MaW5lRm9ybWF0AwAAAAgICAEBAwAAAAl9AQAACgEAAAAAAAAA/////wABD/cBAAABAAAACCcAAAAB+AEAAHIAAAAKCgAAAAAAAAAADQAAAAAAAfkBAAByAAAACgoAAAAAAAAAAA0AAAAAAQf6AQAAAAEAAAAEAAAABB1BcGxvcmlzLkJhc2UuT2JqZWN0cy5WYXJpYWJsZQMAAAABOQIAABUCAAABAAAAAAAAAAE6AgAAFQIAAAAAAAAAAAAAATsCAAAVAgAAAAAAAAAAAAABPAIAABUCAAAAAAAAAAAAAA/7AQAAAQAAAAgLAAAAAfwBAAByAAAACgoAAAAAAAAAAA0AAAAAAAX9AQAAGkFwbG9yaXMuQmFzZS5PYmplY3RzLkNvbG9yBwAAABJEYXRhT2JqZWN0K21QYXJlbnQVRGF0YU9iamVjdCttQ29udGFpbmVyBW1UeXBlBG1SR0IQbVRoZW1lQ29sb3JJbmRleAxtQXV0b1VwZGF0ZWQJbU1vZGlmaWVkBAIAAAAAAB9BcGxvcmlzLkJhc2UuT2JqZWN0cy5MaW5lRm9ybWF0AwAAAAgICAEBAwAAAAmMAQAACgEAAAAAAAAA/////wABD/4BAAABAAAACCYAAAAB/wEAAHIAAAAKCgAAAAAAAAAADQAAAAAAAQACAAByAAAACgoAAAAAAAAAAA0AAAAAAQcBAgAAAAEAAAAEAAAABB1BcGxvcmlzLkJhc2UuT2JqZWN0cy5WYXJpYWJsZQMAAAABPQIAABUCAAABAAAAAAAAAAE+AgAAFQIAAAAAAAAAAAAAAT8CAAAVAgAAAAAAAAAAAAABQAIAABUCAAAAAAAAAAAAAA8CAgAAAQAAAAgOAAAAAQMCAAByAAAACgoAAAAAAAAAAA0AAAAAAAUEAgAAGkFwbG9yaXMuQmFzZS5PYmplY3RzLkNvbG9yBwAAABJEYXRhT2JqZWN0K21QYXJlbnQVRGF0YU9iamVjdCttQ29udGFpbmVyBW1UeXBlBG1SR0IQbVRoZW1lQ29sb3JJbmRleAxtQXV0b1VwZGF0ZWQJbU1vZGlmaWVkBAIAAAAAAB9BcGxvcmlzLkJhc2UuT2JqZWN0cy5MaW5lRm9ybWF0AwAAAAgICAEBAwAAAAmbAQAACgEAAAAAAAAA/////wABDwUCAAABAAAACCUAAAABBgIAAHIAAAAKCgAAAAAAAAAADQAAAAAAAQcCAAByAAAACgoAAAAAAAAAAA0AAAAAAQcIAgAAAAEAAAAEAAAABB1BcGxvcmlzLkJhc2UuT2JqZWN0cy5WYXJpYWJsZQMAAAABQQIAABUCAAABAAAAAAAAAAFCAgAAFQIAAAAAAAAAAAAAAUMCAAAVAgAAAAAAAAAAAAABRAIAABUCAAAAAAAAAAAAAA8JAgAAAQAAAAgNAAAAAQoCAAByAAAACgoAAAAAAAAAAA0AAAAAAAULAgAAGkFwbG9yaXMuQmFzZS5PYmplY3RzLkNvbG9yBwAAABJEYXRhT2JqZWN0K21QYXJlbnQVRGF0YU9iamVjdCttQ29udGFpbmVyBW1UeXBlBG1SR0IQbVRoZW1lQ29sb3JJbmRleAxtQXV0b1VwZGF0ZWQJbU1vZGlmaWVkBAIAAAAAAB9BcGxvcmlzLkJhc2UuT2JqZWN0cy5MaW5lRm9ybWF0AwAAAAgICAEBAwAAAAmqAQAACgEAAAAAAAAA/////wABDwwCAAABAAAACCgAAAABDQIAAHIAAAAKCgAAAAAAAAAADQAAAAAAAQ4CAAByAAAACgoAAAAAAAAAAA0AAAAAAQcPAgAAAAEAAAAEAAAABB1BcGxvcmlzLkJhc2UuT2JqZWN0cy5WYXJpYWJsZQMAAAABRQIAABUCAAABAAAAAAAAAAFGAgAAFQIAAAAAAAAAAAAAAUcCAAAVAgAAAAAAAAAAAAABSAIAABUCAAAAAAAAAAAAAA8QAgAAAQAAAAgMAAAABREC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SQIAAAlKAgAACglLAgAACgnzAAAACAaYbhKDwMrZPwoAAAAACUwCAAAJTQIAAAAAAAAACU4CAAAJ8wAAAAkBAAAACU8CAAABEgIAABECAAAJUAIAAAlRAgAACglSAgAACgnzAAAACAYv3SQGgZXTPwoBAAAACVMCAAAJVAIAAAAAAAAACVUCAAAJ8wAAAAkBAAAACVYCAAABEwIAABECAAAJVwIAAAlYAgAACglZAgAACgnzAAAACAZMN4lBYOXgPwoCAAAACVoCAAAJWwIAAAAAAAAACVwCAAAJ8wAAAAkBAAAACV0CAAABFAIAABECAAAJXgIAAAlfAgAACglgAgAACgnzAAAACAYSg8DKoUXePwoDAAAACWECAAAJYgIAAAAAAAAACWMCAAAJ8wAAAAkBAAAACWQCAAABGQIAAHIAAAAKCgAAAAAAAAAADQAAAAABARoCAAByAAAACgoBAAAAAAAAAP////8AAQcbAgAAAAEAAAAEAAAABB1BcGxvcmlzLkJhc2UuT2JqZWN0cy5WYXJpYWJsZQMAAAABZQIAABUCAAABAAAAAAAAAAFmAgAAFQIAAAAAAAAAAAAAAWcCAAAVAgAAAAAAAAAAAAABaAIAABUCAAAAAAAAAAAAAA8cAgAAAQAAAAgAAAAAASECAAByAAAACgoAAAAAAAAAAA0AAAAAAQEiAgAAcgAAAAoKAQAAAAAAAAD/////AAEHIwIAAAABAAAABAAAAAQdQXBsb3Jpcy5CYXNlLk9iamVjdHMuVmFyaWFibGUDAAAAAWkCAAAVAgAAAQAAAAAAAAABagIAABUCAAAAAAAAAAAAAAFrAgAAFQIAAAAAAAAAAAAAAWwCAAAVAgAAAAAAAAAAAAAPJAIAAAEAAAAIAAAAAAEpAgAAcgAAAAoKAAAAAAAAAAANAAAAAAEBKgIAAHIAAAAKCgEAAAAAAAAA/////wABBysCAAAAAQAAAAQAAAAEHUFwbG9yaXMuQmFzZS5PYmplY3RzLlZhcmlhYmxlAwAAAAFtAgAAFQIAAAEAAAAAAAAAAW4CAAAVAgAAAAAAAAAAAAABbwIAABUCAAAAAAAAAAAAAAFwAgAAFQIAAAAAAAAAAAAADywCAAABAAAACAAAAAABMQIAAHIAAAAKCgAAAAAAAAAADQAAAAABATICAAByAAAACgoBAAAAAAAAAP////8AAQczAgAAAAEAAAAEAAAABB1BcGxvcmlzLkJhc2UuT2JqZWN0cy5WYXJpYWJsZQMAAAABcQIAABUCAAABAAAAAAAAAAFyAgAAFQIAAAAAAAAAAAAAAXMCAAAVAgAAAAAAAAAAAAABdAIAABUCAAAAAAAAAAAAAA80AgAAAQAAAAgAAAAAAUkCAAD/AAAAClgCAAABdQIAADsBAAACAAAAAXYCAAA8AQAAAQAAAAF3AgAAFAAAADh5jELcabpChuawQn/9D0MBeAIAAD4BAAAAAAAAAACgQAABeQIAACAAAAB77ORCrjMlQwF6AgAAmgAAAAAAAAAAAAAAAAAAAAAJewIAAAAAAAAJfAIAAAAAAAF9AgAAowAAAAAAAAABfgIAAGwAAAAAANhBAABwQQF/AgAAFAAAALATy0Indh5DxPe9QYmdOEESg74/BoACAAADNDAlCgmBAgAACUcBAAA0AwAA/////wEBCgmCAgAAAQAKAQFKAgAAGwAAAAGDAgAAIAAAADh5hkJtMnBDAYQCAAAgAAAA368hQ9xptEIJhQIAAAmGAgAAAAAAAAoBhwIAAGwAAAAAAAAAAAAAAAGIAgAAbAAAAAAAAAAAAAAAAAAAAAGJAgAAFAAAAAAAAAAAAAAAAAAAAAAAAACkAQAA/////wEBCgmKAgAAAQAKAQdLAgAAAAEAAAACAAAABBpBcGxvcmlzLkJhc2UuVUkuVmlzdWFsTGluZQMAAAAKCgdMAgAAAAEAAAADAAAABBVTeXN0ZW0uRHJhd2luZy5Qb2ludEYEAAAAAYsCAAAgAAAAe+zkQq4zJUMBjAIAACAAAAA4eYBCrjMlQwGNAgAAIAAAAN+vJEOuMyVDB00CAAAAAQAAAAMAAAAEF0FwbG9yaXMuQmFzZS5BbmNob3JNb2RlAwAAAAGOAgAAmgAAAAAAAAABjwIAAJoAAAACAAAAAZACAACaAAAABAAAAAFOAgAAJAAAAAnTAAAAAAAAAAAAAAABTwIAACUAAAAJkQIAAAIAAAACAAAAAVACAAD/AAAAClgCAAABkgIAADsBAAACAAAAAZMCAAA8AQAAAQAAAAGUAgAAFAAAAG5bXUMCTwFDiOawQtbG10IBlQIAAD4BAAAAAAAAAACgQAABlgIAACAAAACIyoRDuEA3QwGXAgAAmgAAAAAAAAAAAAAAAAAAAAAJmAIAAAAAAAAJmQIAAAAAAAGaAgAAowAAAAAAAAABmwIAAGwAAAAAANhBAABwQQGcAgAAFAAAALATfUNiJzBDxPe9QYmdOEESg74/Bp0CAAADMzElCgmeAgAACUcBAAA0AwAA/////wEBCgmfAgAAAQAKAQFRAgAAGwAAAAGgAgAAIAAAAG5bWkNtMnBDAaECAAAgAAAAWWecQwSe/EIJogIAAAmjAgAAAAAAAAoBpAIAAGwAAAAAAAAAAAAAAAGlAgAAbAAAAAAAAAAAAAAAAAAAAAGmAgAAFAAAAAAAAAAAAAAAAAAAAAAAAACkAQAA/////wEBCgmnAgAAAQAKAQdSAgAAAAEAAAACAAAABBpBcGxvcmlzLkJhc2UuVUkuVmlzdWFsTGluZQMAAAAKCgdTAgAAAAEAAAADAAAABBVTeXN0ZW0uRHJhd2luZy5Qb2ludEYEAAAAAagCAAAgAAAAiMqEQ7hAN0MBqQIAACAAAABuW1dDuEA3QwGqAgAAIAAAAFnnnUO4QDdDB1QCAAAAAQAAAAMAAAAEF0FwbG9yaXMuQmFzZS5BbmNob3JNb2RlAwAAAAGrAgAAmgAAAAAAAAABrAIAAJoAAAACAAAAAa0CAACaAAAABAAAAAFVAgAAJAAAAAnTAAAAAAAAAAAAAAABVgIAACUAAAAJrgIAAAIAAAACAAAAAVcCAAD/AAAAClgCAAABrwIAADsBAAACAAAAAbACAAA8AQAAAQAAAAGxAgAAFAAAACA9ukMmvDpCiOawQmSDPkMBsgIAAD4BAAAAAAAAAACgQAABswIAACAAAADxWdBDu/ANQwG0AgAAmgAAAAAAAAAAAAAAAAAAAAAJtQIAAAAAAAAJtgIAAAAAAAG3AgAAowAAAAAAAAABuAIAAGwAAAAAANhBAABwQQG5AgAAFAAAAE7syUN2YgdDxPe9QYmdOEESg74/BroCAAADNTMlCgm7AgAACUcBAAA0AwAA/////wEBCgm8AgAAAQAKAQFYAgAAGwAAAAG9AgAAIAAAACC9uENtMnBDAb4CAAAgAAAAwvbnQya8LkIJvwIAAAnAAgAAAAAAAAoBwQIAAGwAAAAAAAAAAAAAAAHCAgAAbAAAAAAAAAAAAAAAAAAAAAHDAgAAFAAAAAAAAAAAAAAAAAAAAAAAAACkAQAA/////wEBCgnEAgAAAQAKAQdZAgAAAAEAAAACAAAABBpBcGxvcmlzLkJhc2UuVUkuVmlzdWFsTGluZQMAAAAKCgdaAgAAAAEAAAADAAAABBVTeXN0ZW0uRHJhd2luZy5Qb2ludEYEAAAAAcUCAAAgAAAA8VnQQ7vwDUMBxgIAACAAAAAgPbdDu/ANQwHHAgAAIAAAAMJ26UO78A1DB1sCAAAAAQAAAAMAAAAEF0FwbG9yaXMuQmFzZS5BbmNob3JNb2RlAwAAAAHIAgAAmgAAAAAAAAAByQIAAJoAAAACAAAAAcoCAACaAAAABAAAAAFcAgAAJAAAAAnTAAAAAAAAAAAAAAABXQIAACUAAAAJywIAAAIAAAACAAAAAV4CAAD/AAAAClgCAAABzAIAADsBAAACAAAAAc0CAAA8AQAAAQAAAAHOAgAAFAAAAEXmAkTIToZCgOawQgkLKkMBzwIAAD4BAAAAAAAAAACgQAAB0AIAACAAAACt9A1E6CwYQwHRAgAAmgAAAAAAAAAAAAAAAAAAAAAJ0gIAAAAAAAAJ0wIAAAAAAAHUAgAAowAAAAAAAAAB1QIAAGwAAAAAANhBAABwQQHWAgAAFAAAAGKnCkR2YhFDxPe9QYmdOEESg74/BtcCAAADNDclCgnYAgAACUcBAAA0AwAA/////wEBCgnZAgAAAQAKAQFfAgAAGwAAAAHaAgAAIAAAAEUmAkRtMnBDAdsCAAAgAAAAFcMZRMhOgEIJ3AIAAAndAgAAAAAAAAoB3gIAAGwAAAAAAAAAAAAAAAHfAgAAbAAAAAAAAAAAAAAAAAAAAAHgAgAAFAAAAAAAAAAAAAAAAAAAAAAAAACkAQAA/////wEBCgnhAgAAAQAKAQdgAgAAAAEAAAACAAAABBpBcGxvcmlzLkJhc2UuVUkuVmlzdWFsTGluZQMAAAAKCgdhAgAAAAEAAAADAAAABBVTeXN0ZW0uRHJhd2luZy5Qb2ludEYEAAAAAeICAAAgAAAArfQNROgsGEMB4wIAACAAAABFZgFE6CwYQwHkAgAAIAAAABWDGkToLBhDB2ICAAAAAQAAAAMAAAAEF0FwbG9yaXMuQmFzZS5BbmNob3JNb2RlAwAAAAHlAgAAmgAAAAAAAAAB5gIAAJoAAAACAAAAAecCAACaAAAABAAAAAFjAgAAJAAAAAnTAAAAAAAAAAAAAAABZAIAACUAAAAJ6AIAAAIAAAACAAAAAXsCAAAiAAAACgoAAAAAAChBCXAAAAAJcQAAAAnpAgAAAAAJ6gIAAAF8AgAAcgAAAAoKAQAAAKE/HwD/////AAEBgQIAAKcAAAAJ6wIAAAEAAAADAAAAAYICAABvAAAACewCAAAKAYUCAABqAAAACgoAAABAPwntAgAACe4CAAABAAAA/v///wAAAAABAAAAAAAAAAAAAAABAAAAAAAAAAAAAAGGAgAAawAAAAoKCe8CAAAJ8AIAAAEAAAD+////AAAAAP////8AAAGKAgAAbwAAAAnxAgAACgeRAgAAAAEAAAAEAAAABBxBcGxvcmlzLkJhc2UuVUkuVmlzdWFsT2JqZWN0AwAAAAlKAgAACUkCAAAKCgGYAgAAIgAAAAoKAAAAAAAoQQlwAAAACXEAAAAJ8gIAAAAACfMCAAABmQIAAHIAAAAKCgEAAADbrAAA/////wABAZ4CAACnAAAACfQCAAABAAAAAwAAAAGfAgAAbwAAAAn1AgAACgGiAgAAagAAAAoKAAAAQD8J9gIAAAn3AgAAAQAAAP7///8AAAAAAQAAAAAAAAAAAAAAAQAAAAAAAAAAAAABowIAAGsAAAAKCgn4AgAACfkCAAABAAAA/v///wAAAAD/////AAABpwIAAG8AAAAJ+gIAAAoHrgIAAAABAAAABAAAAAQcQXBsb3Jpcy5CYXNlLlVJLlZpc3VhbE9iamVjdAMAAAAJUQIAAAlQAgAACgoBtQIAACIAAAAKCgAAAAAAKEEJcAAAAAlxAAAACfsCAAAAAAn8AgAAAbYCAAByAAAACgoBAAAAOaTEAP////8AAQG7AgAApwAAAAn9AgAAAQAAAAMAAAABvAIAAG8AAAAJ/gIAAAoBvwIAAGoAAAAKCgAAAEA/Cf8CAAAJAAMAAAEAAAD+////AAAAAAEAAAAAAAAAAAAAAAEAAAAAAAAAAAAAAcACAABrAAAACgoJAQMAAAkCAwAAAQAAAP7///8AAAAA/////wEAAcQCAABvAAAACQMDAAAKB8sCAAAAAQAAAAQAAAAEHEFwbG9yaXMuQmFzZS5VSS5WaXN1YWxPYmplY3QDAAAACVgCAAAJVwIAAAoKAdICAAAiAAAACgoAAAAAAChBCXAAAAAJcQAAAAkEAwAAAAAJBQMAAAHTAgAAcgAAAAoKAQAAAGWRKQD/////AAEB2AIAAKcAAAAJBgMAAAEAAAADAAAAAdkCAABvAAAACQcDAAAKAdwCAABqAAAACgoAAABAPwkIAwAACQkDAAABAAAA/v///wAAAAABAAAAAAAAAAAAAAABAAAAAAAAAAAAAAHdAgAAawAAAAoKCQoDAAAJCwMAAAEAAAD+////AAAAAP////8AAAHhAgAAbwAAAAkMAwAACgfoAgAAAAEAAAAEAAAABBxBcGxvcmlzLkJhc2UuVUkuVmlzdWFsT2JqZWN0AwAAAAlfAgAACV4CAAAKCgHpAgAAcgAAAAoKAAAAAP///wAOAAAAAAAB6gIAAHIAAAAKCgAAAAD///8ADgAAAAABB+sCAAAAAQAAAAQAAAAEHUFwbG9yaXMuQmFzZS5PYmplY3RzLlZhcmlhYmxlAwAAAAENAwAAFQIAAAEAAAAAAAAAAQ4DAAAVAgAAAAAAAAAAAAABDwMAABUCAAAAAAAAAAAAAAEQAwAAFQIAAAAAAAAAAAAAD+wCAAABAAAACBYAAAAF7QIAABpBcGxvcmlzLkJhc2UuT2JqZWN0cy5Db2xvcgcAAAASRGF0YU9iamVjdCttUGFyZW50FURhdGFPYmplY3QrbUNvbnRhaW5lcgVtVHlwZQRtUkdCEG1UaGVtZUNvbG9ySW5kZXgMbUF1dG9VcGRhdGVkCW1Nb2RpZmllZAQCAAAAAAAfQXBsb3Jpcy5CYXNlLk9iamVjdHMuTGluZUZvcm1hdAMAAAAICAgBAQMAAAAJhQIAAAoAAAAA////AA4AAAAAAAXuAgAAGkFwbG9yaXMuQmFzZS5PYmplY3RzLkNvbG9yBwAAABJEYXRhT2JqZWN0K21QYXJlbnQVRGF0YU9iamVjdCttQ29udGFpbmVyBW1UeXBlBG1SR0IQbVRoZW1lQ29sb3JJbmRleAxtQXV0b1VwZGF0ZWQJbU1vZGlmaWVkBAIAAAAAAB9BcGxvcmlzLkJhc2UuT2JqZWN0cy5MaW5lRm9ybWF0AwAAAAgICAEBAwAAAAmFAgAACgEAAAAAAAAA/////wABAe8CAAByAAAACgoBAAAAoT8fAP////8AAAHwAgAAcgAAAAoKAQAAAP///wD/////AAAP8QIAAAEAAAAIAwAAAAHyAgAAcgAAAAoKAAAAAAAAAAANAAAAAAAB8wIAAHIAAAAKCgAAAAAAAAAADQAAAAABB/QCAAAAAQAAAAQAAAAEHUFwbG9yaXMuQmFzZS5PYmplY3RzLlZhcmlhYmxlAwAAAAERAwAAFQIAAAEAAAAAAAAAARIDAAAVAgAAAAAAAAAAAAABEwMAABUCAAAAAAAAAAAAAAEUAwAAFQIAAAAAAAAAAAAAD/UCAAABAAAACBMAAAAF9gIAABpBcGxvcmlzLkJhc2UuT2JqZWN0cy5Db2xvcgcAAAASRGF0YU9iamVjdCttUGFyZW50FURhdGFPYmplY3QrbUNvbnRhaW5lcgVtVHlwZQRtUkdCEG1UaGVtZUNvbG9ySW5kZXgMbUF1dG9VcGRhdGVkCW1Nb2RpZmllZAQCAAAAAAAfQXBsb3Jpcy5CYXNlLk9iamVjdHMuTGluZUZvcm1hdAMAAAAICAgBAQMAAAAJogIAAAoAAAAA////AA4AAAAAAAX3AgAAGkFwbG9yaXMuQmFzZS5PYmplY3RzLkNvbG9yBwAAABJEYXRhT2JqZWN0K21QYXJlbnQVRGF0YU9iamVjdCttQ29udGFpbmVyBW1UeXBlBG1SR0IQbVRoZW1lQ29sb3JJbmRleAxtQXV0b1VwZGF0ZWQJbU1vZGlmaWVkBAIAAAAAAB9BcGxvcmlzLkJhc2UuT2JqZWN0cy5MaW5lRm9ybWF0AwAAAAgICAEBAwAAAAmiAgAACgEAAAAAAAAA/////wABAfgCAAByAAAACgoBAAAA26wAAP////8AAAH5AgAAcgAAAAoKAQAAAP///wD/////AAAP+gIAAAEAAAAIBAAAAAH7AgAAcgAAAAoKAAAAAAAAAAANAAAAAAAB/AIAAHIAAAAKCgAAAAAAAAAADQAAAAABB/0CAAAAAQAAAAQAAAAEHUFwbG9yaXMuQmFzZS5PYmplY3RzLlZhcmlhYmxlAwAAAAEVAwAAFQIAAAEAAAAAAAAAARYDAAAVAgAAAAAAAAAAAAABFwMAABUCAAAAAAAAAAAAAAEYAwAAFQIAAAAAAAAAAAAAD/4CAAABAAAACBUAAAAF/wIAABpBcGxvcmlzLkJhc2UuT2JqZWN0cy5Db2xvcgcAAAASRGF0YU9iamVjdCttUGFyZW50FURhdGFPYmplY3QrbUNvbnRhaW5lcgVtVHlwZQRtUkdCEG1UaGVtZUNvbG9ySW5kZXgMbUF1dG9VcGRhdGVkCW1Nb2RpZmllZAQCAAAAAAAfQXBsb3Jpcy5CYXNlLk9iamVjdHMuTGluZUZvcm1hdAMAAAAICAgBAQMAAAAJvwIAAAoAAAAA////AA4AAAAAAAUAAwAAGkFwbG9yaXMuQmFzZS5PYmplY3RzLkNvbG9yBwAAABJEYXRhT2JqZWN0K21QYXJlbnQVRGF0YU9iamVjdCttQ29udGFpbmVyBW1UeXBlBG1SR0IQbVRoZW1lQ29sb3JJbmRleAxtQXV0b1VwZGF0ZWQJbU1vZGlmaWVkBAIAAAAAAB9BcGxvcmlzLkJhc2UuT2JqZWN0cy5MaW5lRm9ybWF0AwAAAAgICAEBAwAAAAm/AgAACgEAAAAAAAAA/////wABAQEDAAByAAAACgoBAAAAOaTEAP////8AAAECAwAAcgAAAAoKAQAAAP///wD/////AAAPAwMAAAEAAAAIAQAAAAEEAwAAcgAAAAoKAAAAAP///wAOAAAAAAABBQMAAHIAAAAKCgAAAAD///8ADgAAAAABBwYDAAAAAQAAAAQAAAAEHUFwbG9yaXMuQmFzZS5PYmplY3RzLlZhcmlhYmxlAwAAAAEZAwAAFQIAAAEAAAAAAAAAARoDAAAVAgAAAAAAAAAAAAABGwMAABUCAAAAAAAAAAAAAAEcAwAAFQIAAAAAAAAAAAAADwcDAAABAAAACBQAAAAFCAMAABpBcGxvcmlzLkJhc2UuT2JqZWN0cy5Db2xvcgcAAAASRGF0YU9iamVjdCttUGFyZW50FURhdGFPYmplY3QrbUNvbnRhaW5lcgVtVHlwZQRtUkdCEG1UaGVtZUNvbG9ySW5kZXgMbUF1dG9VcGRhdGVkCW1Nb2RpZmllZAQCAAAAAAAfQXBsb3Jpcy5CYXNlLk9iamVjdHMuTGluZUZvcm1hdAMAAAAICAgBAQMAAAAJ3AIAAAoAAAAA////AA4AAAAAAAUJAwAAGkFwbG9yaXMuQmFzZS5PYmplY3RzLkNvbG9yBwAAABJEYXRhT2JqZWN0K21QYXJlbnQVRGF0YU9iamVjdCttQ29udGFpbmVyBW1UeXBlBG1SR0IQbVRoZW1lQ29sb3JJbmRleAxtQXV0b1VwZGF0ZWQJbU1vZGlmaWVkBAIAAAAAAB9BcGxvcmlzLkJhc2UuT2JqZWN0cy5MaW5lRm9ybWF0AwAAAAgICAEBAwAAAAncAgAACgEAAAAAAAAA/////wABAQoDAAByAAAACgoBAAAAZZEpAP////8AAAELAwAAcgAAAAoKAQAAAP///wD/////AAAPDAMAAAEAAAAIAgAAAAs=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2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3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4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3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2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36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37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38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39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4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2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3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4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5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6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7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8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19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20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2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5q+ABFG9ZXJf9Awe.22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//3////9/////f////3//ARUAAAAUAAAA//9/////f////3////9//wAAAAAABRYAAAAsQXBsb3Jpcy5DaGFydC5BeGlzQnJlYWsrQXhpc0JyZWFrRGlzcGxheU1vZGUBAAAAB3ZhbHVlX18ACAIAAAABAAAAAQEBCgoJFwAAAAoKAAAAAAAJGAAAAAoJGQAAAAAAAAAKBRoAAAAZQXBsb3Jpcy5DaGFydC5PcmllbnRhdGlvbgEAAAAHdmFsdWVfXwAIAgAAAAEAAAAJGwAAAAEcAAAAFAAAANNaG0L6jYVB0h4XROTwjEMABB0AAAALU3lzdGVtLkd1aWQLAAAAAl9hAl9iAl9jAl9kAl9lAl9mAl9nAl9oAl9pAl9qAl9rAAAAAAAAAAAAAAAIBwcCAgICAgICAgAAAAAAAAAAAAAAAAAAAAAACgoJHgAAAAAKCgoBAAAAAAAAAP////8BAQEfAAAAFAAAAP//H0H//x9BqrQXRE7sl0PCUOVBT+scQ4CMI0RObKJDBSAAAAAVU3lzdGVtLkRyYXdpbmcuUG9pbnRGAgAAAAF4AXkAAAsLBAAAABwKx0Ou1I5DBiEAAAAQUmJKU1NEUzZuSE5uZVJILw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wOCwgQ3VsdHVyZT1uZXV0cmFsLCBQdWJsaWNLZXlUb2tlbj0xNmZjMTNhMjI2YzBlOTUxXV0DAAAAmwFBcGxvcmlzLkJhc2UuT2JqZWN0cy5EYXRhT2JqZWN0Q29sbGVjdGlvbmAxW1tBcGxvcmlzLkNoYXJ0LkF4aXNCcmVhaywgQXBsb3Jpcy5DaGFydCwgVmVyc2lvbj00LjIuMC4xOTA4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A4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SYAAAAWQXBsb3Jpcy5DaGFydC5BeGlzVHlwZQEAAAAHdmFsdWVfXwAIAgAAAAEAAACamRk/AAAACgkBAAAACScAAAAJKAAAAAEAAAAAAAAAAAEAAAAAAADwPwGamZmZmZm5PwAAACBBAAEJKQAAAAoJKgAAAAkrAAAACSwAAAABLQAAACAAAADTWhtCxEmVQwEuAAAAIAAAAH/UIETESZVDCS8AAAAJMAAAAAkxAAAACTIAAAAAAAAAAAAAAAAAAAAJMwAAAAAAAAAAAAk0AAAACQEAAAAJAQAAAAk1AAAAAQcAAAAGAAAACQEAAAABNgAAACYAAAAAAAAAzcxMPwAAAAgBAAkBAAAACTcAAAAJOAAAAAEAAAAAAAAAAACamZmZmZnpPwCamZmZmZnJPwAAACBBAAEJOQAAAAoJOgAAAAk7AAAACTwAAAABPQAAACAAAADTWhtCxEmVQwE+AAAAIAAAANNaG0L6jYVBCT8AAAAJQAAAAAlBAAAACUIAAAAAAAAAAAAAAAAAAAAJQwAAAAAAAAAAAAlEAAAACQEAAAAJAQAAAAlFAAAABAgAAACoAVN5c3RlbS5Db2xsZWN0aW9ucy5HZW5lcmljLkxpc3RgMVtbQXBsb3Jpcy5DaGFydC5Db2x1bW5PcmllbnRlZENoYXJ0K1VudXNlZFNlcmllcywgQXBsb3Jpcy5DaGFydCwgVmVyc2lvbj00LjIuMC4xOTA4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A4LCBDdWx0dXJlPW5ldXRyYWwsIFB1YmxpY0tleVRva2VuPTE2ZmMxM2EyMjZjMGU5NTFdXQMAAACXAVN5c3RlbS5Db2xsZWN0aW9ucy5HZW5lcmljLkxpc3RgMVtbQXBsb3Jpcy5DaGFydC5DaGFydERhdGFTZXJpZXM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RwAAAAlIAAAACQEAAAAJAQAAAAlJAAAABQoAAACmAUFwbG9yaXMuQmFzZS5PYmplY3RzLkRhdGFPYmplY3RDb2xsZWN0aW9uYDFbW0FwbG9yaXMuQ2hhcnQuQW5ub3RhdGlvbkRhdGFTZXJpZXMsIEFwbG9yaXMuQ2hhcnQsIFZlcnNpb249NC4yLjAuMTkwOC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DgsIEN1bHR1cmU9bmV1dHJhbCwgUHVibGljS2V5VG9rZW49MTZmYzEzYTIyNmMwZTk1MV1dAwAAAJwBU3lzdGVtLkNvbGxlY3Rpb25zLkdlbmVyaWMuTGlzdGAxW1tBcGxvcmlzLkNoYXJ0LkFubm90YXRpb25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oAAAAJSwAAAAkBAAAACQEAAAAJTAAAAAULAAAAoQFBcGxvcmlzLkJhc2UuT2JqZWN0cy5EYXRhT2JqZWN0Q29sbGVjdGlvbmAxW1tBcGxvcmlzLkNoYXJ0LkFubm90YXRpb25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DgsIEN1bHR1cmU9bmV1dHJhbCwgUHVibGljS2V5VG9rZW49MTZmYzEzYTIyNmMwZTk1MV1dAwAAAJcBU3lzdGVtLkNvbGxlY3Rpb25zLkdlbmVyaWMuTGlzdGAxW1tBcGxvcmlzLkNoYXJ0LkFubm90YXRpb25Hcm91c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NAAAACU4AAAAJAQAAAAkBAAAACU8AAAAFDAAAAKABQXBsb3Jpcy5CYXNlLk9iamVjdHMuRGF0YU9iamVjdENvbGxlY3Rpb25gMVtbQXBsb3Jpcy5DaGFydC5DaGFydERhdGFHcm91cCwgQXBsb3Jpcy5DaGFydCwgVmVyc2lvbj00LjIuMC4xOTA4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wOCwgQ3VsdHVyZT1uZXV0cmFsLCBQdWJsaWNLZXlUb2tlbj0xNmZjMTNhMjI2YzBlOTUxXV0DAAAAlgFTeXN0ZW0uQ29sbGVjdGlvbnMuR2VuZXJpYy5MaXN0YDFbW0FwbG9yaXMuQ2hhcnQuQ2hhcnREYXRh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UAAAAAlRAAAACQEAAAAJAQAAAAlSAAAABQ0AAACaAUFwbG9yaXMuQmFzZS5PYmplY3RzLkRhdGFPYmplY3RDb2xsZWN0aW9uYDFbW0FwbG9yaXMuQ2hhcnQuRGVsdGFCYXIsIEFwbG9yaXMuQ2hhcnQsIFZlcnNpb249NC4yLjAuMTkwOC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DgsIEN1bHR1cmU9bmV1dHJhbCwgUHVibGljS2V5VG9rZW49MTZmYzEzYTIyNmMwZTk1MV1dAwAAAJABU3lzdGVtLkNvbGxlY3Rpb25zLkdlbmVyaWMuTGlzdGAxW1tBcGxvcmlzLkNoYXJ0LkRlbHRhQmF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MAAAAJVAAAAAkBAAAACQEAAAAJVQAAAAUOAAAAnQFBcGxvcmlzLkJhc2UuT2JqZWN0cy5EYXRhT2JqZWN0Q29sbGVjdGlvbmAxW1tBcGxvcmlzLkNoYXJ0LkRlbHRhQnJpZGdlLCBBcGxvcmlzLkNoYXJ0LCBWZXJzaW9uPTQuMi4wLjE5MDg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A4LCBDdWx0dXJlPW5ldXRyYWwsIFB1YmxpY0tleVRva2VuPTE2ZmMxM2EyMjZjMGU5NTFdXQMAAACTAVN5c3RlbS5Db2xsZWN0aW9ucy5HZW5lcmljLkxpc3RgMVtbQXBsb3Jpcy5DaGFydC5EZWx0YUJyaWRnZS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WAAAACVcAAAAJAQAAAAkBAAAACVgAAAAFDwAAAJ0BQXBsb3Jpcy5CYXNlLk9iamVjdHMuRGF0YU9iamVjdENvbGxlY3Rpb25gMVtbQXBsb3Jpcy5DaGFydC5Hcm93dGhBcnJvdy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wOCwgQ3VsdHVyZT1uZXV0cmFsLCBQdWJsaWNLZXlUb2tlbj0xNmZjMTNhMjI2YzBlOTUxXV0DAAAAkwFTeXN0ZW0uQ29sbGVjdGlvbnMuR2VuZXJpYy5MaXN0YDFbW0FwbG9yaXMuQ2hhcnQuR3Jvd3RoQXJyb3c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WQAAAAlaAAAACQEAAAAJAQAAAAlbAAAABRAAAACkAUFwbG9yaXMuQmFzZS5PYmplY3RzLkRhdGFPYmplY3RDb2xsZWN0aW9uYDFbW0FwbG9yaXMuQ2hhcnQuV2F0ZXJmYWxs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wOCwgQ3VsdHVyZT1uZXV0cmFsLCBQdWJsaWNLZXlUb2tlbj0xNmZjMTNhMjI2YzBlOTUxXV0DAAAAmgFTeXN0ZW0uQ29sbGVjdGlvbnMuR2VuZXJpYy5MaXN0YDFbW0FwbG9yaXMuQ2hhcnQuV2F0ZXJmYWxsQ29ubmVjdG9y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wAAAAJXQAAAAkBAAAACQEAAAAJXgAAAAURAAAAogFBcGxvcmlzLkJhc2UuT2JqZWN0cy5EYXRhT2JqZWN0Q29sbGVjdGlvbmAxW1tBcGxvcmlzLkNoYXJ0LkVsZW1lbnRDb25uZWN0b3I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wOCwgQ3VsdHVyZT1uZXV0cmFsLCBQdWJsaWNLZXlUb2tlbj0xNmZjMTNhMjI2YzBlOTUxXV0DAAAAmAFTeXN0ZW0uQ29sbGVjdGlvbnMuR2VuZXJpYy5MaXN0YDFbW0FwbG9yaXMuQ2hhcnQuRWxlbWVud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DTWhtC+o2FQQFpAAAAIAAAAH/UIETESZVDCWoAAAAJawAAAAAAAAAKBWwAAAAUU3lzdGVtLkRyYXdpbmcuU2l6ZUYCAAAABXdpZHRoBmhlaWdodAAACwsEAAAAAAAAAAAAAAABbQAAAGwAAAAAAAAAAAAAAAAAAAABbgAAABQAAAAAAAAAAAAAAAAAAAAAAAAAFAAAAP////8BAQoJbwAAAAEACgEPHgAAAO4m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G2Pu6iiAgAASQUAAA8AAAB4bC93b3JrYm9vay54bWykVMtunDAU3VfqPyD2jMEY5qGBaDIPdaSqiqo0WVYe4xms+EGMyZBW/fdeoCRps0lbFtjXNsfnnnMvy4tWSe+B21oYnfnRJPQ9rpkphD5l/pfrXTDzvdpRXVBpNM/8R177F/n7d8uzsXcHY+48ANB15pfOVQuEalZyReuJqbiGnaOxijoI7QnVleW0qEvOnZIIh2GKFBXaHxAW9i0Y5ngUjG8MaxTXbgCxXFIH9OtSVPWIpthb4BS1d00VMKMqgDgIKdxjD+p7ii32J20sPUhIu42SERmmr6CVYNbU5ugmAIUGkq/yjUIURUPK+fIoJL8ZZPdoVX2iqrtF+p6ktdsWwvEi81MIzZk/LwAJ21SXjZCwi2dJiH0P5U9eXNkuAuYr6bjV1PG10Q6E+iXx/4rSY69LAxZ4n/l9IywH5ztt8iW8KVvQQ31FXek1VmY+eqAWHY0sIE90f0a4nOPyGytwHMU2Kh4c0ZX+Gs5CeE4aXSOnqjSa4WhKyQTm6IXk9LWffyE6Zb1OCKQZ6OfLbv6nTPmyq+gbwc/1s6hd6LW3QhfmDB2SJhh65HGMSQrRud+8FYUr4cQ8IU9rH7g4lQ4WSdp9Bu6gF1f0vQBX9aOn+xpYVdJYUW+oo9B5XbPswesIjF8ImNh9AfMOZ/yYUcnA+G7oT5IkxXCEGc0aa8H8Nexk/nA7b93H2uVLGMEjkfnfp/NdQubTNIg2qyQgoH9wGZFpQNabLbmcJ/Eqnv14NoL8W+2HczQfS7+NyGL8ewDxgh9pI91e0RPfVEApxtN0OuQINH/jmuB4m2ziACe7OFgl2zCI0hgHKdnhhKwxJgl+4qrat1FVlCHeMt7/kmYjSdUuVpaV+423k/QEVT50GpwERt27lxGNeeQ/AQAA//8DAFBLAwQUAAYACAAAACEAP4BA+NkAAAA0AQAAFAAAAHhsL3NoYXJlZFN0cmluZ3MueG1sXJBBSwMxFITvgv/hkbvNVlBEsumh1JN40PYHhN3XJDR5SfOSav+9ERFhjzPfzGFGbb5igAsW9olGsV4NApCmNHuyozjsX+6eBHA1NJuQCEdxRRYbfXujmCv0LvEoXK35WUqeHEbDq5SROjmmEk3tsljJuaCZ2SHWGOT9MDzKaDwJmFKjOooHAY38ueH2T2vFXquqP7B4ZFgrWbWSP96vv3U4nWBH1hMu2TseG4a+YAl25+ZzxhnezMVbU1PhZeQ1fcIeJ0cpJHuFA/dr/jOyr9bfAAAA//8DAFBLAwQUAAYACAAAACEA52V1uNYAAAC4AQAAIwAAAHhsL3dvcmtzaGVldHMvX3JlbHMvc2hlZXQxLnhtbC5yZWxzrJDJagMxDEDvhf6D0T3WTA6hlHhyCYVcQ/oBwtYsdLxguWny93UohQwEeulR29OTtruLn9WZs0wxGGh1A4qDjW4Kg4H309vqBZQUCo7mGNjAlQV23fPT9sgzlTok45REVUoQA2Mp6RVR7MieRMfEoVb6mD2VGuYBE9kPGhjXTbPBfM+AbsFUB2cgH1wL6nRNdfPf7Nj3k+V9tJ+eQ3mwAs9+3mf6qsdVKuWBiwGt0f3k5K7e6toL+Nhp/Z9ONvqbriyMfpOtrv+7aeDi3903AA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NHxzYb4CAABdBwAADQAAAHhsL3N0eWxlcy54bWzEVclu2zAQvRfoPwi8O7IdO7EMSQG8CAiQFgXsAr1SEiUT4SKQVGq16L93SEm20jTI0kN98XA4fO9xZjgKb46ceQ9EaSpFhCYXY+QRkcmcijJCX/fJaIE8bbDIMZOCRKghGt3EHz+E2jSM7A6EGA8ghI7QwZhq6fs6OxCO9YWsiICdQiqODSxV6etKEZxre4gzfzoeX/kcU4FahCXPXgPCsbqvq1EmeYUNTSmjpnFYyOPZ8rYUUuGUgdTjZIazHtstnsBzmimpZWEuAM6XRUEz8lRl4Ac+IMVhIYXRXiZrYSI0BWjLsLwX8rtI7BYksIuKQ/3De8AMPBPk+XGYSSaVZyA1oKx1CcxJG7PGjKaKusACc8qa1g8UcNQltIvkFK7nvL4V00qKw9TFdYzBgJCKnBxJHqHFn5x7fJAcP0PZgbs/DSSUsdO9Z/aK4IhDyL8hSiSw8Dp731RwPwGt0ol0gS+Elwo3k+n8DSe0ZDS3Osq1y6sq0wgl8FtvO5y02zkl4GrW4g9Ex6HfKntB37Ns2+sgcahvYnOkkNVUqhweXt9PtnVaVxwyUhhbUkXLgzOMrOw6lcZIbq2c4lIKzKzt98c6A7AzwtjOvtBvxSOCY+GJmifc3EJPwFu3TdSbUKrObPG6hSUYwrXgA9w5CH8H7rE4E/zH47iqWGNbuH+Wr9AC7/JRik5XeQ/Y5avBXBkg8YPyPiruqUqeHS0R+mxHL4Mx1Wc6rSkzVPytsACaH8+9Aq0BdTd2kLo2OvHARk4KXDOzP21G6Gx/IjmtOSSoi/pCH6RxEBE623e2rydXjoQczZ2GSQb/Xq1ohH5uV9fBZptMR4vxajGaXZL5KJivNqP5bL3abJJgPB2vfw0G+z+Mdff5gfadzJaawfBX3W079buzL0KDRau/HSigG15Ifwv//F2MfwMAAP//AwBQSwMEFAAGAAgAAAAhAG7/pM9+AgAA2QUAABgAAAB4bC93b3Jrc2hlZXRzL3NoZWV0MS54bWyMVMtu2zAQvBfoPxC8Rw/LTWzBcpDYCZpDgaLPM01REhFSVEn69fddkrYixUVhHwyKHM3O7A61uD9IgXZMG67aAqdRghFrqSp5Wxf454/nmxlGxpK2JEK1rMBHZvD98uOHxV7pV9MwZhEwtKbAjbVdHseGNkwSE6mOtXBSKS2JhUddx6bTjJT+JSniSZLcxpLwFgeGXF/DoaqKU7ZWdCtZawOJZoJY0G8a3pkz26G8iq/UZA9ez3oGEtfhpOdLpxf6JKdaGVXZiCoZB2mXLufxfORT0muMSqJft90NEHdgbsMFt0dvFyNJ85e6VZpsBEzkkE4JHagkl/TX6wSm5aLk0FsXCKRZVeCHNH+aYBQvF350vzjbm8EaWbL5zgSjlpWQIIxcMjZKvTrgC2wlQGk8wFESavmOrZgQBV59gnD98UXcEirEfYnh+lzu2Yfpq0YbYthKid+8tA3UhNCWrCJbYd82Z9EsmyRZOgHi0+E3tf/MeN1YeAV2fePy8rhmhkKWQGgUbFIloCL8I8ndpYCOk0OB4XAfCg65jT26KUyD/PCqN7EmliwXWu0RBBE4TEfcNUlzZ7rAGUZ0a6ySwZSH/FMRKHEMD47Ci4A2+Z3HsANEoN1Ak3fL6SLeQePoCbG6RKRjxPoSMRkjni4RWY+IwV7vEfoz9PhfMw7rm9ZLT8ZlHyfeUBJl2TwZ/t7JWwWm9IxOx+j3dsfo6SydD3+zd9bH6NtsNlLyxh3aELIbxt6Rmn0huuatQYJVPlx3GOmQviSCtVWdi9wdxGGjLATh/NTAR5LBxME7RpVStn+AyQtWE3o8fZuQzjlcMP1SwpDc7ek/ysu/AAAA//8DAFBLAwQUAAYACAAAACEAo1bEY5wCAAA9BwAAGwAAAHhsL2RyYXdpbmdzL3ZtbERyYXdpbmcxLnZtbOxVy27bMBC8F+g/EMzBFxt6pElaRjIQpMitLdD0cQxoibaYkFxBXMtyvr5LSXbsIi1a5NBLBUsid5fLmeEIzjprGN3Oizbn68YJX1TKSj+zumjAwxJnBVjRWsNfvxor4XeVsFzqQonh9bSm+4M1qivUwTaWEFWItYgiK4tv1tz20L42ms8JSwbCV7JWRm5hjawVqsOcq1Jjnw55XVpZH2VYKVHmPOFR3yI66jHP2qElbmvFdJnzuy6m6w7TOOWsAGhKrx9VztPkPI6n/ZMz6lHTzqGGYLFaYpVzG09jM5YMhUfPuFMjStoSG3hQ7B6087g11N5qVM0AkRGm0JGtGllq5bDnDA85x7BzAc6pAgPgnDc02hE7YLKndUjJJ3F6xtmw8OSI5wBiUoPXqMEJufBg1qguAzsrm5V2M6OWKM7f1ng5BhBqkcQ03+gSK5Gkb2hcKb2qUKQh/jjTrlSdSPo2rfZ6oY3Grah0WSp3aT3MNo2sZ/32AsPKCVtqYwow0OT8ZEmXSgJrEkqhhZI4yzXCXslQTcdE5elTfX/SQUZSroQNAzdot/DFulF0yKNme6V/UtWBU09ngeSyBXRsFCmgLnUQnpSaSYMiAJoEczGWlbrdFYZ1lNcrJ4J2k3kWUbavy6JWjG2HeSeuTTjq9+RV9mlxT92/9Af8EXC0Dcs68QFa9V1jda2M8QPLEL4lhz4TvnJFBc0AjCVTlpxNWUwvuk/pR3cIvsuiThyWUsMrYnRDys5vpPGqL9hFBpqd+AybeRIyYbALXpNrrJvHIT6OQ6qf7vkNn+Ho1l869fyFTk0ugh0PrJoeODW4eOfUEN85Nf3v1H/v1ODLwanplNHg9KI36gt82vvxGZ+mf+PTiP4z5z8AAAD//wMAUEsDBBQABgAIAAAAIQCMTYeB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Ie5tmE+dC24HKnhwKbii+heR2CzZ/SKLdvr1Zt9XJfLycc3+cc2852+oWfYMPypoK07zACIywUpl1hVfLeXaHUYjcSN5aAxXeQcCz+vqqFI4J6+HFWwc+KggokUxgwlV4E6NjhASxAc1DnhwmiY31msc0+jVxXHzyNZBRUdwSDZFLHjnZAzM3EPERKcWAdF++7QFSEGhBg4mB0JySX28Er8O/C71y5tQq7lzqdIx7zpbiIA7ubVCDseu6vBv3MVJ+St4XT6991UyZ/a0E4LqUggkPPFpfl+R8SIdreYiLdONGgbzf1QslvA22iei5aZQAtArgS3JpTNC+A9PHZZRisUOJk/Q2fnhcznE9KugkK6ZZQZd0wmjBbqYf+yB/ASnbxSPrHwAAAP//AwBQSwMEFAAGAAgAAAAhAP2DldwSAQAALQIAABAAAAB4bC9jb21tZW50czEueG1sxFDLasMwELwX+g9i742cHEpaLIVQSCn0UGj6Aaq1jgV6GK0SnH59N3bcQ0+9FYTQjGZnhq03Q/DihJlcigqWiwoExiZZFw8KPva7uzUIKiZa41NEBWck2Ojbm7pJIWAsJNggkoKulP5RSmo6DIYWqcfIP23KwRSG+SCpz2gsdYgleLmqqnsZjIuga3MsXco0P4TUtfzhrkGvjoqeU0XGVsHTEsQke7EKKjYqOLAo83nj6/NiRF/iZLyCB7igJvmUhYsWB+SZNTswm3cplkm2N10KZmRbE5w/T/RqZORoW/RzTsdeWKQmu77w5qiWnCs5U04V5LX1r8Zb9vmXxu+YHdIfK8/lp5XPiPQ3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G2Pu6iiAgAASQUAAA8AAAAAAAAAAAAAAAAAAgkAAHhsL3dvcmtib29rLnhtbFBLAQItABQABgAIAAAAIQA/gED42QAAADQBAAAUAAAAAAAAAAAAAAAAANELAAB4bC9zaGFyZWRTdHJpbmdzLnhtbFBLAQItABQABgAIAAAAIQDnZXW41gAAALgBAAAjAAAAAAAAAAAAAAAAANwMAAB4bC93b3Jrc2hlZXRzL19yZWxzL3NoZWV0MS54bWwucmVsc1BLAQItABQABgAIAAAAIQDcBge+egYAANkbAAATAAAAAAAAAAAAAAAAAPMNAAB4bC90aGVtZS90aGVtZTEueG1sUEsBAi0AFAAGAAgAAAAhADR8c2G+AgAAXQcAAA0AAAAAAAAAAAAAAAAAnhQAAHhsL3N0eWxlcy54bWxQSwECLQAUAAYACAAAACEAbv+kz34CAADZBQAAGAAAAAAAAAAAAAAAAACHFwAAeGwvd29ya3NoZWV0cy9zaGVldDEueG1sUEsBAi0AFAAGAAgAAAAhAKNWxGOcAgAAPQcAABsAAAAAAAAAAAAAAAAAOxoAAHhsL2RyYXdpbmdzL3ZtbERyYXdpbmcxLnZtbFBLAQItABQABgAIAAAAIQCMTYeBOAEAABUCAAARAAAAAAAAAAAAAAAAABAdAABkb2NQcm9wcy9jb3JlLnhtbFBLAQItABQABgAIAAAAIQD9g5XcEgEAAC0CAAAQAAAAAAAAAAAAAAAAAH8fAAB4bC9jb21tZW50czEueG1sUEsBAi0AFAAGAAgAAAAhAF6k9QCLAQAADQMAABAAAAAAAAAAAAAAAAAAvyAAAGRvY1Byb3BzL2FwcC54bWxQSwUGAAAAAA0ADQBYAwAAgC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BbvvK3vvLMg77yw44K044K344OD44KvCXIAAAABAAlzAAAAByMAAAAAAQAAABEAAAAEFFN5c3RlbS5EcmF3aW5nLkNvbG9yBAAAAAV0AAAAFFN5c3RlbS5EcmF3aW5nLkNvbG9yBAAAAAV2YWx1ZQVzdGF0ZQprbm93bkNvbG9yBG5hbWUAAAABCQcHBAAAAAAAAAAAAAAAAAAAAAoBdQAAAHQAAAAAAAD//////wIAAAAKAXYAAAB0AAAA//////////8CAAAACgF3AAAAdAAAAE5BIv//////AgAAAAoBeAAAAHQAAADe3Nv//////wIAAAAKAXkAAAB0AAAAfmk///////8CAAAACgF6AAAAdAAAAIyEcv//////AgAAAAoBewAAAHQAAAAlIe3//////wIAAAAKAXwAAAB0AAAANDtG//////8CAAAACgF9AAAAdAAAAHSYw///////AgAAAAoBfgAAAHQAAAAelPf//////wIAAAAKAX8AAAB0AAAAHpT3//////8CAAAACgGAAAAAdAAAACUh7f//////AgAAAAoBgQAAAHQAAAAAAAD//////wIAAAAKAYIAAAB0AAAA//////////8CAAAACgGDAAAAdAAAAE5BIv//////AgAAAAoBhAAAAHQAAADe3Nv//////wIAAAAKBCQAAACYAVN5c3RlbS5Db2xsZWN0aW9ucy5HZW5lcmljLkxpc3RgMVtbQXBsb3Jpcy5CYXNlLk9iamVjdHMuRGF0YU9iamVjdCwgQXBsb3Jpcy5CYXNlLCBWZXJzaW9uPTQuMi4wLjE5MDgsIEN1bHR1cmU9bmV1dHJhbCwgUHVibGljS2V5VG9rZW49MTZmYzEzYTIyNmMwZTk1MV1dAwAAAAZfaXRlbXMFX3NpemUIX3ZlcnNpb24EAAAhQXBsb3Jpcy5CYXNlLk9iamVjdHMuRGF0YU9iamVjdFtdAwAAAAgICYUAAAAMAAAADAAAAAQlAAAAlQFTeXN0ZW0uQ29sbGVjdGlvbnMuR2VuZXJpYy5MaXN0YDFbW0FwbG9yaXMuQmFzZS5VSS5WaXN1YWxPYmplY3QsIEFwbG9yaXMuQmFzZSwgVmVyc2lvbj00LjIuMC4xOTA4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A4LCBDdWx0dXJlPW5ldXRyYWwsIFB1YmxpY0tleVRva2VuPTE2ZmMxM2EyMjZjMGU5NTFdXQMAAACRAVN5c3RlbS5Db2xsZWN0aW9ucy5HZW5lcmljLkxpc3RgMVtbQXBsb3Jpcy5DaGFydC5WYWx1ZUxpbm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hwAAAAmIAAAACQYAAAAJAQAAAAmJAAAABSgAAACbAUFwbG9yaXMuQmFzZS5PYmplY3RzLkRhdGFPYmplY3RDb2xsZWN0aW9uYDFbW0FwbG9yaXMuQ2hhcnQuQXhpc0JyZWFr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wOCwgQ3VsdHVyZT1uZXV0cmFsLCBQdWJsaWNLZXlUb2tlbj0xNmZjMTNhMjI2YzBlOTUxXV0DAAAAkQFTeXN0ZW0uQ29sbGVjdGlvbnMuR2VuZXJpYy5MaXN0YDFbW0FwbG9yaXMuQ2hhcnQuQXhpc0JyZWF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A4LCBDdWx0dXJlPW5ldXRyYWwsIFB1YmxpY0tleVRva2VuPTE2ZmMxM2EyMjZjMGU5NTFdXQMAAACQAVN5c3RlbS5Db2xsZWN0aW9ucy5HZW5lcmljLkxpc3RgMVtbQXBsb3Jpcy5DaGFydC5UaWNrTWFy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NNaG0LESZVDAZIAAAAgAAAAf9QgRMRJlUMJkwAAALgBAAD/////AQEKCZQAAAABAAoBBzAAAAAAAQAAAAUAAAAEFVN5c3RlbS5EcmF3aW5nLlBvaW50RgQAAAABlQAAACAAAACAlCFExEmVQwGWAAAAIAAAANNaG0Kwjp1DAZcAAAAgAAAALIqqQ7COnUMBmAAAACAAAAB/1CBEsI6dQwGZAAAAIAAAAICUIUTEyZdDBzEAAAAAAQAAAAUAAAAEF0FwbG9yaXMuQmFzZS5BbmNob3JNb2RlAwAAAAWaAAAAF0FwbG9yaXMuQmFzZS5BbmNob3JNb2RlAQAAAAd2YWx1ZV9fAAgDAAAABAAAAAGbAAAAmgAAAAUAAAABnAAAAJoAAAADAAAAAZ0AAACaAAAABgAAAAGeAAAAmgAAAAUAAAAPMgAAAAUAAAABAAAAAAEFMwAAABVBcGxvcmlzLkJhc2UuVUkuTGFiZWwdAAAAD21BbmNob3JQb3NpdGlvbgttQW5jaG9yTW9kZQ9tQWRkSW5uZXJNYXJnaW4WbU9mZnNldERpcmVjdGlvbkFuY2hvchdtT2Zmc2V0T3J0aG9nb25hbEFuY2hvcgttVGV4dEZvcm1hdAltUm90YXRpb24KbUJhY2tDb2xvcg1tVXNlQmFja0NvbG9yDm1Vc2VCYWNrZ3JvdW5kEW1DdXN0b21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AAQEBAABAwMB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wAAAAGfAAAAIAAAAICUIUTESZVDAaAAAACaAAAABAAAAAAAAAAAAAAAAAmhAAAAAAAAAAmiAAAAAAAABaMAAAAqQXBsb3Jpcy5CYXNlLlVJLkxhYmVsK0xpbmVBbGlnbm1lbnRPcHRpb25zAQAAAAd2YWx1ZV9fAAgDAAAAAAAAAAGkAAAAbAAAAAAAAAAAAAAAAaUAAAAUAAAAAAAAAAAAAAAAAAAAAAAAAAAAAAAGpgAAAA1DYXRlZ29yeSBheGlzCgmnAAAACaYAAADkAgAA/////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axAAAAASUJZgAAAAAAAAAKAAAAAAA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JsQAAAA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ATwAAAAsAAAACgmyAAAACbMAAAAJBwAAAAkBAAAACbQAAAABPwAAAC8AAAABtQAAACAAAADTWhtCxEmVQwG2AAAAIAAAANNaG0L6jYVBCbcAAAC4AQAA/////wEBCgm4AAAAAQAKAQdAAAAAAAEAAAAFAAAABBVTeXN0ZW0uRHJhd2luZy5Qb2ludEYEAAAAAbkAAAAgAAAA01obQjDNLkEBugAAACAAAAAmTDFBxEmVQwG7AAAAIAAAACZMMUGkoh1DAbwAAAAgAAAAJkwxQfqNhUEBvQAAACAAAAAmTDFBMM0uQQdBAAAAAAEAAAAFAAAABBdBcGxvcmlzLkJhc2UuQW5jaG9yTW9kZQMAAAABvgAAAJoAAAABAAAAAb8AAACaAAAACAAAAAHAAAAAmgAAAAIAAAABwQAAAJoAAAAGAAAAAcIAAACaAAAABwAAAA9CAAAABQAAAAEAAAAAAQFDAAAAMwAAAAHDAAAAIAAAANNaG0IwzS5BAcQAAACaAAAAAQAAAAAAAAAAAAAAAAnFAAAAAAAAAAnGAAAAAAAAAccAAACjAAAAAAAAAAHIAAAAbAAAAAAAAAAAAAAAAckAAAAUAAAAAAAAAAAAAAAAAAAAAAAAAAAAAAAGygAAAApWYWx1ZSBheGlzCgnLAAAACcoAAADkAgAA/////wABCgnMAAAAAQAKAQFEAAAAJAAAAAnNAAAABgAAAAYAAAABRQAAACUAAAAJzgAAAAIAAAACAAAAB0YAAAAAAQAAAAAAAAAELkFwbG9yaXMuQ2hhcnQuQ29sdW1uT3JpZW50ZWRDaGFydCtVbnVzZWRTZXJpZXMCAAAABEcAAACXAVN5c3RlbS5Db2xsZWN0aW9ucy5HZW5lcmljLkxpc3RgMVtbQXBsb3Jpcy5DaGFydC5DaGFydERhdGFTZXJpZXMsIEFwbG9yaXMuQ2hhcnQsIFZlcnNpb249NC4yLjAuMTkwOCwgQ3VsdHVyZT1uZXV0cmFsLCBQdWJsaWNLZXlUb2tlbj0xNmZjMTNhMjI2YzBlOTUxXV0DAAAABl9pdGVtcwVfc2l6ZQhfdmVyc2lvbgQAAB9BcGxvcmlzLkNoYXJ0LkNoYXJ0RGF0YVNlcmllc1tdAgAAAAgICc8AAAABAAAACQAAAAFIAAAAJAAAAAnQAAAAAQAAAAUAAAABSQAAACUAAAAJ0QAAAAAAAAAAAAAABEoAAACcAVN5c3RlbS5Db2xsZWN0aW9ucy5HZW5lcmljLkxpc3RgMVtbQXBsb3Jpcy5DaGFydC5Bbm5vdGF0aW9uRGF0YVNlcmllcywgQXBsb3Jpcy5DaGFydCwgVmVyc2lvbj00LjIuMC4xOTA4LCBDdWx0dXJlPW5ldXRyYWwsIFB1YmxpY0tleVRva2VuPTE2ZmMxM2EyMjZjMGU5NTFdXQMAAAAGX2l0ZW1zBV9zaXplCF92ZXJzaW9uBAAAJEFwbG9yaXMuQ2hhcnQuQW5ub3RhdGlvbkRhdGFTZXJpZXNbXQIAAAAICAnSAAAAAAAAAAAAAAABSwAAACQAAAAJ0wAAAAAAAAAAAAAAAUwAAAAlAAAACdEAAAAAAAAAAAAAAARNAAAAlwFTeXN0ZW0uQ29sbGVjdGlvbnMuR2VuZXJpYy5MaXN0YDFbW0FwbG9yaXMuQ2hhcnQuQW5ub3RhdGlvbkdyb3VwLCBBcGxvcmlzLkNoYXJ0LCBWZXJzaW9uPTQuMi4wLjE5MDgsIEN1bHR1cmU9bmV1dHJhbCwgUHVibGljS2V5VG9rZW49MTZmYzEzYTIyNmMwZTk1MV1dAwAAAAZfaXRlbXMFX3NpemUIX3ZlcnNpb24EAAAfQXBsb3Jpcy5DaGFydC5Bbm5vdGF0aW9uR3JvdXBbXQIAAAAICAnUAAAAAAAAAAAAAAABTgAAACQAAAAJ0wAAAAAAAAAAAAAAAU8AAAAlAAAACdEAAAAAAAAAAAAAAARQAAAAlgFTeXN0ZW0uQ29sbGVjdGlvbnMuR2VuZXJpYy5MaXN0YDFbW0FwbG9yaXMuQ2hhcnQuQ2hhcnREYXRhR3JvdXAsIEFwbG9yaXMuQ2hhcnQsIFZlcnNpb249NC4yLjAuMTkwOCwgQ3VsdHVyZT1uZXV0cmFsLCBQdWJsaWNLZXlUb2tlbj0xNmZjMTNhMjI2YzBlOTUxXV0DAAAABl9pdGVtcwVfc2l6ZQhfdmVyc2lvbgQAAB5BcGxvcmlzLkNoYXJ0LkNoYXJ0RGF0YUdyb3VwW10CAAAACAgJ1QAAAAQAAAAGAAAAAVEAAAAkAAAACdYAAAAEAAAABAAAAAFSAAAAJQAAAAnRAAAAAAAAAAAAAAAEUwAAAJABU3lzdGVtLkNvbGxlY3Rpb25zLkdlbmVyaWMuTGlzdGAxW1tBcGxvcmlzLkNoYXJ0LkRlbHRhQmFyLCBBcGxvcmlzLkNoYXJ0LCBWZXJzaW9uPTQuMi4wLjE5MDgsIEN1bHR1cmU9bmV1dHJhbCwgUHVibGljS2V5VG9rZW49MTZmYzEzYTIyNmMwZTk1MV1dAwAAAAZfaXRlbXMFX3NpemUIX3ZlcnNpb24EAAAYQXBsb3Jpcy5DaGFydC5EZWx0YUJhcltdAgAAAAgICdcAAAAAAAAAAAAAAAFUAAAAJAAAAAnTAAAAAAAAAAAAAAABVQAAACUAAAAJ0QAAAAAAAAAAAAAABFYAAACTAVN5c3RlbS5Db2xsZWN0aW9ucy5HZW5lcmljLkxpc3RgMVtbQXBsb3Jpcy5DaGFydC5EZWx0YUJyaWRnZSwgQXBsb3Jpcy5DaGFydCwgVmVyc2lvbj00LjIuMC4xOTA4LCBDdWx0dXJlPW5ldXRyYWwsIFB1YmxpY0tleVRva2VuPTE2ZmMxM2EyMjZjMGU5NTFdXQMAAAAGX2l0ZW1zBV9zaXplCF92ZXJzaW9uBAAAG0FwbG9yaXMuQ2hhcnQuRGVsdGFCcmlkZ2VbXQIAAAAICAnYAAAAAAAAAAAAAAABVwAAACQAAAAJ0wAAAAAAAAAAAAAAAVgAAAAlAAAACdEAAAAAAAAAAAAAAARZAAAAkwFTeXN0ZW0uQ29sbGVjdGlvbnMuR2VuZXJpYy5MaXN0YDFbW0FwbG9yaXMuQ2hhcnQuR3Jvd3RoQXJyb3csIEFwbG9yaXMuQ2hhcnQsIFZlcnNpb249NC4yLjAuMTkwOCwgQ3VsdHVyZT1uZXV0cmFsLCBQdWJsaWNLZXlUb2tlbj0xNmZjMTNhMjI2YzBlOTUxXV0DAAAABl9pdGVtcwVfc2l6ZQhfdmVyc2lvbgQAABtBcGxvcmlzLkNoYXJ0Lkdyb3d0aEFycm93W10CAAAACAgJ2QAAAAAAAAAAAAAAAVoAAAAkAAAACdMAAAAAAAAAAAAAAAFbAAAAJQAAAAnRAAAAAAAAAAAAAAAEXAAAAJoBU3lzdGVtLkNvbGxlY3Rpb25zLkdlbmVyaWMuTGlzdGAxW1tBcGxvcmlzLkNoYXJ0LldhdGVyZmFsbENvbm5lY3RvciwgQXBsb3Jpcy5DaGFydCwgVmVyc2lvbj00LjIuMC4xOTA4LCBDdWx0dXJlPW5ldXRyYWwsIFB1YmxpY0tleVRva2VuPTE2ZmMxM2EyMjZjMGU5NTFdXQMAAAAGX2l0ZW1zBV9zaXplCF92ZXJzaW9uBAAAIkFwbG9yaXMuQ2hhcnQuV2F0ZXJmYWxsQ29ubmVjdG9yW10CAAAACAgJ2gAAAAAAAAAAAAAAAV0AAAAkAAAACdMAAAAAAAAAAAAAAAFeAAAAJQAAAAnRAAAAAAAAAAAAAAAEXwAAAJgBU3lzdGVtLkNvbGxlY3Rpb25zLkdlbmVyaWMuTGlzdGAxW1tBcGxvcmlzLkNoYXJ0LkVsZW1lbnRDb25uZWN0b3IsIEFwbG9yaXMuQ2hhcnQsIFZlcnNpb249NC4yLjAuMTkwOCwgQ3VsdHVyZT1uZXV0cmFsLCBQdWJsaWNLZXlUb2tlbj0xNmZjMTNhMjI2YzBlOTUxXV0DAAAABl9pdGVtcwVfc2l6ZQhfdmVyc2lvbgQAACBBcGxvcmlzLkNoYXJ0LkVsZW1lbnRDb25uZWN0b3JbXQIAAAAICAnbAAAAAAAAAAAAAAABYAAAACQAAAAJ0wAAAAAAAAAAAAAAAWEAAAAlAAAACdE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wAAAAJ3QAAAAEAAAD+////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gAAAAnfAAAAAQAAAAAAAAAAAAAAAAAAAAABBW8AAAAfQXBsb3Jpcy5CYXNlLk9iamVjdHMuUGVyc0lkRGF0YQIAAAADbUlkC21DdXN0b21EYXRhBwIIAwAAAAngAAAACgVyAAAAGkFwbG9yaXMuQmFzZS5PYmplY3RzLkNvbG9yBwAAABJEYXRhT2JqZWN0K21QYXJlbnQVRGF0YU9iamVjdCttQ29udGFpbmVyBW1UeXBlBG1SR0IQbVRoZW1lQ29sb3JJbmRleAxtQXV0b1VwZGF0ZWQJbU1vZGlmaWVkAgIAAAAAAAgICAEBAwAAAAoKAAAAAAAAAAANAAAAAAEBcwAAAHIAAAAKCgEAAAAAAAAA/////wABB4UAAAAAAQAAABAAAAAEH0FwbG9yaXMuQmFzZS5PYmplY3RzLkRhdGFPYmplY3QDAAAACQkAAAAJCgAAAAkLAAAACQwAAAAJEAAAAAkRAAAACQ0AAAAJDgAAAAkPAAAACQcAAAAJBgAAAAkXAAAADQQHhgAAAAABAAAABAAAAAQcQXBsb3Jpcy5CYXNlLlVJLlZpc3VhbE9iamVjdAMAAAAJGwAAAA0DBIcAAACRAVN5c3RlbS5Db2xsZWN0aW9ucy5HZW5lcmljLkxpc3RgMVtbQXBsb3Jpcy5DaGFydC5WYWx1ZUxpbmUsIEFwbG9yaXMuQ2hhcnQsIFZlcnNpb249NC4yLjAuMTkwOCwgQ3VsdHVyZT1uZXV0cmFsLCBQdWJsaWNLZXlUb2tlbj0xNmZjMTNhMjI2YzBlOTUxXV0DAAAABl9pdGVtcwVfc2l6ZQhfdmVyc2lvbgQAABlBcGxvcmlzLkNoYXJ0LlZhbHVlTGluZVtdAgAAAAgICeEAAAAAAAAAAAAAAAGIAAAAJAAAAAnTAAAAAAAAAAAAAAABiQAAACUAAAAJ0QAAAAAAAAAAAAAABIoAAACRAVN5c3RlbS5Db2xsZWN0aW9ucy5HZW5lcmljLkxpc3RgMVtbQXBsb3Jpcy5DaGFydC5BeGlzQnJlYWssIEFwbG9yaXMuQ2hhcnQsIFZlcnNpb249NC4yLjAuMTkwOCwgQ3VsdHVyZT1uZXV0cmFsLCBQdWJsaWNLZXlUb2tlbj0xNmZjMTNhMjI2YzBlOTUxXV0DAAAABl9pdGVtcwVfc2l6ZQhfdmVyc2lvbgQAABlBcGxvcmlzLkNoYXJ0LkF4aXNCcmVha1tdAgAAAAgICeIAAAAAAAAAAAAAAAGLAAAAJAAAAAnTAAAAAAAAAAAAAAABjAAAACUAAAAJ0QAAAAAAAAAAAAAABI4AAACQAVN5c3RlbS5Db2xsZWN0aW9ucy5HZW5lcmljLkxpc3RgMVtbQXBsb3Jpcy5DaGFydC5UaWNrTWFyaywgQXBsb3Jpcy5DaGFydCwgVmVyc2lvbj00LjIuMC4xOTA4LCBDdWx0dXJlPW5ldXRyYWwsIFB1YmxpY0tleVRva2VuPTE2ZmMxM2EyMjZjMGU5NTFdXQMAAAAGX2l0ZW1zBV9zaXplCF92ZXJzaW9uBAAAGEFwbG9yaXMuQ2hhcnQuVGlja01hcmtbXQIAAAAICAnjAAAAAAAAAAAAAAABjwAAACQAAAAJ0wAAAAAAAAAAAAAAAZAAAAAlAAAACdEAAAAAAAAAAAAAAAGTAAAAagAAAAoKAAAAQD8J5AAAAAnlAAAAAQAAAP7///8AAAAAAQAAAAAAAAAAAAAAAQAAAAAAAAAAAAABlAAAAG8AAAAJ5gAAAAoFo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AAAAAJcQAAAAnnAAAAAQAJ6AAAAAGiAAAAcgAAAAoKAQAAAAAAAAD/////AAEEpwAAAJYBU3lzdGVtLkNvbGxlY3Rpb25zLkdlbmVyaWMuTGlzdGAxW1tBcGxvcmlzLkJhc2UuT2JqZWN0cy5WYXJpYWJsZSwgQXBsb3Jpcy5CYXNlLCBWZXJzaW9uPTQuMi4wLjE5MDgsIEN1bHR1cmU9bmV1dHJhbCwgUHVibGljS2V5VG9rZW49MTZmYzEzYTIyNmMwZTk1MV1dAwAAAAZfaXRlbXMFX3NpemUIX3ZlcnNpb24EAAAfQXBsb3Jpcy5CYXNlLk9iamVjdHMuVmFyaWFibGVbXQMAAAAICAnpAAAAAAAAAAAAAAABqAAAAG8AAAAJ6gAAAAoHqQAAAAABAAAACAAAAAQfQXBsb3Jpcy5CYXNlLk9iamVjdHMuRGF0YU9iamVjdAMAAAAJKQAAAAkqAAAACSsAAAAJLAAAAAknAAAACSgAAAAKCgeqAAAAAAEAAAAEAAAABBxBcGxvcmlzLkJhc2UuVUkuVmlzdWFsT2JqZWN0AwAAAAkvAAAACTMAAAAKCgGrAAAAhwAAAAnhAAAAAAAAAAAAAAABrAAAACQAAAAJ0wAAAAAAAAAAAAAAAa0AAAAlAAAACdEAAAAAAAAAAAAAAAGuAAAAigAAAAniAAAAAAAAAAAAAAABrwAAACQAAAAJ0wAAAAAAAAAAAAAAAbAAAAAlAAAACdEAAAAAAAAAAAAAAAGyAAAAjgAAAAnrAAAABQAAACEAAAABswAAACQAAAAJ7AAAAAUAAAAhAAAAAbQAAAAlAAAACdEAAAAAAAAAAAAAAAG3AAAAagAAAAoKAAAAQD8J7QAAAAnuAAAAAQAAAP7///8AAAAAAQAAAAAAAAAAAAAAAQAAAAAAAAAAAAABuAAAAG8AAAAJ7wAAAAoFx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AAAAAJcQAAAAnwAAAAAQAJ8QAAAAHGAAAAcgAAAAoKAQAAAAAAAAD/////AAEBywAAAKcAAAAJ6QAAAAAAAAAAAAAAAcwAAABvAAAACfIAAAAKB80AAAAAAQAAAAgAAAAEH0FwbG9yaXMuQmFzZS5PYmplY3RzLkRhdGFPYmplY3QDAAAACTkAAAAJOgAAAAk7AAAACTwAAAAJNwAAAAk4AAAACgoHzgAAAAABAAAABAAAAAQcQXBsb3Jpcy5CYXNlLlVJLlZpc3VhbE9iamVjdAMAAAAJPwAAAAlDAAAACgoHzwAAAAABAAAABAAAAAQdQXBsb3Jpcy5DaGFydC5DaGFydERhdGFTZXJpZXMCAAAACfMAAAANAwfQAAAAAAEAAAAEAAAABB9BcGxvcmlzLkJhc2UuT2JqZWN0cy5EYXRhT2JqZWN0AwAAAAnzAAAADQM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gAAAAEHEFwbG9yaXMuQ2hhcnQuQ2hhcnREYXRhR3JvdXACAAAACfQAAAAJ9QAAAAn2AAAACfcAAAANBAfWAAAAAAEAAAAEAAAABB9BcGxvcmlzLkJhc2UuT2JqZWN0cy5EYXRhT2JqZWN0AwAAAAn1AAAACfYAAAAJ9wAAAAn0AAAAB9cAAAAAAQAAAAAAAAAEFkFwbG9yaXMuQ2hhcnQuRGVsdGFCYXICAAAAB9gAAAAAAQAAAAAAAAAEGUFwbG9yaXMuQ2hhcnQuRGVsdGFCcmlkZ2UCAAAAB9kAAAAAAQAAAAAAAAAEGUFwbG9yaXMuQ2hhcnQuR3Jvd3RoQXJyb3cCAAAAB9oAAAAAAQAAAAAAAAAEIEFwbG9yaXMuQ2hhcnQuV2F0ZXJmYWxsQ29ubmVjdG9yAgAAAAfbAAAAAAEAAAAAAAAABB5BcGxvcmlzLkNoYXJ0LkVsZW1lbnRDb25uZWN0b3ICAAAAAdwAAAByAAAACgoAAAAAAAAAAA0AAAAAAQHdAAAAcgAAAAoKAQAAAAAAAAD/////AAEB3gAAAHIAAAAKCgEAAAD///8A/////wABAd8AAAByAAAACgoBAAAAAAAAAP////8AAQ/gAAAAAQAAAAgAAAAAB+EAAAAAAQAAAAAAAAAEF0FwbG9yaXMuQ2hhcnQuVmFsdWVMaW5lAgAAAAfiAAAAAAEAAAAAAAAABBdBcGxvcmlzLkNoYXJ0LkF4aXNCcmVhawIAAAAH4wAAAAABAAAAAAAAAAQWQXBsb3Jpcy5DaGFydC5UaWNrTWFyawIAAAAF5AAAABpBcGxvcmlzLkJhc2UuT2JqZWN0cy5Db2xvcgcAAAASRGF0YU9iamVjdCttUGFyZW50FURhdGFPYmplY3QrbUNvbnRhaW5lcgVtVHlwZQRtUkdCEG1UaGVtZUNvbG9ySW5kZXgMbUF1dG9VcGRhdGVkCW1Nb2RpZmllZAQCAAAAAAAfQXBsb3Jpcy5CYXNlLk9iamVjdHMuTGluZUZvcm1hdAMAAAAICAgBAQMAAAAJkwAAAAoAAAAAAAAAAA0AAAAAAAXlAAAAGkFwbG9yaXMuQmFzZS5PYmplY3RzLkNvbG9yBwAAABJEYXRhT2JqZWN0K21QYXJlbnQVRGF0YU9iamVjdCttQ29udGFpbmVyBW1UeXBlBG1SR0IQbVRoZW1lQ29sb3JJbmRleAxtQXV0b1VwZGF0ZWQJbU1vZGlmaWVkBAIAAAAAAB9BcGxvcmlzLkJhc2UuT2JqZWN0cy5MaW5lRm9ybWF0AwAAAAgICAEBAwAAAAmTAAAACgEAAAAAAAAA/////wABD+YAAAABAAAACBoAAAAB5wAAAHIAAAAKCgAAAAAAAAAADQAAAAABAegAAAByAAAACgoBAAAAAAAAAP////8AAQfpAAAAAAEAAAAAAAAABB1BcGxvcmlzLkJhc2UuT2JqZWN0cy5WYXJpYWJsZQMAAAAP6gAAAAEAAAAIAAAAAAfrAAAAAAEAAAAQAAAABBZBcGxvcmlzLkNoYXJ0LlRpY2tNYXJrAgAAAAn4AAAACfkAAAAJ+gAAAAn7AAAACfwAAAANCwfsAAAAAAEAAAAQAAAABB9BcGxvcmlzLkJhc2UuT2JqZWN0cy5EYXRhT2JqZWN0AwAAAAn4AAAACfkAAAAJ+gAAAAn7AAAACfwAAAANCw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/////AAEP7wAAAAEAAAAIGQAAAAHwAAAAcgAAAAoKAAAAAAAAAAANAAAAAAEB8QAAAHIAAAAKCgEAAAAAAAAA/////wABD/IAAAABAAAAC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IuMC4xOTA4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Af0AAAATAAAAAAAAAAIAAAD/////CQcAAAAJ/gAAAAb/AAAACFNlcmllcyAxCgoAAAAAAAAAAAAAAAAKCgAJAAEAAAkBAQAACQIBAAAAAAAAAAAAAAAAAAAAAAAAAAAJAwEAAAkBAAAACQEAAAAJBAEAAAX0AA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gUBAAAUTG93IFRlY2hub2xvZ3kgVXNlcnMABQYBAAAeQXBsb3Jpcy5DaGFydC5DaGFydEdyb3VwQW5jaG9yAQAAAAd2YWx1ZV9fAAgCAAAAAAAAAAoAAAAAAQAAAAEAAAAJBwEAAAkIAQAACQkBAAAKCQcAAAAJCgEAAAkBAAAACQEAAAAJCwEAAAH1AAAA9AAAAAkBAAAABgwBAAAMQ2hlY2sgRW5naW5lAAENAQAABgEAAAAAAAAKAAAAAAEAAAABAAAACQ4BAAAJDwEAAAkQAQAACgkHAAAACREBAAAJAQAAAAkBAAAACRIBAAAB9gAAAPQAAAAJAQAAAAYTAQAACVJlZnVlbGluZwABFAEAAAYBAAAAAAAACgAAAAABAAAAAQAAAAkVAQAACRYBAAAJFwEAAAoJBwAAAAkYAQAACQEAAAAJAQAAAAkZAQAAAfcAAAD0AAAACQEAAAAGGgEAABNFcXVpcHBlZCBOYXZpZ2F0b3JzAAEbAQAABgEAAAAAAAAKAAAAAAEAAAABAAAACRwBAAAJHQEAAAkeAQAACgkHAAAACR8BAAAJAQAAAAkBAAAACSABAAAF+A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SEBAAAKCSIBAAAJBwAAAAEAAAAAAAAAAAEjAQAAIAAAANNaG0LESZVDASQBAAAgAAAA01oLQsRJlUMACSUBAAAJBwAAAAkBAAAACSYBAAAB+QAAAPgAAAAJJwEAAAoJKAEAAAkHAAAAAZqZmZmZmck/ASkBAAAgAAAA01obQhYbZEMBKgEAACAAAADTWgtCFhtkQwAJKwEAAAkHAAAACQEAAAAJLAEAAAH6AAAA+AAAAAktAQAACgkuAQAACQcAAAABmpmZmZmZ2T8BLwEAACAAAADTWhtCpKIdQwEwAQAAIAAAANNaC0Kkoh1DAAkxAQAACQcAAAAJAQAAAAkyAQAAAfsAAAD4AAAACTMBAAAKCTQBAAAJBwAAAAEzMzMzMzPjPwE1AQAAIAAAANNaG0JjVK5CATYBAAAgAAAA01oLQmNUrkIACTcBAAAJBwAAAAkBAAAACTgBAAAB/AAAAPgAAAAJOQEAAAoJOgEAAAkHAAAAAZqZmZmZmek/ATsBAAAgAAAA01obQvqNhUEBPAEAACAAAADTWgtC+o2FQQAJPQEAAAkHAAAACQEAAAAJPgEAAAX+AA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k/AQAACUABAAAJ8wAAAAkBAAAACUEBAAAFAAE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VCAQAAK0FwbG9yaXMuQ2hhcnQuQ29ubmVjdGVkTGFiZWwrZUNvbm5lY3Rvck1vZGUBAAAAB3ZhbHVlX18ACAIAAAABAAAABUMBAAA2QXBsb3Jpcy5DaGFydC5Db25uZWN0ZWRMYWJlbCtlQW5nbGVkQ29ubmVjdG9yRGlyZWN0aW9uAQAAAAd2YWx1ZV9fAAgCAAAAAAAAAAFEAQAAFAAAAD3iAkQEjZlCgOawQgbNWkMFRQEAAC1BcGxvcmlzLkNoYXJ0LkNvbm5lY3RlZExhYmVsK2VUYXJnZXRBcmVhU2hhcGUBAAAAB3ZhbHVlX18ACAIAAAAAAAAAAAAQQQEBRgEAACAAAAAN/xpEBS06QwFHAQAAmgAAAAQAAAAAAAAAAAAAAAAJSAEAAAAAAAAJSQEAAAAAAAFKAQAAowAAAAAAAAABSwEAAGwAAAAAAGRCAACIQQFMAQAAFAAAAAAAAAAAAAAAAAAAAAAAAABeutk/Cf8AAAAKCU0BAAAGTgEAAAAgAwAA/////wABCglPAQAAAQAKAQcBAQAAAAEAAAACAAAABBVTeXN0ZW0uRHJhd2luZy5Qb2ludEYEAAAAAVABAAAgAAAADf8aRAUtOkMBUQEAACAAAADTWgdCQdpuQwcCAQAAAAEAAAACAAAABBdBcGxvcmlzLkJhc2UuQW5jaG9yTW9kZQMAAAABUgEAAJoAAAAEAAAAAVMBAACaAAAAAgAAAAEDAQAAJAAAAAlUAQAAAQAAAAEAAAABBAEAACUAAAAJVQEAAAEAAAABAAAADwcBAAABAAAACAAAAAAHCAEAAAABAAAAAQAAAAQVQXBsb3Jpcy5CYXNlLlVJLkxhYmVsAwAAAAlWAQAAAQkBAAAzAAAAAVcBAAAgAAAAPMzkQsTJl0MBWAEAAJoAAAADAAAAAAAAAAAAAAAACVkBAAAAAAAACVoBAAAAAAABWwEAAKMAAAAAAAAAAVwBAABsAAAAAAAKQwAAcEEBXQEAABQAAACd2GlCYieXQ91C2kKJnThBEoO+PwkFAQAACgleAQAACU4BAAAgAwAA/////wEBCglfAQAAAQAKAQEKAQAAJAAAAAnTAAAAAAAAAAAAAAABCwEAACUAAAAJYAEAAAIAAAACAAAADw4BAAABAAAACAAAAAAHDwEAAAABAAAAAQAAAAQVQXBsb3Jpcy5CYXNlLlVJLkxhYmVsAwAAAAlhAQAAARABAAAzAAAAAWIBAAAgAAAAeMKEQ8TJl0MBYwEAAJoAAAADAAAAAAAAAAAAAAAACWQBAAAAAAAACWUBAAAAAAABZgEAAKMAAAAAAAAAAWcBAABsAAAAAACoQgAAcEEBaAEAABQAAADrxGZDYieXQywvh0KJnThBEoO+PwkMAQAACglpAQAACU4BAAAgAwAA/////wEBCglqAQAAAQAKAQERAQAAJAAAAAnTAAAAAAAAAAAAAAABEgEAACUAAAAJawEAAAIAAAACAAAADxUBAAABAAAACAAAAAAHFgEAAAABAAAAAQAAAAQVQXBsb3Jpcy5CYXNlLlVJLkxhYmVsAwAAAAlsAQAAARcBAAAzAAAAAW0BAAAgAAAA4VHQQ8TJl0MBbgEAAJoAAAADAAAAAAAAAAAAAAAACW8BAAAAAAAACXABAAAAAAABcQEAAKMAAAAAAAAAAXIBAABsAAAAAABkQgAAcEEBcwEAABQAAABiJ8RDYieXQ6ZKO0KJnThBEoO+PwkTAQAACgl0AQAACU4BAAAgAwAA/////wEBCgl1AQAAAQAKAQEYAQAAJAAAAAnTAAAAAAAAAAAAAAABGQEAACUAAAAJdgEAAAIAAAACAAAADxwBAAABAAAACAAAAAAHHQEAAAABAAAAAQAAAAQVQXBsb3Jpcy5CYXNlLlVJLkxhYmVsAwAAAAl3AQAAAR4BAAAzAAAAAXgBAAAgAAAApfANRMTJl0MBeQEAAJoAAAADAAAAAAAAAAAAAAAACXoBAAAAAAAACXsBAAAAAAABfAEAAKMAAAAAAAAAAX0BAABsAAAAAAD8QgAAcEEBfgEAABQAAAATOwFEYieXQ7bMx0KJnThBEoO+PwkaAQAACgl/AQAACU4BAAAgAwAA/////wEBCgmAAQAAAQAKAQEfAQAAJAAAAAnTAAAAAAAAAAAAAAABIAEAACUAAAAJgQEAAAIAAAACAAAAASEBAAAvAAAAAYIBAAAgAAAA01obQsRJlUMBgwEAACAAAADTWgtCxEmVQwmEAQAAzAEAAP////8BAQoJhQEAAAEACgEBIgEAADMAAAABhgEAACAAAADTWgVCxEmVQwGHAQAAmgAAAAIAAAAAAAAAAAAAAAAJiAEAAAAAAAAJiQEAAAAAAAGKAQAAowAAAAAAAAABiwEAAGwAAAAAAJhBAABwQQGMAQAAFAAAABM7gUHsxJFDsbyMQYmdOEESg74/Bo0BAAACMCUKCY4BAAAJTgEAANACAAD/////AQEKCY8BAAABAAoBASUBAAAkAAAACdMAAAAAAAAAAAAAAAEmAQAAJQAAAAmQAQAAAgAAAAIAAAABJwEAAC8AAAABkQEAACAAAADTWhtCFhtkQwGSAQAAIAAAANNaC0IWG2RDCZMBAADMAQAA/////wEBCgmUAQAAAQAKAQEoAQAAMwAAAAGVAQAAIAAAANNaBUIWG2RDAZYBAACaAAAAAgAAAAAAAAAAAAAAAAmXAQAAAAAAAAmYAQAAAAAAAZkBAACjAAAAAAAAAAGaAQAAbAAAAAAA2EEAAHBBAZsBAAAUAAAA//8fQdiJXUPE971BiZ04QRKDvj8GnAEAAAMyMCUKCZ0BAAAJTgEAANACAAD/////AQEKCZ4BAAABAAoBASsBAAAkAAAACdMAAAAAAAAAAAAAAAEsAQAAJQAAAAmfAQAAAgAAAAIAAAABLQEAAC8AAAABoAEAACAAAADTWhtCpKIdQwGhAQAAIAAAANNaC0Kkoh1DCaIBAADMAQAA/////wEBCgmjAQAAAQAKAQEuAQAAMwAAAAGkAQAAIAAAANNaBUKkoh1DAaUBAACaAAAAAgAAAAAAAAAAAAAAAAmmAQAAAAAAAAmnAQAAAAAAAagBAACjAAAAAAAAAAGpAQAAbAAAAAAA2EEAAHBBAaoBAAAUAAAA//8fQezEFkPE971BiZ04QRKDvj8GqwEAAAM0MCUKCawBAAAJTgEAANACAAD/////AQEKCa0BAAABAAoBATEBAAAkAAAACdMAAAAAAAAAAAAAAAEyAQAAJQAAAAmuAQAAAgAAAAIAAAABMwEAAC8AAAABrwEAACAAAADTWhtCY1SuQgGwAQAAIAAAANNaC0JjVK5CCbEBAADMAQAA/////wEBCgmyAQAAAQAKAQE0AQAAMwAAAAGzAQAAIAAAANNaBUJjVK5CAbQBAACaAAAAAgAAAAAAAAAAAAAAAAm1AQAAAAAAAAm2AQAAAAAAAbcBAACjAAAAAAAAAAG4AQAAbAAAAAAA2EEAAHBBAbkBAAAUAAAA//8fQdiJoULE971BiZ04QRKDvj8GugEAAAM2MCUKCbsBAAAJTgEAANACAAD/////AQEKCbwBAAABAAoBATcBAAAkAAAACdMAAAAAAAAAAAAAAAE4AQAAJQAAAAm9AQAAAgAAAAIAAAABOQEAAC8AAAABvgEAACAAAADTWhtC+o2FQQG/AQAAIAAAANNaC0L6jYVBCcABAADMAQAA/////wEBCgnBAQAAAQAKAQE6AQAAMwAAAAHCAQAAIAAAANNaBUL6jYVBAcMBAACaAAAAAgAAAAAAAAAAAAAAAAnEAQAAAAAAAAnFAQAAAAAAAcYBAACjAAAAAAAAAAHHAQAAbAAAAAAA2EEAAHBBAcgBAAAUAAAA//8fQf//H0HE971BiZ04QRKDvj8GyQEAAAM4MCUKCcoBAAAJTgEAANACAAD/////AQEKCcsBAAABAAoBAT0BAAAkAAAACdMAAAAAAAAAAAAAAAE+AQAAJQAAAAnMAQAAAgAAAAIAAAAEPwEAAJgBU3lzdGVtLkNvbGxlY3Rpb25zLkdlbmVyaWMuTGlzdGAxW1tBcGxvcmlzLkNoYXJ0LkNoYXJ0RGF0YUVsZW1lbnQsIEFwbG9yaXMuQ2hhcnQsIFZlcnNpb249NC4yLjAuMTkwOCwgQ3VsdHVyZT1uZXV0cmFsLCBQdWJsaWNLZXlUb2tlbj0xNmZjMTNhMjI2YzBlOTUxXV0DAAAABl9pdGVtcwVfc2l6ZQhfdmVyc2lvbgQAACBBcGxvcmlzLkNoYXJ0LkNoYXJ0RGF0YUVsZW1lbnRbXQIAAAAICAnNAQAABAAAAAYAAAABQAEAACQAAAAJzgEAAAQAAAAEAAAAAUEBAAAlAAAACdEAAAAAAAAAAAAAAAVI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8wAAAAoAAAAAAEBBCXAAAAAJcQAAAAnPAQAAAQAJ0AEAAAFJAQAAcgAAAAoKAAAAAP///wAOAAAAAAEBTQEAAKcAAAAJ0QEAAAEAAAABAAAAAU8BAABvAAAACdIBAAAKB1QBAAAAAQAAAAQAAAAEH0FwbG9yaXMuQmFzZS5PYmplY3RzLkRhdGFPYmplY3QDAAAACf4AAAANAwdVAQAAAAEAAAAEAAAABBxBcGxvcmlzLkJhc2UuVUkuVmlzdWFsT2JqZWN0AwAAAAkAAQAADQMBVgEAADMAAAAB0wEAACAAAAA8zORC+iAwQwHUAQAAmgAAAAEAAAAAAAAAAAAAAAAJ1QEAAAAAAAAJ1gEAAAAAAAHXAQAAowAAAAAAAAAB2AEAAGwAAAAAAPBBAACIQQHZAQAAFAAAAAAAAAAAAAAAAAAAAAAAAABeutk/BtoBAAADMzQlCgnbAQAACU4BAAA0AwAA/////wABCgncAQAAAQAKAQFZAQAAIgAAAAoKAAAAAAAoQQlwAAAACXEAAAAJ3QEAAAAACd4BAAABWgEAAHIAAAAKCgAAAAD///8ADgAAAAABAV4BAACnAAAACd8BAAABAAAAAQAAAAFfAQAAbwAAAAngAQAACgdgAQAAAAEAAAAEAAAABBxBcGxvcmlzLkJhc2UuVUkuVmlzdWFsT2JqZWN0AwAAAAkJAQAACVYBAAAKCgFhAQAAMwAAAAHhAQAAIAAAAHjChEMFLTdDAeIBAACaAAAAAQAAAAAAAAAAAAAAAAnjAQAAAAAAAAnkAQAAAAAAAeUBAACjAAAAAAAAAAHmAQAAbAAAAAAA8EEAAIhBAecBAAAUAAAAAAAAAAAAAAAAAAAAAAAAAF662T8G6AEAAAMzMiUKCekBAAAJTgEAADQDAAD/////AAEKCeoBAAABAAoBAWQBAAAiAAAACgoAAAAAAChBCXAAAAAJcQAAAAnrAQAAAAAJ7AEAAAFlAQAAcgAAAAoKAAAAAP///wAOAAAAAAEBaQEAAKcAAAAJ7QEAAAEAAAABAAAAAWoBAABvAAAACe4BAAAKB2sBAAAAAQAAAAQAAAAEHEFwbG9yaXMuQmFzZS5VSS5WaXN1YWxPYmplY3QDAAAACRABAAAJYQEAAAoKAWwBAAAzAAAAAe8BAAAgAAAA4VHQQxx8+0IB8AEAAJoAAAABAAAAAAAAAAAAAAAACfEBAAAAAAAACfIBAAAAAAAB8wEAAKMAAAAAAAAAAfQBAABsAAAAAADwQQAAiEEB9QEAABQAAAAAAAAAAAAAAAAAAAAAAAAAXrrZPwb2AQAAAzQ4JQoJ9wEAAAlOAQAANAMAAP////8AAQoJ+AEAAAEACgEBbwEAACIAAAAKCgAAAAAAKEEJcAAAAAlxAAAACfkBAAAAAAn6AQAAAXABAAByAAAACgoAAAAA////AA4AAAAAAQF0AQAApwAAAAn7AQAAAQAAAAEAAAABdQEAAG8AAAAJ/AEAAAoHdgEAAAABAAAABAAAAAQcQXBsb3Jpcy5CYXNlLlVJLlZpc3VhbE9iamVjdAMAAAAJFwEAAAlsAQAACgoBdwEAADMAAAAB/QEAACAAAACl8A1EBI2NQgH+AQAAmgAAAAEAAAAAAAAAAAAAAAAJ/wEAAAAAAAAJAAIAAAAAAAEBAgAAowAAAAAAAAABAgIAAGwAAAAAAPBBAACIQQEDAgAAFAAAAAAAAAAAAAAAAAAAAAAAAABeutk/BgQCAAADNjQlCgkFAgAACU4BAAA0AwAA/////wABCgkGAgAAAQAKAQF6AQAAIgAAAAoKAAAAAAAoQQlwAAAACXEAAAAJBwIAAAAACQgCAAABewEAAHIAAAAKCgAAAAD///8ADgAAAAABAX8BAACnAAAACQkCAAABAAAAAQAAAAGAAQAAbwAAAAkKAgAACgeBAQAAAAEAAAAEAAAABBxBcGxvcmlzLkJhc2UuVUkuVmlzdWFsT2JqZWN0AwAAAAkeAQAACXcBAAAKCgGEAQAAagAAAAoKAAAAQD8JCwIAAAkMAgAAAQAAAP7///8AAAAAAQAAAAAAAAAAAAAAAQAAAAAAAAAAAAABhQEAAG8AAAAJDQIAAAoBiAEAACIAAAAKCgAAAAAAKEEJcAAAAAlxAAAACQ4CAAAAAAkPAgAAAYkBAAByAAAACgoAAAAA////AA4AAAAAAQGOAQAApwAAAAkQAgAAAQAAAAEAAAABjwEAAG8AAAAJEQIAAAoHkAEAAAABAAAABAAAAAQcQXBsb3Jpcy5CYXNlLlVJLlZpc3VhbE9iamVjdAMAAAAJIQEAAAkiAQAACgoBkwEAAGoAAAAKCgAAAEA/CRICAAAJEwIAAAEAAAD+////AAAAAAEAAAAAAAAAAAAAAAEAAAAAAAAAAAAAAZQBAABvAAAACRQCAAAKAZcBAAAiAAAACgoAAAAAAChBCXAAAAAJcQAAAAkVAgAAAAAJFgIAAAGYAQAAcgAAAAoKAAAAAP///wAOAAAAAAEBnQEAAKcAAAAJFwIAAAEAAAADAAAAAZ4BAABvAAAACRgCAAAKB58BAAAAAQAAAAQAAAAEHEFwbG9yaXMuQmFzZS5VSS5WaXN1YWxPYmplY3QDAAAACScBAAAJKAEAAAoKAaIBAABqAAAACgoAAABAPwkZAgAACRoCAAABAAAA/v///wAAAAABAAAAAAAAAAAAAAABAAAAAAAAAAAAAAGjAQAAbwAAAAkbAgAACgGmAQAAIgAAAAoKAAAAAAAoQQlwAAAACXEAAAAJHAIAAAAACR0CAAABpwEAAHIAAAAKCgAAAAD///8ADgAAAAABAawBAACnAAAACR4CAAABAAAAAwAAAAGtAQAAbwAAAAkfAgAACgeuAQAAAAEAAAAEAAAABBxBcGxvcmlzLkJhc2UuVUkuVmlzdWFsT2JqZWN0AwAAAAktAQAACS4BAAAKCgGxAQAAagAAAAoKAAAAQD8JIAIAAAkhAgAAAQAAAP7///8AAAAAAQAAAAAAAAAAAAAAAQAAAAAAAAAAAAABsgEAAG8AAAAJIgIAAAoBtQEAACIAAAAKCgAAAAAAKEEJcAAAAAlxAAAACSMCAAAAAAkkAgAAAbYBAAByAAAACgoAAAAA////AA4AAAAAAQG7AQAApwAAAAklAgAAAQAAAAMAAAABvAEAAG8AAAAJJgIAAAoHvQEAAAABAAAABAAAAAQcQXBsb3Jpcy5CYXNlLlVJLlZpc3VhbE9iamVjdAMAAAAJMwEAAAk0AQAACgoBwAEAAGoAAAAKCgAAAEA/CScCAAAJKAIAAAEAAAD+////AAAAAAEAAAAAAAAAAAAAAAEAAAAAAAAAAAAAAcEBAABvAAAACSkCAAAKAcQBAAAiAAAACgoAAAAAAChBCXAAAAAJcQAAAAkqAgAAAAAJKwIAAAHFAQAAcgAAAAoKAAAAAP///wAOAAAAAAEBygEAAKcAAAAJLAIAAAEAAAADAAAAAcsBAABvAAAACS0CAAAKB8wBAAAAAQAAAAQAAAAEHEFwbG9yaXMuQmFzZS5VSS5WaXN1YWxPYmplY3QDAAAACTkBAAAJOgEAAAoKB80BAAAAAQAAAAgAAAAEHkFwbG9yaXMuQ2hhcnQuQ2hhcnREYXRhRWxlbWVudAIAAAAJLgIAAAkvAgAACTACAAAJMQIAAA0EB84BAAAAAQAAAAQAAAAEH0FwbG9yaXMuQmFzZS5PYmplY3RzLkRhdGFPYmplY3QDAAAACS8CAAAJMAIAAAkxAgAACS4CAAABzwEAAHIAAAAKCgAAAAAAAAAADQAAAAABAdABAAByAAAACgoBAAAAAAAAAP////8AAQfRAQAAAAEAAAAEAAAABB1BcGxvcmlzLkJhc2UuT2JqZWN0cy5WYXJpYWJsZQMAAAAFMgIAAB1BcGxvcmlzLkJhc2UuT2JqZWN0cy5WYXJpYWJsZQIAAAAGTnVtYmVyCFBvc2l0aW9uAAAICAMAAAABAAAAAAAAAAEzAgAAMgIAAAAAAAAAAAAAATQCAAAyAgAAAAAAAAAAAAABNQIAADICAAAAAAAAAAAAAA/SAQAAAQAAAAgAAAAABdU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QAAAAKAAAAAABAQQlwAAAACXEAAAAJNgIAAAEACTcCAAAB1gEAAHIAAAAKCgAAAAD///8ADgAAAAABAdsBAACnAAAACTgCAAABAAAAAwAAAAHcAQAAbwAAAAk5AgAACgHdAQAAcgAAAAoKAAAAAAAAAAANAAAAAAAB3gEAAHIAAAAKCgAAAAAAAAAADQAAAAABB98BAAAAAQAAAAQAAAAEHUFwbG9yaXMuQmFzZS5PYmplY3RzLlZhcmlhYmxlAwAAAAE6AgAAMgIAAAEAAAAAAAAAATsCAAAyAgAAAAAAAAAAAAABPAIAADICAAAAAAAAAAAAAAE9AgAAMgIAAAAAAAAAAAAAD+ABAAABAAAACBIAAAAF4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9QAAAAoAAAAAAEBBCXAAAAAJcQAAAAk+AgAAAQAJPwIAAAHkAQAAcgAAAAoKAAAAAP///wAOAAAAAAEB6QEAAKcAAAAJQAIAAAEAAAABAAAAAeoBAABvAAAACUECAAAKAesBAAByAAAACgoAAAAAAAAAAA0AAAAAAAHsAQAAcgAAAAoKAAAAAAAAAAANAAAAAAEH7QEAAAABAAAABAAAAAQdQXBsb3Jpcy5CYXNlLk9iamVjdHMuVmFyaWFibGUDAAAAAUICAAAyAgAAAQAAAAAAAAABQwIAADICAAAAAAAAAAAAAAFEAgAAMgIAAAAAAAAAAAAAAUUCAAAyAgAAAAAAAAAAAAAP7gEAAAEAAAAIFAAAAAXx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2AAAACgAAAAAAQEEJcAAAAAlxAAAACUYCAAABAAlHAgAAAfIBAAByAAAACgoAAAAA////AA4AAAAAAQH3AQAApwAAAAlIAgAAAQAAAAMAAAAB+AEAAG8AAAAJSQIAAAoB+QEAAHIAAAAKCgAAAAAAAAAADQAAAAAAAfoBAAByAAAACgoAAAAAAAAAAA0AAAAAAQf7AQAAAAEAAAAEAAAABB1BcGxvcmlzLkJhc2UuT2JqZWN0cy5WYXJpYWJsZQMAAAABSgIAADICAAABAAAAAAAAAAFLAgAAMgIAAAAAAAAAAAAAAUwCAAAyAgAAAAAAAAAAAAABTQIAADICAAAAAAAAAAAAAA/8AQAAAQAAAAgTAAAABf8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TgIAAAEACU8CAAABAAIAAHIAAAAKCgAAAAD///8ADgAAAAABAQUCAACnAAAACVACAAABAAAAAwAAAAEGAgAAbwAAAAlRAgAACgEHAgAAcgAAAAoKAAAAAAAAAAANAAAAAAABCAIAAHIAAAAKCgAAAAAAAAAADQAAAAABBwkCAAAAAQAAAAQAAAAEHUFwbG9yaXMuQmFzZS5PYmplY3RzLlZhcmlhYmxlAwAAAAFSAgAAMgIAAAEAAAAAAAAAAVMCAAAyAgAAAAAAAAAAAAABVAIAADICAAAAAAAAAAAAAAFVAgAAMgIAAAAAAAAAAAAADwoCAAABAAAACBEAAAABCwIAAHIAAAAKCgAAAAAAAAAADQAAAAAABQwCAAAaQXBsb3Jpcy5CYXNlLk9iamVjdHMuQ29sb3IHAAAAEkRhdGFPYmplY3QrbVBhcmVudBVEYXRhT2JqZWN0K21Db250YWluZXIFbVR5cGUEbVJHQhBtVGhlbWVDb2xvckluZGV4DG1BdXRvVXBkYXRlZAltTW9kaWZpZWQEAgAAAAAAH0FwbG9yaXMuQmFzZS5PYmplY3RzLkxpbmVGb3JtYXQDAAAACAgIAQEDAAAACYQBAAAKAQAAAAAAAAD/////AAEPDQIAAAEAAAAIHAAAAAEOAgAAcgAAAAoKAAAAAAAAAAANAAAAAAABDwIAAHIAAAAKCgAAAAAAAAAADQAAAAABBxACAAAAAQAAAAQAAAAEHUFwbG9yaXMuQmFzZS5PYmplY3RzLlZhcmlhYmxlAwAAAAFWAgAAMgIAAAEAAAAAAAAAAVcCAAAyAgAAAAAAAAAAAAABWAIAADICAAAAAAAAAAAAAAFZAgAAMgIAAAAAAAAAAAAADxECAAABAAAACA4AAAABEgIAAHIAAAAKCgAAAAAAAAAADQAAAAAABRMCAAAaQXBsb3Jpcy5CYXNlLk9iamVjdHMuQ29sb3IHAAAAEkRhdGFPYmplY3QrbVBhcmVudBVEYXRhT2JqZWN0K21Db250YWluZXIFbVR5cGUEbVJHQhBtVGhlbWVDb2xvckluZGV4DG1BdXRvVXBkYXRlZAltTW9kaWZpZWQEAgAAAAAAH0FwbG9yaXMuQmFzZS5PYmplY3RzLkxpbmVGb3JtYXQDAAAACAgIAQEDAAAACZMBAAAKAQAAAAAAAAD/////AAEPFAIAAAEAAAAIHQAAAAEVAgAAcgAAAAoKAAAAAAAAAAANAAAAAAABFgIAAHIAAAAKCgAAAAAAAAAADQAAAAABBxcCAAAAAQAAAAQAAAAEHUFwbG9yaXMuQmFzZS5PYmplY3RzLlZhcmlhYmxlAwAAAAFaAgAAMgIAAAEAAAAAAAAAAVsCAAAyAgAAAAAAAAAAAAABXAIAADICAAAAAAAAAAAAAAFdAgAAMgIAAAAAAAAAAAAADxgCAAABAAAACA0AAAABGQIAAHIAAAAKCgAAAAAAAAAADQAAAAAABRoCAAAaQXBsb3Jpcy5CYXNlLk9iamVjdHMuQ29sb3IHAAAAEkRhdGFPYmplY3QrbVBhcmVudBVEYXRhT2JqZWN0K21Db250YWluZXIFbVR5cGUEbVJHQhBtVGhlbWVDb2xvckluZGV4DG1BdXRvVXBkYXRlZAltTW9kaWZpZWQEAgAAAAAAH0FwbG9yaXMuQmFzZS5PYmplY3RzLkxpbmVGb3JtYXQDAAAACAgIAQEDAAAACaIBAAAKAQAAAAAAAAD/////AAEPGwIAAAEAAAAIHwAAAAEcAgAAcgAAAAoKAAAAAAAAAAANAAAAAAABHQIAAHIAAAAKCgAAAAAAAAAADQAAAAABBx4CAAAAAQAAAAQAAAAEHUFwbG9yaXMuQmFzZS5PYmplY3RzLlZhcmlhYmxlAwAAAAFeAgAAMgIAAAEAAAAAAAAAAV8CAAAyAgAAAAAAAAAAAAABYAIAADICAAAAAAAAAAAAAAFhAgAAMgIAAAAAAAAAAAAADx8CAAABAAAACAwAAAABIAIAAHIAAAAKCgAAAAAAAAAADQAAAAAABSECAAAaQXBsb3Jpcy5CYXNlLk9iamVjdHMuQ29sb3IHAAAAEkRhdGFPYmplY3QrbVBhcmVudBVEYXRhT2JqZWN0K21Db250YWluZXIFbVR5cGUEbVJHQhBtVGhlbWVDb2xvckluZGV4DG1BdXRvVXBkYXRlZAltTW9kaWZpZWQEAgAAAAAAH0FwbG9yaXMuQmFzZS5PYmplY3RzLkxpbmVGb3JtYXQDAAAACAgIAQEDAAAACbEBAAAKAQAAAAAAAAD/////AAEPIgIAAAEAAAAIHgAAAAEjAgAAcgAAAAoKAAAAAAAAAAANAAAAAAABJAIAAHIAAAAKCgAAAAAAAAAADQAAAAABByUCAAAAAQAAAAQAAAAEHUFwbG9yaXMuQmFzZS5PYmplY3RzLlZhcmlhYmxlAwAAAAFiAgAAMgIAAAEAAAAAAAAAAWMCAAAyAgAAAAAAAAAAAAABZAIAADICAAAAAAAAAAAAAAFlAgAAMgIAAAAAAAAAAAAADyYCAAABAAAACA8AAAABJwIAAHIAAAAKCgAAAAAAAAAADQAAAAAABSgCAAAaQXBsb3Jpcy5CYXNlLk9iamVjdHMuQ29sb3IHAAAAEkRhdGFPYmplY3QrbVBhcmVudBVEYXRhT2JqZWN0K21Db250YWluZXIFbVR5cGUEbVJHQhBtVGhlbWVDb2xvckluZGV4DG1BdXRvVXBkYXRlZAltTW9kaWZpZWQEAgAAAAAAH0FwbG9yaXMuQmFzZS5PYmplY3RzLkxpbmVGb3JtYXQDAAAACAgIAQEDAAAACcABAAAKAQAAAAAAAAD/////AAEPKQIAAAEAAAAIGwAAAAEqAgAAcgAAAAoKAAAAAAAAAAANAAAAAAABKwIAAHIAAAAKCgAAAAAAAAAADQAAAAABBywCAAAAAQAAAAQAAAAEHUFwbG9yaXMuQmFzZS5PYmplY3RzLlZhcmlhYmxlAwAAAAFmAgAAMgIAAAEAAAAAAAAAAWcCAAAyAgAAAAAAAAAAAAABaAIAADICAAAAAAAAAAAAAAFpAgAAMgIAAAAAAAAAAAAADy0CAAABAAAACBAAAAAFLgI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lqAgAACWsCAAAKCWwCAAAKCfMAAAAIBhkEVg4tstU/CgAAAAAJbQIAAAluAgAAAAAAAAAJbwIAAAnzAAAACQEAAAAJcAIAAAEvAgAALgIAAAlxAgAACXICAAAKCXMCAAAKCfMAAAAIBtEi2/l+atQ/CgEAAAAJdAIAAAl1AgAAAAAAAAAJdgIAAAnzAAAACQEAAAAJdwIAAAEwAgAALgIAAAl4AgAACXkCAAAKCXoCAAAKCfMAAAAIBgwCK4cW2d4/CgIAAAAJewIAAAl8AgAAAAAAAAAJfQIAAAnzAAAACQEAAAAJfgIAAAExAgAALgIAAAl/AgAACYACAAAKCYECAAAKCfMAAAAIBtEi2/l+auQ/CgMAAAAJggIAAAmDAgAAAAAAAAAJhAIAAAnzAAAACQEAAAAJhQIAAAE2AgAAcgAAAAoKAAAAAAAAAAANAAAAAAEBNwIAAHIAAAAKCgEAAAAAAAAA/////wABBzgCAAAAAQAAAAQAAAAEHUFwbG9yaXMuQmFzZS5PYmplY3RzLlZhcmlhYmxlAwAAAAGGAgAAMgIAAAEAAAAAAAAAAYcCAAAyAgAAAAAAAAAAAAABiAIAADICAAAAAAAAAAAAAAGJAgAAMgIAAAAAAAAAAAAADzkCAAABAAAACAAAAAABPgIAAHIAAAAKCgAAAAAAAAAADQAAAAABAT8CAAByAAAACgoBAAAAAAAAAP////8AAQdAAgAAAAEAAAAEAAAABB1BcGxvcmlzLkJhc2UuT2JqZWN0cy5WYXJpYWJsZQMAAAABigIAADICAAABAAAAAAAAAAGLAgAAMgIAAAAAAAAAAAAAAYwCAAAyAgAAAAAAAAAAAAABjQIAADICAAAAAAAAAAAAAA9BAgAAAQAAAAgAAAAAAUYCAAByAAAACgoAAAAAAAAAAA0AAAAAAQFHAgAAcgAAAAoKAQAAAAAAAAD/////AAEHSAIAAAABAAAABAAAAAQdQXBsb3Jpcy5CYXNlLk9iamVjdHMuVmFyaWFibGUDAAAAAY4CAAAyAgAAAQAAAAAAAAABjwIAADICAAAAAAAAAAAAAAGQAgAAMgIAAAAAAAAAAAAAAZECAAAyAgAAAAAAAAAAAAAPSQIAAAEAAAAIAAAAAAFOAgAAcgAAAAoKAAAAAAAAAAANAAAAAAEBTwIAAHIAAAAKCgEAAAAAAAAA/////wABB1ACAAAAAQAAAAQAAAAEHUFwbG9yaXMuQmFzZS5PYmplY3RzLlZhcmlhYmxlAwAAAAGSAgAAMgIAAAEAAAAAAAAAAZMCAAAyAgAAAAAAAAAAAAABlAIAADICAAAAAAAAAAAAAAGVAgAAMgIAAAAAAAAAAAAAD1ECAAABAAAACAAAAAABagIAAAABAAAKWAIAAAGWAgAAQgEAAAIAAAABlwIAAEMBAAABAAAAAZgCAAAUAAAA+ViMQvogNkOH5rBCHOXiQgGZAgAARQEAAAAAAAAAAKBAAAGaAgAAIAAAADzM5EJB2m5DAZsCAACaAAAAAAAAAAAAAAAAAAAAAAmcAgAAAAAAAAmdAgAAAAAAAZ4CAACjAAAAAAAAAAGfAgAAbAAAAAAA2EEAAHBBAaACAAAUAAAAsBPLQsROaEPE971BiZ04QRKDvj8GoQIAAAMzNCUKCaICAAAJTgEAADQDAAD/////AQEKCaMCAAABAAoBAWsCAAAbAAAAAaQCAAAgAAAA+ViGQsRJlUMBpQIAACAAAADAnyFD+iAzQwmmAgAACacCAAAAAAAACgGoAgAAbAAAAAAAAAAAAAAAAakCAABsAAAAAAAAAAAAAAAAAAAAAaoCAAAUAAAAAAAAAAAAAAAAAAAAAAAAAKQBAAD/////AQEKCasCAAABAAoBB2wCAAAAAQAAAAIAAAAEGkFwbG9yaXMuQmFzZS5VSS5WaXN1YWxMaW5lAwAAAAoKB20CAAAAAQAAAAMAAAAEFVN5c3RlbS5EcmF3aW5nLlBvaW50RgQAAAABrAIAACAAAAA8zORCQdpuQwGtAgAAIAAAAPlYgEJB2m5DAa4CAAAgAAAAwJ8kQ0HabkMHbgIAAAABAAAAAwAAAAQXQXBsb3Jpcy5CYXNlLkFuY2hvck1vZGUDAAAAAa8CAACaAAAAAAAAAAGwAgAAmgAAAAIAAAABsQIAAJoAAAAEAAAAAW8CAAAkAAAACdMAAAAAAAAAAAAAAAFwAgAAJQAAAAmyAgAAAgAAAAIAAAABcQIAAAABAAAKWAIAAAGzAgAAQgEAAAIAAAABtAIAAEMBAAABAAAAAbUCAAAUAAAATktdQwUtPUOI5rBCBs3UQgG2AgAARQEAAAAAAAAAAKBAAAG3AgAAIAAAAHjChENGYHJDAbgCAACaAAAAAAAAAAAAAAAAAAAAAAm5AgAAAAAAAAm6AgAAAAAAAbsCAACjAAAAAAAAAAG8AgAAbAAAAAAA2EEAAHBBAb0CAAAUAAAAxE58Q3Via0PE971BiZ04QRKDvj8GvgIAAAMzMiUKCb8CAAAJTgEAADQDAAD/////AQEKCcACAAABAAoBAXICAAAbAAAAAcECAAAgAAAATktaQ8RJlUMBwgIAACAAAABJX5xDBS06QwnDAgAACcQCAAAAAAAACgHFAgAAbAAAAAAAAAAAAAAAAcYCAABsAAAAAAAAAAAAAAAAAAAAAccCAAAUAAAAAAAAAAAAAAAAAAAAAAAAAKQBAAD/////AQEKCcgCAAABAAoBB3MCAAAAAQAAAAIAAAAEGkFwbG9yaXMuQmFzZS5VSS5WaXN1YWxMaW5lAwAAAAoKB3QCAAAAAQAAAAMAAAAEFVN5c3RlbS5EcmF3aW5nLlBvaW50RgQAAAAByQIAACAAAAB4woRDRmByQwHKAgAAIAAAAE5LV0NGYHJDAcsCAAAgAAAASd+dQ0ZgckMHdQIAAAABAAAAAwAAAAQXQXBsb3Jpcy5CYXNlLkFuY2hvck1vZGUDAAAAAcwCAACaAAAAAAAAAAHNAgAAmgAAAAIAAAABzgIAAJoAAAAEAAAAAXYCAAAkAAAACdMAAAAAAAAAAAAAAAF3AgAAJQAAAAnPAgAAAgAAAAIAAAABeAIAAAABAAAKWAIAAAHQAgAAQgEAAAIAAAAB0QIAAEMBAAABAAAAAdICAAAUAAAAEDW6Qw6+A0OI5rBCetUjQwHTAgAARQEAAAAAAAAAAKBAAAHUAgAAIAAAAOFR0EPLqFVDAdUCAACaAAAAAAAAAAAAAAAAAAAAAAnWAgAAAAAAAAnXAgAAAAAAAdgCAACjAAAAAAAAAAHZAgAAbAAAAAAA2EEAAHBBAdoCAAAUAAAATuzJQ07sTkPE971BiZ04QRKDvj8G2wIAAAM0OCUKCdwCAAAJTgEAADQDAAD/////AQEKCd0CAAABAAoBAXkCAAAbAAAAAd4CAAAgAAAAELW4Q8RJlUMB3wIAACAAAACy7udDDr4AQwngAgAACeECAAAAAAAACgHiAgAAbAAAAAAAAAAAAAAAAeMCAABsAAAAAAAAAAAAAAAAAAAAAeQCAAAUAAAAAAAAAAAAAAAAAAAAAAAAAKQBAAD/////AQEKCeUCAAABAAoBB3oCAAAAAQAAAAIAAAAEGkFwbG9yaXMuQmFzZS5VSS5WaXN1YWxMaW5lAwAAAAoKB3sCAAAAAQAAAAMAAAAEFVN5c3RlbS5EcmF3aW5nLlBvaW50RgQAAAAB5gIAACAAAADhUdBDy6hVQwHnAgAAIAAAABA1t0PLqFVDAegCAAAgAAAAsm7pQ8uoVUMHfAIAAAABAAAAAwAAAAQXQXBsb3Jpcy5CYXNlLkFuY2hvck1vZGUDAAAAAekCAACaAAAAAAAAAAHqAgAAmgAAAAIAAAAB6wIAAJoAAAAEAAAAAX0CAAAkAAAACdMAAAAAAAAAAAAAAAF+AgAAJQAAAAnsAgAAAgAAAAIAAAABfwIAAAABAAAKWAIAAAHtAgAAQgEAAAIAAAAB7gIAAEMBAAABAAAAAe8CAAAUAAAAPeICRASNmUKA5rBCBs1aQwHwAgAARQEAAAAAAAAAAKBAAAHxAgAAIAAAAKXwDUQFLTpDAfICAACaAAAAAAAAAAAAAAAAAAAAAAnzAgAAAAAAAAn0AgAAAAAAAfUCAACjAAAAAAAAAAH2AgAAbAAAAAAA2EEAAHBBAfcCAAAUAAAAYqcKRBM7M0PE971BiZ04QRKDvj8G+AIAAAM2NCUKCfkCAAAJTgEAADQDAAD/////AQEKCfoCAAABAAoBAYACAAAbAAAAAfsCAAAgAAAAPSICRMRJlUMB/AIAACAAAAANvxlEBI2TQgn9AgAACf4CAAAAAAAACgH/AgAAbAAAAAAAAAAAAAAAAQADAABsAAAAAAAAAAAAAAAAAAAAAQEDAAAUAAAAAAAAAAAAAAAAAAAAAAAAAKQBAAD/////AQEKCQIDAAABAAoBB4ECAAAAAQAAAAIAAAAEGkFwbG9yaXMuQmFzZS5VSS5WaXN1YWxMaW5lAwAAAAoKB4ICAAAAAQAAAAMAAAAEFVN5c3RlbS5EcmF3aW5nLlBvaW50RgQAAAABAwMAACAAAACl8A1EBS06QwEEAwAAIAAAAD1iAUQFLTpDAQUDAAAgAAAADX8aRAUtOkMHgwIAAAABAAAAAwAAAAQXQXBsb3Jpcy5CYXNlLkFuY2hvck1vZGUDAAAAAQYDAACaAAAAAAAAAAEHAwAAmgAAAAIAAAABCAMAAJoAAAAEAAAAAYQCAAAkAAAACdMAAAAAAAAAAAAAAAGFAgAAJQAAAAkJAwAAAgAAAAIAAAABnAIAACIAAAAKCgAAAAAAKEEJcAAAAAlxAAAACQoDAAAAAAkLAwAAAZ0CAAByAAAACgoAAAAA7SElAAcAAAAAAQGiAgAApwAAAAkMAwAAAQAAAAMAAAABowIAAG8AAAAJDQMAAAoBpgIAAGoAAAAKCgAAAEA/CQ4DAAAJDwMAAAEAAAD+////AAAAAAEAAAAAAAAAAAAAAAEAAAAAAAAAAAAAAacCAABrAAAACgoJEAMAAAkRAwAAAQAAAP7///8AAAAA/////wAAAasCAABvAAAACRIDAAAKB7ICAAAAAQAAAAQAAAAEHEFwbG9yaXMuQmFzZS5VSS5WaXN1YWxPYmplY3QDAAAACWsCAAAJagIAAAoKAbkCAAAiAAAACgoAAAAAAChBCXAAAAAJcQAAAAkTAwAAAAAJFAMAAAG6AgAAcgAAAAoKAAAAAPeUHgAKAAAAAAEBvwIAAKcAAAAJFQMAAAEAAAADAAAAAcACAABvAAAACRYDAAAKAcMCAABqAAAACgoAAABAPwkXAwAACRgDAAABAAAA/v///wAAAAABAAAAAAAAAAAAAAABAAAAAAAAAAAAAAHEAgAAawAAAAoKCRkDAAAJGgMAAAEAAAD+////AAAAAP////8AAAHIAgAAbwAAAAkbAwAACgfPAgAAAAEAAAAEAAAABBxBcGxvcmlzLkJhc2UuVUkuVmlzdWFsT2JqZWN0AwAAAAlyAgAACXECAAAKCgHWAgAAIgAAAAoKAAAAAAAoQQlwAAAACXEAAAAJHAMAAAAACR0DAAAB1wIAAHIAAAAKCgAAAAA2bIcABQAAAAABAdwCAACnAAAACR4DAAABAAAAAwAAAAHdAgAAbwAAAAkfAwAACgHgAgAAagAAAAoKAAAAQD8JIAMAAAkhAwAAAQAAAP7///8AAAAAAQAAAAAAAAAAAAAAAQAAAAAAAAAAAAAB4QIAAGsAAAAKCgkiAwAACSMDAAABAAAA/v///wAAAAD/////AQAB5QIAAG8AAAAJJAMAAAoH7AIAAAABAAAABAAAAAQcQXBsb3Jpcy5CYXNlLlVJLlZpc3VhbE9iamVjdAMAAAAJeQIAAAl4AgAACgoB8wIAACIAAAAKCgAAAAAAKEEJcAAAAAlxAAAACSUDAAAAAAkmAwAAAfQCAAByAAAACgoAAAAAw5h0AAkAAAAAAQH5AgAApwAAAAknAwAAAQAAAAMAAAAB+gIAAG8AAAAJKAMAAAoB/QIAAGoAAAAKCgAAAEA/CSkDAAAJKgMAAAEAAAD+////AAAAAAEAAAAAAAAAAAAAAAEAAAAAAAAAAAAAAf4CAABrAAAACgoJKwMAAAksAwAAAQAAAP7///8AAAAA/////wAAAQIDAABvAAAACS0DAAAKBwkDAAAAAQAAAAQAAAAEHEFwbG9yaXMuQmFzZS5VSS5WaXN1YWxPYmplY3QDAAAACYACAAAJfwIAAAoKAQoDAAByAAAACgoAAAAA////AA4AAAAAAAELAwAAcgAAAAoKAAAAAP///wAOAAAAAAEHDAMAAAABAAAABAAAAAQdQXBsb3Jpcy5CYXNlLk9iamVjdHMuVmFyaWFibGUDAAAAAS4DAAAyAgAAAQAAAAAAAAABLwMAADICAAAAAAAAAAAAAAEwAwAAMgIAAAAAAAAAAAAAATEDAAAyAgAAAAAAAAAAAAAPDQMAAAEAAAAIFgAAAAUOAwAAGkFwbG9yaXMuQmFzZS5PYmplY3RzLkNvbG9yBwAAABJEYXRhT2JqZWN0K21QYXJlbnQVRGF0YU9iamVjdCttQ29udGFpbmVyBW1UeXBlBG1SR0IQbVRoZW1lQ29sb3JJbmRleAxtQXV0b1VwZGF0ZWQJbU1vZGlmaWVkBAIAAAAAAB9BcGxvcmlzLkJhc2UuT2JqZWN0cy5MaW5lRm9ybWF0AwAAAAgICAEBAwAAAAmmAgAACgAAAAD///8ADgAAAAAABQ8DAAAaQXBsb3Jpcy5CYXNlLk9iamVjdHMuQ29sb3IHAAAAEkRhdGFPYmplY3QrbVBhcmVudBVEYXRhT2JqZWN0K21Db250YWluZXIFbVR5cGUEbVJHQhBtVGhlbWVDb2xvckluZGV4DG1BdXRvVXBkYXRlZAltTW9kaWZpZWQEAgAAAAAAH0FwbG9yaXMuQmFzZS5PYmplY3RzLkxpbmVGb3JtYXQDAAAACAgIAQEDAAAACaYCAAAKAQAAAAAAAAD/////AAEBEAMAAHIAAAAKCgAAAADtISUABwAAAAAAAREDAAByAAAACgoBAAAA////AP////8AAA8SAwAAAQAAAAgDAAAAARMDAAByAAAACgoAAAAAAAAAAA0AAAAAAAEUAwAAcgAAAAoKAAAAAAAAAAANAAAAAAEHFQMAAAABAAAABAAAAAQdQXBsb3Jpcy5CYXNlLk9iamVjdHMuVmFyaWFibGUDAAAAATIDAAAyAgAAAQAAAAAAAAABMwMAADICAAAAAAAAAAAAAAE0AwAAMgIAAAAAAAAAAAAAATUDAAAyAgAAAAAAAAAAAAAPFgMAAAEAAAAIFwAAAAUXAwAAGkFwbG9yaXMuQmFzZS5PYmplY3RzLkNvbG9yBwAAABJEYXRhT2JqZWN0K21QYXJlbnQVRGF0YU9iamVjdCttQ29udGFpbmVyBW1UeXBlBG1SR0IQbVRoZW1lQ29sb3JJbmRleAxtQXV0b1VwZGF0ZWQJbU1vZGlmaWVkBAIAAAAAAB9BcGxvcmlzLkJhc2UuT2JqZWN0cy5MaW5lRm9ybWF0AwAAAAgICAEBAwAAAAnDAgAACgAAAAD///8ADgAAAAAABRgDAAAaQXBsb3Jpcy5CYXNlLk9iamVjdHMuQ29sb3IHAAAAEkRhdGFPYmplY3QrbVBhcmVudBVEYXRhT2JqZWN0K21Db250YWluZXIFbVR5cGUEbVJHQhBtVGhlbWVDb2xvckluZGV4DG1BdXRvVXBkYXRlZAltTW9kaWZpZWQEAgAAAAAAH0FwbG9yaXMuQmFzZS5PYmplY3RzLkxpbmVGb3JtYXQDAAAACAgIAQEDAAAACcMCAAAKAQAAAAAAAAD/////AAEBGQMAAHIAAAAKCgAAAAD3lB4ACgAAAAAAARoDAAByAAAACgoBAAAA////AP////8AAA8bAwAAAQAAAAgEAAAAARwDAAByAAAACgoAAAAA////AA4AAAAAAAEdAwAAcgAAAAoKAAAAAP///wAOAAAAAAEHHgMAAAABAAAABAAAAAQdQXBsb3Jpcy5CYXNlLk9iamVjdHMuVmFyaWFibGUDAAAAATYDAAAyAgAAAQAAAAAAAAABNwMAADICAAAAAAAAAAAAAAE4AwAAMgIAAAAAAAAAAAAAATkDAAAyAgAAAAAAAAAAAAAPHwMAAAEAAAAIGAAAAAUgAwAAGkFwbG9yaXMuQmFzZS5PYmplY3RzLkNvbG9yBwAAABJEYXRhT2JqZWN0K21QYXJlbnQVRGF0YU9iamVjdCttQ29udGFpbmVyBW1UeXBlBG1SR0IQbVRoZW1lQ29sb3JJbmRleAxtQXV0b1VwZGF0ZWQJbU1vZGlmaWVkBAIAAAAAAB9BcGxvcmlzLkJhc2UuT2JqZWN0cy5MaW5lRm9ybWF0AwAAAAgICAEBAwAAAAngAgAACgAAAAD///8ADgAAAAAABSEDAAAaQXBsb3Jpcy5CYXNlLk9iamVjdHMuQ29sb3IHAAAAEkRhdGFPYmplY3QrbVBhcmVudBVEYXRhT2JqZWN0K21Db250YWluZXIFbVR5cGUEbVJHQhBtVGhlbWVDb2xvckluZGV4DG1BdXRvVXBkYXRlZAltTW9kaWZpZWQEAgAAAAAAH0FwbG9yaXMuQmFzZS5PYmplY3RzLkxpbmVGb3JtYXQDAAAACAgIAQEDAAAACeACAAAKAQAAAAAAAAD/////AAEBIgMAAHIAAAAKCgAAAAA2bIcABQAAAAAAASMDAAByAAAACgoBAAAA////AP////8AAA8kAwAAAQAAAAgBAAAAASUDAAByAAAACgoAAAAAAAAAAA0AAAAAAAEmAwAAcgAAAAoKAAAAAAAAAAANAAAAAAEHJwMAAAABAAAABAAAAAQdQXBsb3Jpcy5CYXNlLk9iamVjdHMuVmFyaWFibGUDAAAAAToDAAAyAgAAAQAAAAAAAAABOwMAADICAAAAAAAAAAAAAAE8AwAAMgIAAAAAAAAAAAAAAT0DAAAyAgAAAAAAAAAAAAAPKAMAAAEAAAAIFQAAAAUpAwAAGkFwbG9yaXMuQmFzZS5PYmplY3RzLkNvbG9yBwAAABJEYXRhT2JqZWN0K21QYXJlbnQVRGF0YU9iamVjdCttQ29udGFpbmVyBW1UeXBlBG1SR0IQbVRoZW1lQ29sb3JJbmRleAxtQXV0b1VwZGF0ZWQJbU1vZGlmaWVkBAIAAAAAAB9BcGxvcmlzLkJhc2UuT2JqZWN0cy5MaW5lRm9ybWF0AwAAAAgICAEBAwAAAAn9AgAACgAAAAD///8ADgAAAAAABSoDAAAaQXBsb3Jpcy5CYXNlLk9iamVjdHMuQ29sb3IHAAAAEkRhdGFPYmplY3QrbVBhcmVudBVEYXRhT2JqZWN0K21Db250YWluZXIFbVR5cGUEbVJHQhBtVGhlbWVDb2xvckluZGV4DG1BdXRvVXBkYXRlZAltTW9kaWZpZWQEAgAAAAAAH0FwbG9yaXMuQmFzZS5PYmplY3RzLkxpbmVGb3JtYXQDAAAACAgIAQEDAAAACf0CAAAKAQAAAAAAAAD/////AAEBKwMAAHIAAAAKCgAAAADDmHQACQAAAAAAASwDAAByAAAACgoBAAAA////AP////8AAA8tAwAAAQAAAAgCAAAACw==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4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3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4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5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6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7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8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9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30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31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8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3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4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5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6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7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8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19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6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3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RbJSSDS6nHNneRH/.2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6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58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3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aGTwIBiSGm9HIAq.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UefTNirOAWYq66CP.4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1"/>
  <p:tag name="APLORISCONTAINERTAG" val="AAEAAAD/////AQAAAAAAAAAMAgAAAAxBcGxvcmlzLkJhc2UFAQAAAClBcGxvcmlzLkJhc2UuT2JqZWN0cy5Db250YWluZXJWZXJzaW9uSW5mbwIAAAANUmVxdWlyZWRCdWlsZAlVc2VkQnVpbGQAAAgIAgAAAHgFAAB0Bw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wOCwgQ3VsdHVyZT1uZXV0cmFsLCBQdWJsaWNLZXlUb2tlbj0xNmZjMTNhMjI2YzBlOTUxXV2oAVN5c3RlbS5Db2xsZWN0aW9ucy5HZW5lcmljLkxpc3RgMVtbQXBsb3Jpcy5DaGFydC5Db2x1bW5PcmllbnRlZENoYXJ0K1VudXNlZFNlcmllcywgQXBsb3Jpcy5DaGFydCwgVmVyc2lvbj00LjIuMC4xOTA4LCBDdWx0dXJlPW5ldXRyYWwsIFB1YmxpY0tleVRva2VuPTE2ZmMxM2EyMjZjMGU5NTFdXaEBQXBsb3Jpcy5CYXNlLk9iamVjdHMuRGF0YU9iamVjdENvbGxlY3Rpb25gMVtbQXBsb3Jpcy5DaGFydC5DaGFydERhdGFTZXJpZXMsIEFwbG9yaXMuQ2hhcnQsIFZlcnNpb249NC4yLjAuMTkwOCwgQ3VsdHVyZT1uZXV0cmFsLCBQdWJsaWNLZXlUb2tlbj0xNmZjMTNhMjI2YzBlOTUxXV0DAAAApgFBcGxvcmlzLkJhc2UuT2JqZWN0cy5EYXRhT2JqZWN0Q29sbGVjdGlvbmAxW1tBcGxvcmlzLkNoYXJ0LkFubm90YXRpb25EYXRhU2VyaWVzLCBBcGxvcmlzLkNoYXJ0LCBWZXJzaW9uPTQuMi4wLjE5MDgsIEN1bHR1cmU9bmV1dHJhbCwgUHVibGljS2V5VG9rZW49MTZmYzEzYTIyNmMwZTk1MV1dAwAAAKEBQXBsb3Jpcy5CYXNlLk9iamVjdHMuRGF0YU9iamVjdENvbGxlY3Rpb25gMVtbQXBsb3Jpcy5DaGFydC5Bbm5vdGF0aW9uR3JvdXAsIEFwbG9yaXMuQ2hhcnQsIFZlcnNpb249NC4yLjAuMTkwOCwgQ3VsdHVyZT1uZXV0cmFsLCBQdWJsaWNLZXlUb2tlbj0xNmZjMTNhMjI2YzBlOTUxXV0DAAAAoAFBcGxvcmlzLkJhc2UuT2JqZWN0cy5EYXRhT2JqZWN0Q29sbGVjdGlvbmAxW1tBcGxvcmlzLkNoYXJ0LkNoYXJ0RGF0YUdyb3VwLCBBcGxvcmlzLkNoYXJ0LCBWZXJzaW9uPTQuMi4wLjE5MDgsIEN1bHR1cmU9bmV1dHJhbCwgUHVibGljS2V5VG9rZW49MTZmYzEzYTIyNmMwZTk1MV1dAwAAAJoBQXBsb3Jpcy5CYXNlLk9iamVjdHMuRGF0YU9iamVjdENvbGxlY3Rpb25gMVtbQXBsb3Jpcy5DaGFydC5EZWx0YUJhciwgQXBsb3Jpcy5DaGFydCwgVmVyc2lvbj00LjIuMC4xOTA4LCBDdWx0dXJlPW5ldXRyYWwsIFB1YmxpY0tleVRva2VuPTE2ZmMxM2EyMjZjMGU5NTFdXQMAAACdAUFwbG9yaXMuQmFzZS5PYmplY3RzLkRhdGFPYmplY3RDb2xsZWN0aW9uYDFbW0FwbG9yaXMuQ2hhcnQuRGVsdGFCcmlkZ2UsIEFwbG9yaXMuQ2hhcnQsIFZlcnNpb249NC4yLjAuMTkwOCwgQ3VsdHVyZT1uZXV0cmFsLCBQdWJsaWNLZXlUb2tlbj0xNmZjMTNhMjI2YzBlOTUxXV0DAAAAnQFBcGxvcmlzLkJhc2UuT2JqZWN0cy5EYXRhT2JqZWN0Q29sbGVjdGlvbmAxW1tBcGxvcmlzLkNoYXJ0Lkdyb3d0aEFycm93LCBBcGxvcmlzLkNoYXJ0LCBWZXJzaW9uPTQuMi4wLjE5MDgsIEN1bHR1cmU9bmV1dHJhbCwgUHVibGljS2V5VG9rZW49MTZmYzEzYTIyNmMwZTk1MV1dAwAAAKQBQXBsb3Jpcy5CYXNlLk9iamVjdHMuRGF0YU9iamVjdENvbGxlY3Rpb25gMVtbQXBsb3Jpcy5DaGFydC5XYXRlcmZhbGxDb25uZWN0b3IsIEFwbG9yaXMuQ2hhcnQsIFZlcnNpb249NC4yLjAuMTkwOCwgQ3VsdHVyZT1uZXV0cmFsLCBQdWJsaWNLZXlUb2tlbj0xNmZjMTNhMjI2YzBlOTUxXV0DAAAAogFBcGxvcmlzLkJhc2UuT2JqZWN0cy5EYXRhT2JqZWN0Q29sbGVjdGlvbmAxW1tBcGxvcmlzLkNoYXJ0LkVsZW1lbnRDb25uZWN0b3IsIEFwbG9yaXMuQ2hhcnQsIFZlcnNpb249NC4yLjAuMTkwO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EAAAAABRMAAAAYQXBsb3Jpcy5DaGFydC5TZXJpZXNUeXBlAQAAAAd2YWx1ZV9fAAgCAAAAAAAAAAkUAAAAAAAFFQAAABlTeXN0ZW0uRHJhd2luZy5SZWN0YW5nbGVGBAAAAAF4AXkFd2lkdGgGaGVpZ2h0AAAAAAsLCwsEAAAA//9/////f////3////9//wEWAAAAFQAAAP//f////3////9/////f/8AAAAAAAUXAAAALEFwbG9yaXMuQ2hhcnQuQXhpc0JyZWFrK0F4aXNCcmVha0Rpc3BsYXlNb2RlAQAAAAd2YWx1ZV9fAAgCAAAAAQAAAAEBAQoKCRgAAAAKCgAAAAAACRkAAAAKCRoAAAACAAAACgUbAAAAGUFwbG9yaXMuQ2hhcnQuT3JpZW50YXRpb24BAAAAB3ZhbHVlX18ACAIAAAABAAAACRwAAAABHQAAABUAAABINydCo+iJQdIeF0SAT19DAAQeAAAAC1N5c3RlbS5HdWlkCwAAAAJfYQJfYgJfYwJfZAJfZQJfZgJfZwJfaAJfaQJfagJfawAAAAAAAAAAAAAACAcHAgICAgICAgIAAAAAAAAAAAAAAAAAAAAAAAoKCR8AAAAACgoKAQAAAAAAAAD/////AAEBIAAAABUAAAD//x9B//8fQWHdE0R2YodDTr/TQTN0BENHSiREdS+WQwUhAAAAFVN5c3RlbS5EcmF3aW5nLlBvaW50RgIAAAABeAF5AAALCwQAAADyBClDai9aQwYiAAAAEE5aSW5KWENldDNyU0V6a1U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i4wLjE5MDgsIEN1bHR1cmU9bmV1dHJhbCwgUHVibGljS2V5VG9rZW49MTZmYzEzYTIyNmMwZTk1MV1dAwAAAJsBQXBsb3Jpcy5CYXNlLk9iamVjdHMuRGF0YU9iamVjdENvbGxlY3Rpb25gMVtbQXBsb3Jpcy5DaGFydC5BeGlzQnJlYWssIEFwbG9yaXMuQ2hhcnQsIFZlcnNpb249NC4yLjAuMTkwOC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yLjAuMTkwOC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AQAAAAUnAAAAFkFwbG9yaXMuQ2hhcnQuQXhpc1R5cGUBAAAAB3ZhbHVlX18ACAIAAAABAAAAmpkZPwAAAAoJAQAAAAkoAAAACSkAAAABAAAAAAAAAAABAAAAAAAA8D8BmpmZmZmZuT8AAAAgQQABCSoAAAAKCSsAAAAJLAAAAAktAAAAAS4AAAAhAAAASDcnQpSMcEMBLwAAACEAAABGkiFElIxwQwkwAAAACTEAAAAJMgAAAAkzAAAAAAAAAAAAAAAAAAAACTQAAAAAAAAAAAAJNQAAAAkBAAAACQEAAAAJNgAAAAEHAAAABgAAAAkBAAAAATcAAAAnAAAAAAAAAM3MTD8AAAAIAQAJAQAAAAk4AAAACTkAAAABAAAAAAAAAAAAAAAAAAAA4D8AmpmZmZmZuT8AAAAgQQABCToAAAAKCTsAAAAJPAAAAAk9AAAAAT4AAAAhAAAASDcnQpSMcEMBPwAAACEAAABINydCo+iJQQlAAAAACUEAAAAJQgAAAAlDAAAAAAAAAAAAAAAAAAAACUQAAAAAAAAAAAAJRQAAAAkBAAAACQEAAAAJRgAAAAQIAAAAqAFTeXN0ZW0uQ29sbGVjdGlvbnMuR2VuZXJpYy5MaXN0YDFbW0FwbG9yaXMuQ2hhcnQuQ29sdW1uT3JpZW50ZWRDaGFydCtVbnVzZWRTZXJpZXMsIEFwbG9yaXMuQ2hhcnQsIFZlcnNpb249NC4yLjAuMTkwOC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i4wLjE5MDg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yLjAuMTkwOCwgQ3VsdHVyZT1uZXV0cmFsLCBQdWJsaWNLZXlUb2tlbj0xNmZjMTNhMjI2YzBlOTUxXV0DAAAAlwFTeXN0ZW0uQ29sbGVjdGlvbnMuR2VuZXJpYy5MaXN0YDFbW0FwbG9yaXMuQ2hhcnQuQ2hhcnREYXRhU2VyaWVz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UgAAAAJSQAAAAkBAAAACQEAAAAJSgAAAAUKAAAApgFBcGxvcmlzLkJhc2UuT2JqZWN0cy5EYXRhT2JqZWN0Q29sbGVjdGlvbmAxW1tBcGxvcmlzLkNoYXJ0LkFubm90YXRpb25EYXRhU2VyaWVzLCBBcGxvcmlzLkNoYXJ0LCBWZXJzaW9uPTQuMi4wLjE5MDg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IuMC4xOTA4LCBDdWx0dXJlPW5ldXRyYWwsIFB1YmxpY0tleVRva2VuPTE2ZmMxM2EyMjZjMGU5NTFdXQMAAACcAVN5c3RlbS5Db2xsZWN0aW9ucy5HZW5lcmljLkxpc3RgMVtbQXBsb3Jpcy5DaGFydC5Bbm5vdGF0aW9uRGF0YVNlcmllc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LAAAACUwAAAAJAQAAAAkBAAAACU0AAAAFCwAAAKEBQXBsb3Jpcy5CYXNlLk9iamVjdHMuRGF0YU9iamVjdENvbGxlY3Rpb25gMVtbQXBsb3Jpcy5DaGFydC5Bbm5vdGF0aW9uR3JvdXAsIEFwbG9yaXMuQ2hhcnQsIFZlcnNpb249NC4yLjAuMTkwO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IuMC4xOTA4LCBDdWx0dXJlPW5ldXRyYWwsIFB1YmxpY0tleVRva2VuPTE2ZmMxM2EyMjZjMGU5NTFdXQMAAACXAVN5c3RlbS5Db2xsZWN0aW9ucy5HZW5lcmljLkxpc3RgMVtbQXBsb3Jpcy5DaGFydC5Bbm5vdGF0aW9uR3JvdXA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TgAAAAlPAAAACQEAAAAJAQAAAAlQAAAABQwAAACgAUFwbG9yaXMuQmFzZS5PYmplY3RzLkRhdGFPYmplY3RDb2xsZWN0aW9uYDFbW0FwbG9yaXMuQ2hhcnQuQ2hhcnREYXRhR3JvdXAsIEFwbG9yaXMuQ2hhcnQsIFZlcnNpb249NC4yLjAuMTkwOC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i4wLjE5MDgsIEN1bHR1cmU9bmV1dHJhbCwgUHVibGljS2V5VG9rZW49MTZmYzEzYTIyNmMwZTk1MV1dAwAAAJYBU3lzdGVtLkNvbGxlY3Rpb25zLkdlbmVyaWMuTGlzdGAxW1tBcGxvcmlzLkNoYXJ0LkNoYXJ0RGF0YUdyb3Vw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EAAAAJUgAAAAkBAAAACQEAAAAJUwAAAAUNAAAAmgFBcGxvcmlzLkJhc2UuT2JqZWN0cy5EYXRhT2JqZWN0Q29sbGVjdGlvbmAxW1tBcGxvcmlzLkNoYXJ0LkRlbHRhQmFy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IuMC4xOTA4LCBDdWx0dXJlPW5ldXRyYWwsIFB1YmxpY0tleVRva2VuPTE2ZmMxM2EyMjZjMGU5NTFdXQMAAACQAVN5c3RlbS5Db2xsZWN0aW9ucy5HZW5lcmljLkxpc3RgMVtbQXBsb3Jpcy5DaGFydC5EZWx0YUJh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UAAAACVUAAAAJAQAAAAkBAAAACVYAAAAFDgAAAJ0BQXBsb3Jpcy5CYXNlLk9iamVjdHMuRGF0YU9iamVjdENvbGxlY3Rpb25gMVtbQXBsb3Jpcy5DaGFydC5EZWx0YUJyaWRnZSwgQXBsb3Jpcy5DaGFydCwgVmVyc2lvbj00LjIuMC4xOTA4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yLjAuMTkwOCwgQ3VsdHVyZT1uZXV0cmFsLCBQdWJsaWNLZXlUb2tlbj0xNmZjMTNhMjI2YzBlOTUxXV0DAAAAkwFTeXN0ZW0uQ29sbGVjdGlvbnMuR2VuZXJpYy5MaXN0YDFbW0FwbG9yaXMuQ2hhcnQuRGVsdGFCcmlkZ2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VwAAAAlYAAAACQEAAAAJAQAAAAlZAAAABQ8AAACdAUFwbG9yaXMuQmFzZS5PYmplY3RzLkRhdGFPYmplY3RDb2xsZWN0aW9uYDFbW0FwbG9yaXMuQ2hhcnQuR3Jvd3RoQXJyb3csIEFwbG9yaXMuQ2hhcnQsIFZlcnNpb249NC4yLjAuMTkwOC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i4wLjE5MDgsIEN1bHR1cmU9bmV1dHJhbCwgUHVibGljS2V5VG9rZW49MTZmYzEzYTIyNmMwZTk1MV1dAwAAAJMBU3lzdGVtLkNvbGxlY3Rpb25zLkdlbmVyaWMuTGlzdGAxW1tBcGxvcmlzLkNoYXJ0Lkdyb3d0aEFycm93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VoAAAAJWwAAAAkBAAAACQEAAAAJXAAAAAUQAAAApAFBcGxvcmlzLkJhc2UuT2JqZWN0cy5EYXRhT2JqZWN0Q29sbGVjdGlvbmAxW1tBcGxvcmlzLkNoYXJ0LldhdGVyZmFsbENvbm5lY3RvciwgQXBsb3Jpcy5DaGFydCwgVmVyc2lvbj00LjIuMC4xOTA4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i4wLjE5MDgsIEN1bHR1cmU9bmV1dHJhbCwgUHVibGljS2V5VG9rZW49MTZmYzEzYTIyNmMwZTk1MV1dAwAAAJoBU3lzdGVtLkNvbGxlY3Rpb25zLkdlbmVyaWMuTGlzdGAxW1tBcGxvcmlzLkNoYXJ0LldhdGVyZmFsbENvbm5lY3Rvci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ldAAAACV4AAAAJAQAAAAkBAAAACV8AAAAFEQAAAKIBQXBsb3Jpcy5CYXNlLk9iamVjdHMuRGF0YU9iamVjdENvbGxlY3Rpb25gMVtbQXBsb3Jpcy5DaGFydC5FbGVtZW50Q29ubmVjdG9yLCBBcGxvcmlzLkNoYXJ0LCBWZXJzaW9uPTQuMi4wLjE5MDg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i4wLjE5MDgsIEN1bHR1cmU9bmV1dHJhbCwgUHVibGljS2V5VG9rZW49MTZmYzEzYTIyNmMwZTk1MV1dAwAAAJgBU3lzdGVtLkNvbGxlY3Rpb25zLkdlbmVyaWMuTGlzdGAxW1tBcGxvcmlzLkNoYXJ0LkVsZW1lbnRDb25uZWN0b3I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IuMC4xOTA4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CWMAAAAJAQAAAAEBZAAAABUAAADYz3JDKgeEQ8yWVUOxhM5BCWUAAAAE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CAAAABBhBcGxvcmlzLkNoYXJ0LkF4aXNOdW1iZXICAAAABW0AAAAYQXBsb3Jpcy5DaGFydC5BeGlzTnVtYmVyAQAAAAd2YWx1ZV9fAAgCAAAAAAAAAAFuAAAAbQAAAAAAAAAPGgAAAAQAAAAIAQAAAAIAAAADAAAABA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wAAACEAAABINydCo+iJQQFwAAAAIQAAAEaSIUSUjHBDCXEAAAAJcgAAAAAAAAAKBXMAAAAUU3lzdGVtLkRyYXdpbmcuU2l6ZUYCAAAABXdpZHRoBmhlaWdodAAACwsEAAAAAAAAAAAAAAABdAAAAHMAAAAAAAAAAAAAAAAAAAABdQAAABUAAAAAAAAAAAAAAAAAAAAAAAAAFAAAAP////8BAQoJdgAAAAEACgEPHwAAAPYnAAACUEsDBBQABgAIAAAAIQCSV401cg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PwzAMviPxH6pcUZuNA0Jo3Q4MjjCJ8QNC4q7Rmofi7PXvcbMNITRa0HZp1CTfw3bs0WRrmmwNAbWzJRsWA5aBlU5puyjZ+/w5v2cZRmGVaJyFku0A2WR8fTWa7zxgRmiLJatj9A+co6zBCCycB0snlQtGRPoNC+6FXIoF8NvB4I5LZyPYmMeWg41HU6jEqonZ05a2904IzrLH/b1WqmTC+0ZLEckob0/5Sdy6E7e26oe53FWVlqCcXBmyVBB+GsSGwv9FIECDHc5OKBxCLwiZ3GOtPd4cQnil3AetIJuJEF+EoUD5tuEbF5Yfzi2L7jz0x4M+gFBYA0TTFGktjND2D/rpMvK0DC9spI0vEff4iPSggKfv+RYSTY8gxl0DeOm0J9I+5VoEUG8x0Nu7uIHv3D0+pDNtJ+ClS37k7ZKnNpwF55EmRID/F+HYaS0690QEIWro7LUvRRovZ1cd2vmlQJ3Q5mlejj8B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+DvYPRfXHSjTFGnV7GoNctewBjK3FoYhtL+5O3n8mgTaF0l1wMn4S/7yeh7e5nHMQXJuqDV1AVJQj0Jtjedwo+mte7JxDE2ls9BI8KJiTY1bc32zccNOdP5PpIIrt4UuCY47OUZByOmooQ0edOG9KoOcvUyajNQXcoN2X5KNPSA+ozT7G3CtLe3oNoppiT//cObdsbfAnmc0TPFyIk8TTkAUSjU4es4E8XmRHk5fiHVeOdTmjfOeXtLimW5Wsw1Zow3yEdyCHyaR3HEsm5U12D2awJw/lg8AQySzm/RwZ5dnH1LwAAAP//AwBQSwMEFAAGAAgAAAAhAPlV19mgAgAATAUAAA8AAAB4bC93b3JrYm9vay54bWykVMlu2zAQvRfoPwi6KxSpxQssBY4X1EBRBEWaHAuaoi0iXBSSip0W/feOpDpOm0va6iAOFz2+eW9Gs8ujksEjt04YXYT4Ig4DrpmphN4X4ZebdTQOA+eprqg0mhfhE3fhZfn+3exg7P3WmPsAALQrwtr7ZoqQYzVX1F2YhmvY2RmrqIep3SPXWE4rV3PulUQkjnOkqNDhgDC1b8Ewu51gfGlYq7j2A4jlknqg72rRuBOaYm+BU9Tet03EjGoAYiuk8E89aBgoNt3stbF0KyHtI85OyBC+glaCWePMzl8AFBpIvsoXxwjjIeVythOS3w6yB7RpPlHV3SLDQFLnV5XwvCrCHKbmwM8LQMK2zVUrJOyScd6xQuWzF9e2mwHzufTcaur5wmgPQv2S+H9F6bEXtQELgs/8oRWWg/OdNuUM3pRN6dZdU18HrZVFiB6pRTsjK8gTPRwQqSek/sYqkuDE4urRp7rRX+NxDM9eoxvkwYaE4e04v4AQvVCcvrbzLzSnrJcJgTID+3LWxX+qVM66gr4V/ODOmnbT4HgndGUORRiRJMmhR57OCxinsHDoD9yJytfgTDqKn9c+cLGvPfRWBiU/8HhxTd8OcF0/Brovg3kjjRVuST2F5uv6ZQN2Y/B+KiCwmwpiMBqdPmZUMvC+G/qTaZYTOMKMZq214P8CdopwuJ0f/UfnyxmMYJMowu+jyTpLJ6M8wst5FqU5HkdXOB1F6WK5Sq8mWTJPxj/OZqT/Vv7xBE1O1X/E6fT0AwHiFd/RVvqNonu+bIBSQkb5aMgRaP7GNSPJKlsmEcnWSTTPVnGE84REebomWbogJM3IM1d1fBtVRRniR8b7v9L4RFIdp3PL6s0yWEu6h0InLxjB+UFGdMqj/AkAAP//AwBQSwMEFAAGAAgAAAAhAKlbBBOyAAAA8QAAABQAAAB4bC9zaGFyZWRTdHJpbmdzLnhtbHSOuwoCMRBFe8F/CNNr1gciksRCsLbQwjLujm5gM1kzs6J/76qIleU5hwvXrO+xUTfMHBJZmIwLUEhlqgJdLBz229ESFIunyjeJ0MIDGdZuODDMovotsYVapF1pzWWN0fM4tUh9OaccvfSYL5rbjL7iGlFio6dFsdDRBwJVpo7EwgxUR+Ha4ebLznBwRtx0dESfjRZn9Mt87Pxt1a47NaH8F3O4ecFf1f1l9wQAAP//AwBQSwMEFAAGAAgAAAAhAOdldbjWAAAAuAEAACMAAAB4bC93b3Jrc2hlZXRzL19yZWxzL3NoZWV0MS54bWwucmVsc6yQyWoDMQxA74X+g9E91kwOoZR4cgmFXEP6AcLWLHS8YLlp8vd1KIUMBHrpUdvTk7a7i5/VmbNMMRhodQOKg41uCoOB99Pb6gWUFAqO5hjYwJUFdt3z0/bIM5U6JOOURFVKEANjKekVUezInkTHxKFW+pg9lRrmARPZDxoY102zwXzPgG7BVAdnIB9cC+p0TXXz3+zY95PlfbSfnkN5sALPft5n+qrHVSrlgYsBrdH95OSu3uraC/jYaf2fTjb6m64sjH6Tra7/u2ng4t/dNwAAAP//AwBQSwMEFAAGAAgAAAAhANwGB756BgAA2RsAABMAAAB4bC90aGVtZS90aGVtZTEueG1s7FnLbhs3FN0X6D8Qs0+sp2MZkQNLluw2dmLYStosqRE1w4gzHJCUHe36BQUKpEU3BbrropsA7TelaNOP6CU5kkiL8iN20FdswJY4h/de3sfhJefho1cZQ2dESMrzdlS9X4kQyWM+onnSjp4N+ve2IiQVzkeY8Zy0oxmR0aOdTz95iLdVSjKCYH4ut3E7SpUqtjc2ZAzDWN7nBcnh2ZiLDCv4KpKNkcDnIDdjG7VKZXMjwzSPUI4zEPt0PKYxQQMtMtqZC+8x+JorqQdiJk61aOLNMNjRpKoRcia7TKAzzNoR6Bnx8wF5pSLEsFTwoB1VzE+0sfNwA2+Xk5haM9eZ1zc/5bxywmhSMzpFMlworfYbrQd7C/kGwNQqrtfrdXvVhTwDwHEMK7W2uDIb/a1qZy7TAdmPq7K7lWal4eMd+fUVm1udTqfZKm2xQg3Ifmys4Lcqm43dmoc3IItvruAbnd1ud9PDG5DFb67g+w9amw0fb0Apo/lkBa0D2u+X0heQMWcHQfgWwLcqJXyJgmxYZJdWMea5WpdrGX7JRR8AGsiwojlSs4KMcQxZ3MXZUFAcoQLnXMJApVbpV+rwV/82zKeGVo+3CXbm2aFYrgxpS5CMBS1UO/ocpEYO5MUU7XOV0hgd0iRVVog34wDniTvj3U/f/PnDV+iPX3589/rbMF66+D2SJ19SnF+mAAps6YC337357dc3b7//+vefXwfk7wo8dOEDmhGJnpBzdMIzWJzxjL8CMhQ3mzFIMfVm4BRkB0T3wHUu8MkMsxCuA05wcc8FcEsIuD996dl6moqpogHNj9PMAx5xzjpcBB3wWOtyPDyY5klYuZi6uBOMz0K6uzj3QtybFkCqkLOrvu+mxDPzmOFc4YTkRCH9jE8ICUx7Qann1yMaCy75WKEXFHUwDbpkQIdeIi0nHdAM4jILGQih9nxz9Bx1OAuteo+c+UgoDMwCxg8I89y4j6cKZyGRA5wx1+GHWKUhI09nInZxPakg0glhHPVGRMrQnKcC1usE/TEGOguG/YjNMh8pFJ2EZB5izr3a5pNuirMiaDPNUxf7mZxAimJ0zFUIfsT9CtHfIQ7AG+vC/ZwSL9xXE8EzoDjXpGWC6CdTEYjlPuF+Pc7YGBPDMsD4HpFnNL+M1RkFWr/A6s0PzeofkM/Dom/D5Luw7YXq6eACf6/D/QtZew9P82MChbLKnB9J+yNpR/950l5Xy3dP1Ut2BuJeduemV8/WtupjytipmjFyKE23LmFPGvVh0BwjzFlycXQrUvhYHgw8XCKwmYMEV19QlZ6muIDGvmoOnoksRScSFVxCv2+GzRGYXJBtDrUU2nlzPm3qk4tlDonVER/Z4bp7Ql2IMefVxJyC54rqWsB1ldUf3E5Z1Vq11m3+0qrGNEOK3tIWS4YYri4NBhfehGYHQYsEXt6EiwJtO5yBMCMj7Xd7ep+HRau+0xDJFI9IGSO97tUYVU2Q5rkyT6NAjPRp84oYOdpaWuwttF0nSK66xhp18+jdJkrzI/YySrpuL5Qjy93iZDk6b0etZq0ZoRgX7WgMh2v4mBUQdan7S8wSuKGKlbBpf2Uxm3RdRrMVTssq3JdYv68s2OOBQki1h2VqU8M8KlOA5eYqwNhfa4Jb72oBNtPfw4r6FiTD32YF+NEPLRmPSazcYDsj5i7EAEoq5VNFxGk6OkdDNhUnGMKvUxXWM6ISbkEMI+gvcKGnvW0e+eRcFp17jWZwdhyzIsUl3eoSnVeyhZs6XthgvllrjXmwtqDtZnE3X4op+TtaipvG/7Ol6P0EbiXqIx2BGO6TBUa6XtsRFyrlwEIF3JL1BVymGe6AbIFLYXgMSQW32ua/IGf6v605K8OUtb5ZO6EJEhT2I5UKQo6Blkz2XSGsWu5dViQrBZmMcsyVhTV7SM4IG2gO3NR7e4RSSHXDJiUNGNzF/PO/lxU0THST80/tfGwx37Q90N2BbbHs/Gv2Ig2H9J2toBXc+0xPtaCDSzb2G261lrFWVlxrXnurLeBuCe6UFeRETEXM7CsSvaEO+AlwK4I3Hra9QpDV92zjgTRBWnocQuNkB20yaVG2YSm72ztvo+BevOx0F3qhSt+n072hsxfNma/Oq8XLu8+bObv0sOdrt9MNuBqK9mKJ6vZofpAxgTHv1tzXX3z4EgK9By8apkxJ+wrhFdwkwinDvqqA4rfBNVN3/gIAAP//AwBQSwMEFAAGAAgAAAAhANg9aLPsAwAAhQ8AAA0AAAB4bC9zdHlsZXMueG1s7Fdbb9s2FH4f0P8gKNijI8mWr5BUzE40FOiKAfGAvVISZRPlRaDo1G7R/95DUrekSZwu29ANzYNDkYcfv3N4boxeHxl1brGsieCxG1z6roN5LgrCd7H7xzYdLVynVogXiAqOY/eEa/d18uqnqFYnim/2GCsHIHgdu3ulqpXn1fkeM1RfigpzWCmFZEjBp9x5dSUxKmq9iVFv7PszjyHCXYuwYvlzQBiS7w/VKBesQopkhBJ1Mliuw/LVmx0XEmUUqB6DEOUttvn4Cp6RXIpalOoS4DxRliTHX7NceksPkJKIH1jKVO3k4sAVWKubcuzKmwImZ6HrWKU3ogAaFxcX/qX/s+t4SeQ1CElUCt4DTYGlJrt6z8UHnuoli66lkqj+6NwiCjOBAckFFdJRYGVAt1McMWxlNoiSTBIjWCJG6MnOj82MuZtGkhGwlGVlj7G/mebZnrgcHEh4gY8YNFzcP3OL9oKhR470huD/qiYPHiZ3WeymqW/+DOXedr8SSp0bxOtvUsVa1l7K34Bu7FWDgwCZztNC8DQ9kUTg8wpLnmqqzXh7qsAROIRnc5tG8Iz4TqJTMAbH015pZc/sqAUlheax2xgHbHRN0811g5M1K52n6FDQ+APSLz7ter5MDeo3nWZUBKtmQhaQ7IYRbKeSiOJSabaS7PZmoESlvzOhlGB6VBC0ExxRo1O7zWsgkyjHlN7orPhn2R0wB4Mdy0F6gPyqA0JnCj2Eq2qGFqb5gMMe2wXu9mNXZ8OnreENr8Re0OBuAv+vXc6xPH9LT9xttx1VFT3pQG6z+DMcBfS94ygvApu8GAwQHnNGywxKhVUTfN6oeVdp87U2Mdmv/kLJjjPcVlgoaPbT2QtJPgKQroU5rGMoXx8kqrb4aMF1rjmW92KnKcg25s4SBgMbUu8OLMMyNc3LgPg/pQZ0YIrkQ8Ue1GWQPc5qAgL/LdNDsfiOTX/HjXSL90jqtn4PhfV/o8vse9PFpHVI5IOSe6fgdlnf0b1d7L7TUUyhx24Td3YgVBHep/H7O8zjJgin44k/CQN/Fs7b3bZjOie/gMbZngbGg0h+WH7qB+NgMpvO5gEEq5WHwTPkJ5188yRoW49GY8u/w1+EQMPiN93qk/LzyQxefVa+6eA6BcDoxbHvbyAhAV2lH1ym9enuARYKXKIDVdtuMXb78W+4IAcGbBqp38mtUAYidvvxW92LBdaGkOTf1vAagv/OQZLY/XS9ni+vrtPxaOGvF6Nwgqej5XR9NZqGm/XVVbr0x/7m8+AB+ILnn3mmQmEJwlVN4ZEoG20b9jf9XOwOPix/2wQDbyhPrRZe/35OvgAAAP//AwBQSwMEFAAGAAgAAAAhAFTdR3XOAgAAYQYAABgAAAB4bC93b3Jrc2hlZXRzL3NoZWV0MS54bWyMVclu2zAQvRfoPxC6RyKp3bAdJBGC5lCgSLczLVE2EUlUScbL33co2opiB4EvBpeZN+8N38jz233boC1XWshu4REfe4h3paxEt154v3893mQe0oZ1FWtkxxfegWvvdvn1y3wn1YvecG4QIHR64W2M6WdBoMsNb5n2Zc87uKmlapmBrVoHulecVUNS2wQU4yRomeg8hzBT12DIuhYlL2T52vLOOBDFG2aAv96IXp/Q9tVVeJViO9B64jOhWLibEY9EF/xaUSqpZW38UraBo3apMg/ydzrb8hqhLVMvr/0NAPcgbiUaYQ6DXA+15exp3UnFVg28yJ5ErJywZJfw1/MEpOW8EtBbawikeL3w7sisCD0ULOfD0/0RfKcna2TY6idveGl4BQ7ykHXGSsoXG/gERxgg9RBgIVlpxJY/8KZZeEUK5vo3FLFLqBCMJabrU7nHwUw/FFoxzR9k81dUZgM1wbQVr9lrY94OMz8LKQ4JjcfLZ7n7xsV6YyAFTofGzapDwXUJXgKiPh1IlLKBivCLWmGHAjrO9k6aKzjF1uZgX8E1KHCpg4iCGbacK7lDYETA0D2zY0JmkYcshRBYf0gBStuUO5szZEJfhpN7dwL5kK6hq9slngdb6FR5jHhwEckkgryPKC4x6BgRANuRMvTinDIB4E8p25yFRwdqFJP4fe17d5055j6JwzjPsiSKSEKyPErPtJxFJ3EYhjTLM4yjJIrfWA+9KVx0fsSm8PYppRRnKcmijGYfa4RXm2r8VJuNnWg7Y3vvruNj/TBKkohGSUbDPLYKz7S56PTENo9xRvIkpSQkJErP+manD0qP2DHOSRpBZE6TBMfJmTY3Q85+PVvz70ytRadRw+vB5DBpyk0B9mFtZG+tn8JErKQxsj3tNvCx5mBE7EP9WkozbsCQDV+z8nD8RiI1EzDo6qkCd9kpHv8clv8BAAD//wMAUEsDBBQABgAIAAAAIQAc8ztOYQIAAJQEAAAbAAAAeGwvZHJhd2luZ3Mvdm1sRHJhd2luZzEudm1sjFTLbtswELwX6D8QzMEXC3oUSQNGEhCkyK0t0PRxDGiJtpiQXEFcy3K+vktJfhVFUcGmyN3hcma4dj5Yw+jrvOgLvu2c8FWjrPSR1VUHHtYYVWBFbw1//25Gwr+QsF7rSonpddoz/MceNVTq7BhLjBrEVsSxldVPa55Gaj86zUvikoPwjWyVkXvYIuuFGrDgqtY4pkNe11a2FxlWS5QFT3k8logvapR5P5XEfauYrgv+PCT0PGOWZJxVAF3t9ZsqeJbeJMlyHDmjGi2dHDBEi7USm4LbZJmYGTIBL8ZkUDNLOhI7eFXsBbTzuDdU3mpU3USREadQkW06WWvlcNQMrwXHcHIFzqkKA+GCdzQ7CDtTcpR1LsmnSXbL2bTx6kLnRGLRgteowQm58mC2qO6COiu7jXaRUWsUN7ct3s0BhFZcp7Te6RobkWYh1yi9aVBkGc3fIu1qNYh0LNNrr1faaNyLRte1cnfWQ7TrZBuNxwsMOxdsrY2pwEBX8Ks1PSoNqskohRZq0iy3CEcnA5quieDZCT/edLCRnKthx8BN3q18te0UXfLs2dHpP1x14NTpLpC6bAUDm00KrGsdjCenImlQBEKL0FyM5bXuD8Cwj/J640TwblHmMWVHXB73Yi47rQfxYMJVf6JeZV9XL1T9+3jBXwDntmH5ID5Dr35pbB6UMX5SGcJP1KF/Cd+7qoFuIsbSJUuvlyxbMho/0Ofj+EqzPB7EOZLq3ZOgRzK2fJTGqxFwiEwqB/ENdmUaMmFyCD5Q01hXJiE+z0NqXB7lTb/CuVnJE/orKn8DAAD//wMAUEsDBBQABgAIAAAAIQCxcL/yOA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UtPwzAQhO9I/AfL98ROS3lYSSoB6okKJFqBuFn2prWIH7INaf89btqGonJczeynmd1yutEt+gYflDUVLnKKERhhpTKrCi8Xs+wWoxC5kby1Biq8hYCn9eVFKRwT1sOLtw58VBBQIpnAhKvwOkbHCAliDZqHPDlMEhvrNY9p9CviuPjkKyAjSq+Jhsglj5zsgJkbiPiAlGJAui/f9gApCLSgwcRAirwgv94IXod/F3rlxKlV3LrU6RD3lC3FXhzcm6AGY9d1eTfuY6T8BXmfP732VTNldrcSgOtSCiY88Gh9XZLTIR2u5SHO040bBfJ+W8+V8DbYJqLnplEC0DKAL8m5MUH7DkwfllGKxfYljtLb+OFxMcP1iBY3WUEzercoJoxescnoYxfkLyBlO3tk/QMAAP//AwBQSwMEFAAGAAgAAAAhAFAONAoAAQAAegEAABAAAAB4bC9jb21tZW50czEueG1sVFBBasMwELwX+gex90ZODiUtlkIuKYUeekgfoNrrWCBpjVYJTl/fjR0XCkLszI5mBtW7MQZ1wcyekoH1qgKFqaHWp5OBr+PhaQuKi0utC5TQwBUZdvbxoW4oRkyFlRgkNtCXMrxqzU2P0fGKBkyy6ShHVwTmk+Yho2u5Rywx6E1VPevofAJbu3PpKfMyKG1r/cfdgz48F7ukqoydgf0G1Cx7bw1UYlRwFFGW8ynX982If9TFBQMvcEMNBcrKpxZHlDfb9cTmA6Uyy46up+gmtnPRh+tMS9Kt1GRb7Fum86Ba5Cb7ocjPca0lV0umnivoe2sh/vVfENtf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CSV401cgEAAHAFAAATAAAAAAAAAAAAAAAAAAAAAABbQ29udGVudF9UeXBlc10ueG1sUEsBAi0AFAAGAAgAAAAhAFB8TsHzAAAATAIAAAsAAAAAAAAAAAAAAAAAqwMAAF9yZWxzLy5yZWxzUEsBAi0AFAAGAAgAAAAhAIyWxW7zAAAAugIAABoAAAAAAAAAAAAAAAAAzwYAAHhsL19yZWxzL3dvcmtib29rLnhtbC5yZWxzUEsBAi0AFAAGAAgAAAAhAPlV19mgAgAATAUAAA8AAAAAAAAAAAAAAAAAAgkAAHhsL3dvcmtib29rLnhtbFBLAQItABQABgAIAAAAIQCpWwQTsgAAAPEAAAAUAAAAAAAAAAAAAAAAAM8LAAB4bC9zaGFyZWRTdHJpbmdzLnhtbFBLAQItABQABgAIAAAAIQDnZXW41gAAALgBAAAjAAAAAAAAAAAAAAAAALMMAAB4bC93b3Jrc2hlZXRzL19yZWxzL3NoZWV0MS54bWwucmVsc1BLAQItABQABgAIAAAAIQDcBge+egYAANkbAAATAAAAAAAAAAAAAAAAAMoNAAB4bC90aGVtZS90aGVtZTEueG1sUEsBAi0AFAAGAAgAAAAhANg9aLPsAwAAhQ8AAA0AAAAAAAAAAAAAAAAAdRQAAHhsL3N0eWxlcy54bWxQSwECLQAUAAYACAAAACEAVN1Hdc4CAABhBgAAGAAAAAAAAAAAAAAAAACMGAAAeGwvd29ya3NoZWV0cy9zaGVldDEueG1sUEsBAi0AFAAGAAgAAAAhABzzO05hAgAAlAQAABsAAAAAAAAAAAAAAAAAkBsAAHhsL2RyYXdpbmdzL3ZtbERyYXdpbmcxLnZtbFBLAQItABQABgAIAAAAIQCxcL/yOAEAABUCAAARAAAAAAAAAAAAAAAAACoeAABkb2NQcm9wcy9jb3JlLnhtbFBLAQItABQABgAIAAAAIQBQDjQKAAEAAHoBAAAQAAAAAAAAAAAAAAAAAJkgAAB4bC9jb21tZW50czEueG1sUEsBAi0AFAAGAAgAAAAhAF6k9QCLAQAADQMAABAAAAAAAAAAAAAAAAAAxyEAAGRvY1Byb3BzL2FwcC54bWxQSwUGAAAAAA0ADQBYAwAAiCQ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cAAAAFQXJpYWwGeAAAABbvvK3vvLMg77yw44K044K344OD44KvCXkAAAABAAl6AAAAByQAAAAAAQAAABEAAAAEFFN5c3RlbS5EcmF3aW5nLkNvbG9yBAAAAAV7AAAAFFN5c3RlbS5EcmF3aW5nLkNvbG9yBAAAAAV2YWx1ZQVzdGF0ZQprbm93bkNvbG9yBG5hbWUAAAABCQcHBAAAAAAAAAAAAAAAAAAAAAoBfAAAAHsAAAAAAAD//////wIAAAAKAX0AAAB7AAAA//////////8CAAAACgF+AAAAewAAAE5BIv//////AgAAAAoBfwAAAHsAAADe3Nv//////wIAAAAKAYAAAAB7AAAAfmk///////8CAAAACgGBAAAAewAAAIyEcv//////AgAAAAoBggAAAHsAAAAlIe3//////wIAAAAKAYMAAAB7AAAANDtG//////8CAAAACgGEAAAAewAAAHSYw///////AgAAAAoBhQAAAHsAAAAelPf//////wIAAAAKAYYAAAB7AAAAHpT3//////8CAAAACgGHAAAAewAAACUh7f//////AgAAAAoBiAAAAHsAAAAAAAD//////wIAAAAKAYkAAAB7AAAA//////////8CAAAACgGKAAAAewAAAE5BIv//////AgAAAAoBiwAAAHsAAADe3Nv//////wIAAAAKBCUAAACYAVN5c3RlbS5Db2xsZWN0aW9ucy5HZW5lcmljLkxpc3RgMVtbQXBsb3Jpcy5CYXNlLk9iamVjdHMuRGF0YU9iamVjdCwgQXBsb3Jpcy5CYXNlLCBWZXJzaW9uPTQuMi4wLjE5MDgsIEN1bHR1cmU9bmV1dHJhbCwgUHVibGljS2V5VG9rZW49MTZmYzEzYTIyNmMwZTk1MV1dAwAAAAZfaXRlbXMFX3NpemUIX3ZlcnNpb24EAAAhQXBsb3Jpcy5CYXNlLk9iamVjdHMuRGF0YU9iamVjdFtdAwAAAAgICYwAAAANAAAADQAAAAQmAAAAlQFTeXN0ZW0uQ29sbGVjdGlvbnMuR2VuZXJpYy5MaXN0YDFbW0FwbG9yaXMuQmFzZS5VSS5WaXN1YWxPYmplY3QsIEFwbG9yaXMuQmFzZSwgVmVyc2lvbj00LjIuMC4xOTA4LCBDdWx0dXJlPW5ldXRyYWwsIFB1YmxpY0tleVRva2VuPTE2ZmMxM2EyMjZjMGU5NTFdXQMAAAAGX2l0ZW1zBV9zaXplCF92ZXJzaW9uBAAAHkFwbG9yaXMuQmFzZS5VSS5WaXN1YWxPYmplY3RbXQMAAAAICAmNAAAAAQAAAAEAAAAFKAAAAJsBQXBsb3Jpcy5CYXNlLk9iamVjdHMuRGF0YU9iamVjdENvbGxlY3Rpb25gMVtbQXBsb3Jpcy5DaGFydC5WYWx1ZUxpbmUsIEFwbG9yaXMuQ2hhcnQsIFZlcnNpb249NC4yLjAuMTkwO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IuMC4xOTA4LCBDdWx0dXJlPW5ldXRyYWwsIFB1YmxpY0tleVRva2VuPTE2ZmMxM2EyMjZjMGU5NTFdXQMAAACRAVN5c3RlbS5Db2xsZWN0aW9ucy5HZW5lcmljLkxpc3RgMVtbQXBsb3Jpcy5DaGFydC5WYWx1ZUxpbmUsIEFwbG9yaXMuQ2hhcnQsIFZlcnNpb249NC4yLjAuMTkwOCwgQ3VsdHVyZT1uZXV0cmFsLCBQdWJsaWNLZXlUb2tlbj0xNmZjMTNhMjI2YzBlOTUxXV2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wAAAAoJjgAAAAmPAAAACQYAAAAJAQAAAAmQAAAABSkAAACbAUFwbG9yaXMuQmFzZS5PYmplY3RzLkRhdGFPYmplY3RDb2xsZWN0aW9uYDFbW0FwbG9yaXMuQ2hhcnQuQXhpc0JyZWFrLCBBcGxvcmlzLkNoYXJ0LCBWZXJzaW9uPTQuMi4wLjE5MDg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yLjAuMTkwOCwgQ3VsdHVyZT1uZXV0cmFsLCBQdWJsaWNLZXlUb2tlbj0xNmZjMTNhMjI2YzBlOTUxXV0DAAAAkQFTeXN0ZW0uQ29sbGVjdGlvbnMuR2VuZXJpYy5MaXN0YDFbW0FwbG9yaXMuQ2hhcnQuQXhpc0JyZWFrLCBBcGxvcmlzLkNoYXJ0LCBWZXJzaW9uPTQuMi4wLjE5MDgsIEN1bHR1cmU9bmV1dHJhbCwgUHVibGljS2V5VG9rZW49MTZmYzEzYTIyNmMwZTk1MV1d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MAAAAKCZEAAAAJkgAAAAkGAAAACQEAAAAJkw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QAAAABJQlsAAAAAQAAAAoAAAAAAAAAAAUtAAAAmgFBcGxvcmlzLkJhc2UuT2JqZWN0cy5EYXRhT2JqZWN0Q29sbGVjdGlvbmAxW1tBcGxvcmlzLkNoYXJ0LlRpY2tNYXJrLCBBcGxvcmlzLkNoYXJ0LCBWZXJzaW9uPTQuMi4wLjE5MDg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IuMC4xOTA4LCBDdWx0dXJlPW5ldXRyYWwsIFB1YmxpY0tleVRva2VuPTE2ZmMxM2EyMjZjMGU5NTFdXQMAAACQAVN5c3RlbS5Db2xsZWN0aW9ucy5HZW5lcmljLkxpc3RgMVtbQXBsb3Jpcy5DaGFydC5UaWNrTWFyay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VAAAACZYAAAAJBgAAAAkBAAAACZc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YAAAAIQAAAEg3J0KUjHBDAZkAAAAhAAAARpIhRJSMcEMJmgAAALgBAAD/////AQEKCZsAAAABAAoBBzEAAAAAAQAAAAUAAAAEFVN5c3RlbS5EcmF3aW5nLlBvaW50RgQAAAABnAAAACEAAABHUiJElIxwQwGdAAAAIQAAAEg3J0IjUIFDAZ4AAAAhAAAAugWsQyNQgUMBnwAAACEAAABGkiFEI1CBQwGgAAAAIQAAAEdSIkSUjHVDBzIAAAAAAQAAAAUAAAAEF0FwbG9yaXMuQmFzZS5BbmNob3JNb2RlAwAAAAWhAAAAF0FwbG9yaXMuQmFzZS5BbmNob3JNb2RlAQAAAAd2YWx1ZV9fAAgDAAAABAAAAAGiAAAAoQAAAAUAAAABowAAAKEAAAADAAAAAaQAAAChAAAABgAAAAGlAAAAoQAAAAUAAAAPMwAAAAUAAAABAAAAAAEFNAAAABVBcGxvcmlzLkJhc2UuVUkuTGFiZWwdAAAAD21BbmNob3JQb3NpdGlvbgttQW5jaG9yTW9kZQ9tQWRkSW5uZXJNYXJnaW4WbU9mZnNldERpcmVjdGlvbkFuY2hvchdtT2Zmc2V0T3J0aG9nb25hbEFuY2hvcgttVGV4dEZvcm1hdAltUm90YXRpb24KbUJhY2tDb2xvcg1tVXNlQmFja0NvbG9yDm1Vc2VCYWNrZ3JvdW5kEW1DdXN0b21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AAQEBAABAwMBAAAAAAcCAAADAB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A4LCBDdWx0dXJlPW5ldXRyYWwsIFB1YmxpY0tleVRva2VuPTE2ZmMxM2EyMjZjMGU5NTFdXZYBU3lzdGVtLkNvbGxlY3Rpb25zLkdlbmVyaWMuTGlzdGAxW1tBcGxvcmlzLkJhc2UuT2JqZWN0cy5WYXJpYWJsZSwgQXBsb3Jpcy5CYXNlLCBWZXJzaW9uPTQuMi4wLjE5MDgsIEN1bHR1cmU9bmV1dHJhbCwgUHVibGljS2V5VG9rZW49MTZmYzEzYTIyNmMwZTk1MV1dCAgBAQgBAQ9TeXN0ZW0uSW50UHRyW10BAwAAAAGmAAAAIQAAAEdSIkSUjHBDAacAAAChAAAABAAAAAAAAAAAAAAAAAmoAAAAAAAAAAmpAAAAAAAABaoAAAAqQXBsb3Jpcy5CYXNlLlVJLkxhYmVsK0xpbmVBbGlnbm1lbnRPcHRpb25zAQAAAAd2YWx1ZV9fAAgDAAAAAAAAAAGrAAAAcwAAAAAAAAAAAAAAAawAAAAVAAAAAAAAAAAAAAAAAAAAAAAAAAAAAAAGrQAAAA1DYXRlZ29yeSBheGlzCgmuAAAACa0AAADkAgAA/////wABCgmvAAAAAQAKAQE1AAAAJQAAAAmwAAAABgAAAAYAAAABNgAAACYAAAAJsQAAAAIAAAACAAAAATgAAAAoAAAACgmyAAAACbMAAAAJBwAAAAkBAAAACbQAAAABOQAAACkAAAAKCbUAAAAJtgAAAAkHAAAACQEAAAAJtw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oAAAAAwAAAAlpAAAACWoAAAAJawAAAAEAAAAACga4AAAAASU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JuAAAAA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UAAAACWwAAAABAAAACgAAAAAAAAAAAT0AAAAtAAAACgm5AAAACboAAAAJBwAAAAkBAAAACbsAAAABQAAAADAAAAABvAAAACEAAABINydClIxwQwG9AAAAIQAAAEg3J0Kj6IlBCb4AAAC4AQAA/////wEBCgm/AAAAAQAKAQdBAAAAAAEAAAAFAAAABBVTeXN0ZW0uRHJhd2luZy5Qb2ludEYEAAAAAcAAAAAhAAAASDcnQrwzK0EBwQAAACEAAAD+GyxBlIxwQwHCAAAAIQAAAP4bLEHU5ABDAcMAAAAhAAAA/hssQaPoiUEBxAAAACEAAAD+GyxBvDMrQQdCAAAAAAEAAAAFAAAABBdBcGxvcmlzLkJhc2UuQW5jaG9yTW9kZQMAAAABxQAAAKEAAAABAAAAAcYAAAChAAAACAAAAAHHAAAAoQAAAAIAAAAByAAAAKEAAAAGAAAAAckAAAChAAAABwAAAA9DAAAABQAAAAEAAAAAAQFEAAAANAAAAAHKAAAAIQAAAEg3J0K8MytBAcsAAAChAAAAAQAAAAAAAAAAAAAAAAnMAAAAAAAAAAnNAAAAAAAAAc4AAACqAAAAAAAAAAHPAAAAcwAAAAAAAAAAAAAAAdAAAAAVAAAAAAAAAAAAAAAAAAAAAAAAAAAAAAAG0QAAAApWYWx1ZSBheGlzCgnSAAAACdEAAADkAgAA/////wABCgnTAAAAAQAKAQFFAAAAJQAAAAnUAAAABgAAAAYAAAABRgAAACYAAAAJ1QAAAAIAAAACAAAAB0cAAAAAAQAAAAAAAAAELkFwbG9yaXMuQ2hhcnQuQ29sdW1uT3JpZW50ZWRDaGFydCtVbnVzZWRTZXJpZXMCAAAABEgAAACXAVN5c3RlbS5Db2xsZWN0aW9ucy5HZW5lcmljLkxpc3RgMVtbQXBsb3Jpcy5DaGFydC5DaGFydERhdGFTZXJpZXMsIEFwbG9yaXMuQ2hhcnQsIFZlcnNpb249NC4yLjAuMTkwOCwgQ3VsdHVyZT1uZXV0cmFsLCBQdWJsaWNLZXlUb2tlbj0xNmZjMTNhMjI2YzBlOTUxXV0DAAAABl9pdGVtcwVfc2l6ZQhfdmVyc2lvbgQAAB9BcGxvcmlzLkNoYXJ0LkNoYXJ0RGF0YVNlcmllc1tdAgAAAAgICdYAAAACAAAAEgAAAAFJAAAAJQAAAAnXAAAAAgAAAAgAAAABSgAAACYAAAAJ2AAAAAAAAAAAAAAABEsAAACcAVN5c3RlbS5Db2xsZWN0aW9ucy5HZW5lcmljLkxpc3RgMVtbQXBsb3Jpcy5DaGFydC5Bbm5vdGF0aW9uRGF0YVNlcmllcywgQXBsb3Jpcy5DaGFydCwgVmVyc2lvbj00LjIuMC4xOTA4LCBDdWx0dXJlPW5ldXRyYWwsIFB1YmxpY0tleVRva2VuPTE2ZmMxM2EyMjZjMGU5NTFdXQMAAAAGX2l0ZW1zBV9zaXplCF92ZXJzaW9uBAAAJEFwbG9yaXMuQ2hhcnQuQW5ub3RhdGlvbkRhdGFTZXJpZXNbXQIAAAAICAnZAAAAAAAAAAAAAAABTAAAACUAAAAJ2gAAAAAAAAAAAAAAAU0AAAAmAAAACdgAAAAAAAAAAAAAAAROAAAAlwFTeXN0ZW0uQ29sbGVjdGlvbnMuR2VuZXJpYy5MaXN0YDFbW0FwbG9yaXMuQ2hhcnQuQW5ub3RhdGlvbkdyb3VwLCBBcGxvcmlzLkNoYXJ0LCBWZXJzaW9uPTQuMi4wLjE5MDgsIEN1bHR1cmU9bmV1dHJhbCwgUHVibGljS2V5VG9rZW49MTZmYzEzYTIyNmMwZTk1MV1dAwAAAAZfaXRlbXMFX3NpemUIX3ZlcnNpb24EAAAfQXBsb3Jpcy5DaGFydC5Bbm5vdGF0aW9uR3JvdXBbXQIAAAAICAnbAAAAAAAAAAAAAAABTwAAACUAAAAJ2gAAAAAAAAAAAAAAAVAAAAAmAAAACdgAAAAAAAAAAAAAAARRAAAAlgFTeXN0ZW0uQ29sbGVjdGlvbnMuR2VuZXJpYy5MaXN0YDFbW0FwbG9yaXMuQ2hhcnQuQ2hhcnREYXRhR3JvdXAsIEFwbG9yaXMuQ2hhcnQsIFZlcnNpb249NC4yLjAuMTkwOCwgQ3VsdHVyZT1uZXV0cmFsLCBQdWJsaWNLZXlUb2tlbj0xNmZjMTNhMjI2YzBlOTUxXV0DAAAABl9pdGVtcwVfc2l6ZQhfdmVyc2lvbgQAAB5BcGxvcmlzLkNoYXJ0LkNoYXJ0RGF0YUdyb3VwW10CAAAACAgJ3AAAAAMAAAAFAAAAAVIAAAAlAAAACd0AAAADAAAABQAAAAFTAAAAJgAAAAnYAAAAAAAAAAAAAAAEVAAAAJABU3lzdGVtLkNvbGxlY3Rpb25zLkdlbmVyaWMuTGlzdGAxW1tBcGxvcmlzLkNoYXJ0LkRlbHRhQmFyLCBBcGxvcmlzLkNoYXJ0LCBWZXJzaW9uPTQuMi4wLjE5MDgsIEN1bHR1cmU9bmV1dHJhbCwgUHVibGljS2V5VG9rZW49MTZmYzEzYTIyNmMwZTk1MV1dAwAAAAZfaXRlbXMFX3NpemUIX3ZlcnNpb24EAAAYQXBsb3Jpcy5DaGFydC5EZWx0YUJhcltdAgAAAAgICd4AAAAAAAAAAAAAAAFVAAAAJQAAAAnaAAAAAAAAAAAAAAABVgAAACYAAAAJ2AAAAAAAAAAAAAAABFcAAACTAVN5c3RlbS5Db2xsZWN0aW9ucy5HZW5lcmljLkxpc3RgMVtbQXBsb3Jpcy5DaGFydC5EZWx0YUJyaWRnZSwgQXBsb3Jpcy5DaGFydCwgVmVyc2lvbj00LjIuMC4xOTA4LCBDdWx0dXJlPW5ldXRyYWwsIFB1YmxpY0tleVRva2VuPTE2ZmMxM2EyMjZjMGU5NTFdXQMAAAAGX2l0ZW1zBV9zaXplCF92ZXJzaW9uBAAAG0FwbG9yaXMuQ2hhcnQuRGVsdGFCcmlkZ2VbXQIAAAAICAnfAAAAAAAAAAAAAAABWAAAACUAAAAJ2gAAAAAAAAAAAAAAAVkAAAAmAAAACdgAAAAAAAAAAAAAAARaAAAAkwFTeXN0ZW0uQ29sbGVjdGlvbnMuR2VuZXJpYy5MaXN0YDFbW0FwbG9yaXMuQ2hhcnQuR3Jvd3RoQXJyb3csIEFwbG9yaXMuQ2hhcnQsIFZlcnNpb249NC4yLjAuMTkwOCwgQ3VsdHVyZT1uZXV0cmFsLCBQdWJsaWNLZXlUb2tlbj0xNmZjMTNhMjI2YzBlOTUxXV0DAAAABl9pdGVtcwVfc2l6ZQhfdmVyc2lvbgQAABtBcGxvcmlzLkNoYXJ0Lkdyb3d0aEFycm93W10CAAAACAgJ4AAAAAMAAAAFAAAAAVsAAAAlAAAACeEAAAADAAAABQAAAAFcAAAAJgAAAAnYAAAAAAAAAAAAAAAEXQAAAJoBU3lzdGVtLkNvbGxlY3Rpb25zLkdlbmVyaWMuTGlzdGAxW1tBcGxvcmlzLkNoYXJ0LldhdGVyZmFsbENvbm5lY3RvciwgQXBsb3Jpcy5DaGFydCwgVmVyc2lvbj00LjIuMC4xOTA4LCBDdWx0dXJlPW5ldXRyYWwsIFB1YmxpY0tleVRva2VuPTE2ZmMxM2EyMjZjMGU5NTFdXQMAAAAGX2l0ZW1zBV9zaXplCF92ZXJzaW9uBAAAIkFwbG9yaXMuQ2hhcnQuV2F0ZXJmYWxsQ29ubmVjdG9yW10CAAAACAgJ4gAAAAAAAAAAAAAAAV4AAAAlAAAACdoAAAAAAAAAAAAAAAFfAAAAJgAAAAnYAAAAAAAAAAAAAAAEYAAAAJgBU3lzdGVtLkNvbGxlY3Rpb25zLkdlbmVyaWMuTGlzdGAxW1tBcGxvcmlzLkNoYXJ0LkVsZW1lbnRDb25uZWN0b3IsIEFwbG9yaXMuQ2hhcnQsIFZlcnNpb249NC4yLjAuMTkwOCwgQ3VsdHVyZT1uZXV0cmFsLCBQdWJsaWNLZXlUb2tlbj0xNmZjMTNhMjI2YzBlOTUxXV0DAAAABl9pdGVtcwVfc2l6ZQhfdmVyc2lvbgQAACBBcGxvcmlzLkNoYXJ0LkVsZW1lbnRDb25uZWN0b3JbXQIAAAAICAnjAAAAAAAAAAAAAAABYQAAACUAAAAJ2gAAAAAAAAAAAAAAAWIAAAAmAAAACdgAAAAAAAAAAAAAAAVjAAAArQFBcGxvcmlzLkJhc2UuT2JqZWN0cy5EYXRhT2JqZWN0Q29sbGVjdGlvbmAxW1tBcGxvcmlzLkNoYXJ0LkNvbHVtbk9yaWVudGVkTGVnZW5kRWxlbWVudCwgQXBsb3Jpcy5DaGFydCwgVmVyc2lvbj00LjIuMC4xOTA4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i4wLjE5MDgsIEN1bHR1cmU9bmV1dHJhbCwgUHVibGljS2V5VG9rZW49MTZmYzEzYTIyNmMwZTk1MV1dAwAAAKMBU3lzdGVtLkNvbGxlY3Rpb25zLkdlbmVyaWMuTGlzdGAxW1tBcGxvcmlzLkNoYXJ0LkNvbHVtbk9yaWVudGVkTGVnZW5k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nkAAAACeUAAAAJFAAAAAkBAAAACeYAAAABZQAAABwAAAAB5wAAACEAAADYz3JDKgeEQwHoAAAAIQAAAFIz5EN175BDCekAAAAJ6gAAAAAAAAAKAesAAABzAAAAAAAAAAAAAAAB7AAAAHMAAAAAAAAAAAAAAAAAAAAB7QAAABUAAAAAAAAAAAAAAAAAAAAAAAAApAEAAP////8BAQoJ7gAAAAEACgEBZgAAACUAAAAJ7wAAAAEAAAABAAAAAWcAAAAmAAAACfAAAAABAAAAAQAAAAVx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fEAAAAJ8gAAAAEAAAD+////AQAAAAEAAAABAAAAAQAAAAEAAAABAAAAAAABBXI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8wAAAAn0AAAAAQAAAAAAAAAAAAAAAAAAAAABBXYAAAAfQXBsb3Jpcy5CYXNlLk9iamVjdHMuUGVyc0lkRGF0YQIAAAADbUlkC21DdXN0b21EYXRhBwIIAwAAAAn1AAAACfYAAAAFeQAAABpBcGxvcmlzLkJhc2UuT2JqZWN0cy5Db2xvcgcAAAASRGF0YU9iamVjdCttUGFyZW50FURhdGFPYmplY3QrbUNvbnRhaW5lcgVtVHlwZQRtUkdCEG1UaGVtZUNvbG9ySW5kZXgMbUF1dG9VcGRhdGVkCW1Nb2RpZmllZAICAAAAAAAICAgBAQMAAAAKCgAAAAAAAAAADQAAAAABAXoAAAB5AAAACgoBAAAAAAAAAP////8AAQeMAAAAAAEAAAAQAAAABB9BcGxvcmlzLkJhc2UuT2JqZWN0cy5EYXRhT2JqZWN0AwAAAAkJAAAACQoAAAAJCwAAAAkMAAAACRAAAAAJEQAAAAkNAAAACQ4AAAAJDwAAAAkHAAAACQYAAAAJGAAAAAkUAAAADQMHjQAAAAABAAAABAAAAAQcQXBsb3Jpcy5CYXNlLlVJLlZpc3VhbE9iamVjdAMAAAAJHAAAAA0DBI4AAACRAVN5c3RlbS5Db2xsZWN0aW9ucy5HZW5lcmljLkxpc3RgMVtbQXBsb3Jpcy5DaGFydC5WYWx1ZUxpbmUsIEFwbG9yaXMuQ2hhcnQsIFZlcnNpb249NC4yLjAuMTkwOCwgQ3VsdHVyZT1uZXV0cmFsLCBQdWJsaWNLZXlUb2tlbj0xNmZjMTNhMjI2YzBlOTUxXV0DAAAABl9pdGVtcwVfc2l6ZQhfdmVyc2lvbgQAABlBcGxvcmlzLkNoYXJ0LlZhbHVlTGluZVtdAgAAAAgICfcAAAAAAAAAAAAAAAGPAAAAJQAAAAnaAAAAAAAAAAAAAAABkAAAACYAAAAJ2AAAAAAAAAAAAAAABJEAAACRAVN5c3RlbS5Db2xsZWN0aW9ucy5HZW5lcmljLkxpc3RgMVtbQXBsb3Jpcy5DaGFydC5BeGlzQnJlYWssIEFwbG9yaXMuQ2hhcnQsIFZlcnNpb249NC4yLjAuMTkwOCwgQ3VsdHVyZT1uZXV0cmFsLCBQdWJsaWNLZXlUb2tlbj0xNmZjMTNhMjI2YzBlOTUxXV0DAAAABl9pdGVtcwVfc2l6ZQhfdmVyc2lvbgQAABlBcGxvcmlzLkNoYXJ0LkF4aXNCcmVha1tdAgAAAAgICfgAAAAAAAAAAAAAAAGSAAAAJQAAAAnaAAAAAAAAAAAAAAABkwAAACYAAAAJ2AAAAAAAAAAAAAAABJUAAACQAVN5c3RlbS5Db2xsZWN0aW9ucy5HZW5lcmljLkxpc3RgMVtbQXBsb3Jpcy5DaGFydC5UaWNrTWFyaywgQXBsb3Jpcy5DaGFydCwgVmVyc2lvbj00LjIuMC4xOTA4LCBDdWx0dXJlPW5ldXRyYWwsIFB1YmxpY0tleVRva2VuPTE2ZmMxM2EyMjZjMGU5NTFdXQMAAAAGX2l0ZW1zBV9zaXplCF92ZXJzaW9uBAAAGEFwbG9yaXMuQ2hhcnQuVGlja01hcmtbXQIAAAAICAn5AAAAAAAAAAAAAAABlgAAACUAAAAJ2gAAAAAAAAAAAAAAAZcAAAAmAAAACdgAAAAAAAAAAAAAAAGaAAAAcQAAAAoKAAAAQD8J+gAAAAn7AAAAAQAAAP7///8AAAAAAQAAAAAAAAAAAAAAAQAAAAAAAAAAAAABmwAAAHYAAAAJ/AAAAAn9AAAABag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3AAAACXgAAAAJ/gAAAAEACf8AAAABqQAAAHkAAAAKCgEAAAAAAAAA/////wABBK4AAACWAVN5c3RlbS5Db2xsZWN0aW9ucy5HZW5lcmljLkxpc3RgMVtbQXBsb3Jpcy5CYXNlLk9iamVjdHMuVmFyaWFibGUsIEFwbG9yaXMuQmFzZSwgVmVyc2lvbj00LjIuMC4xOTA4LCBDdWx0dXJlPW5ldXRyYWwsIFB1YmxpY0tleVRva2VuPTE2ZmMxM2EyMjZjMGU5NTFdXQMAAAAGX2l0ZW1zBV9zaXplCF92ZXJzaW9uBAAAH0FwbG9yaXMuQmFzZS5PYmplY3RzLlZhcmlhYmxlW10DAAAACAgJAAEAAAAAAAAAAAAAAa8AAAB2AAAACQEBAAAJAgEAAAewAAAAAAEAAAAIAAAABB9BcGxvcmlzLkJhc2UuT2JqZWN0cy5EYXRhT2JqZWN0AwAAAAkqAAAACSsAAAAJLAAAAAktAAAACSgAAAAJKQAAAAoKB7EAAAAAAQAAAAQAAAAEHEFwbG9yaXMuQmFzZS5VSS5WaXN1YWxPYmplY3QDAAAACTAAAAAJNAAAAAoKAbIAAACOAAAACfcAAAAAAAAAAAAAAAGzAAAAJQAAAAnaAAAAAAAAAAAAAAABtAAAACYAAAAJ2AAAAAAAAAAAAAAAAbUAAACRAAAACfgAAAAAAAAAAAAAAAG2AAAAJQAAAAnaAAAAAAAAAAAAAAABtwAAACYAAAAJ2AAAAAAAAAAAAAAAAbkAAACVAAAACQMBAAAGAAAAIgAAAAG6AAAAJQAAAAkEAQAABgAAACIAAAABuwAAACYAAAAJ2AAAAAAAAAAAAAAAAb4AAABxAAAACgoAAABAPwkFAQAACQYBAAABAAAA/v///wAAAAABAAAAAAAAAAAAAAABAAAAAAAAAAAAAAG/AAAAdgAAAAkHAQAACQgBAAAFzA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cAAAAJeAAAAAkJAQAAAQAJCgEAAAHNAAAAeQAAAAoKAQAAAAAAAAD/////AAEB0gAAAK4AAAAJAAEAAAAAAAAAAAAAAdMAAAB2AAAACQsBAAAJDAEAAAfUAAAAAAEAAAAIAAAABB9BcGxvcmlzLkJhc2UuT2JqZWN0cy5EYXRhT2JqZWN0AwAAAAk6AAAACTsAAAAJPAAAAAk9AAAACTgAAAAJOQAAAAoKB9UAAAAAAQAAAAQAAAAEHEFwbG9yaXMuQmFzZS5VSS5WaXN1YWxPYmplY3QDAAAACUAAAAAJRAAAAAoKB9YAAAAAAQAAAAgAAAAEHUFwbG9yaXMuQ2hhcnQuQ2hhcnREYXRhU2VyaWVzAgAAAAkNAQAACQ4BAAANBgfXAAAAAAEAAAAIAAAABB9BcGxvcmlzLkJhc2UuT2JqZWN0cy5EYXRhT2JqZWN0AwAAAAkNAQAACQ4BAAANBgfYAAAAAAEAAAAAAAAABBxBcGxvcmlzLkJhc2UuVUkuVmlzdWFsT2JqZWN0AwAAAAfZAAAAAAEAAAAAAAAABCJBcGxvcmlzLkNoYXJ0LkFubm90YXRpb25EYXRhU2VyaWVzAgAAAAfaAAAAAAEAAAAAAAAABB9BcGxvcmlzLkJhc2UuT2JqZWN0cy5EYXRhT2JqZWN0AwAAAAfbAAAAAAEAAAAAAAAABB1BcGxvcmlzLkNoYXJ0LkFubm90YXRpb25Hcm91cAIAAAAH3AAAAAABAAAABAAAAAQcQXBsb3Jpcy5DaGFydC5DaGFydERhdGFHcm91cAIAAAAJDwEAAAkQAQAACREBAAAKB90AAAAAAQAAAAQAAAAEH0FwbG9yaXMuQmFzZS5PYmplY3RzLkRhdGFPYmplY3QDAAAACQ8BAAAJEAEAAAkRAQAACgfeAAAAAAEAAAAAAAAABBZBcGxvcmlzLkNoYXJ0LkRlbHRhQmFyAgAAAAffAAAAAAEAAAAAAAAABBlBcGxvcmlzLkNoYXJ0LkRlbHRhQnJpZGdlAgAAAAfgAAAAAAEAAAAEAAAABBlBcGxvcmlzLkNoYXJ0Lkdyb3d0aEFycm93AgAAAAkSAQAACRMBAAAJFAEAAAoH4QAAAAABAAAABAAAAAQfQXBsb3Jpcy5CYXNlLk9iamVjdHMuRGF0YU9iamVjdAMAAAAJEgEAAAkTAQAACRQBAAAKB+IAAAAAAQAAAAAAAAAEIEFwbG9yaXMuQ2hhcnQuV2F0ZXJmYWxsQ29ubmVjdG9yAgAAAAfjAAAAAAEAAAAAAAAABB5BcGxvcmlzLkNoYXJ0LkVsZW1lbnRDb25uZWN0b3ICAAAABOQAAACjAVN5c3RlbS5Db2xsZWN0aW9ucy5HZW5lcmljLkxpc3RgMVtbQXBsb3Jpcy5DaGFydC5Db2x1bW5PcmllbnRlZExlZ2VuZEVsZW1lbnQsIEFwbG9yaXMuQ2hhcnQsIFZlcnNpb249NC4yLjAuMTkwOCwgQ3VsdHVyZT1uZXV0cmFsLCBQdWJsaWNLZXlUb2tlbj0xNmZjMTNhMjI2YzBlOTUxXV0DAAAABl9pdGVtcwVfc2l6ZQhfdmVyc2lvbgQAACtBcGxvcmlzLkNoYXJ0LkNvbHVtbk9yaWVudGVkTGVnZW5kRWxlbWVudFtdAgAAAAgICRUBAAACAAAALQAAAAHlAAAAJQAAAAkWAQAAAgAAAAIAAAAB5gAAACYAAAAJFwEAAAAAAAAAAAAAAekAAABxAAAACgoAAAAAAAkYAQAACRkBAAABAAAA/v///wEAAAABAAAAAQAAAAEAAAABAAAAAQAAAAAAAQHqAAAAcgAAAAoKCRoBAAAJGwEAAAEAAAAAAAAAAAAAAAAAAAAAAQHuAAAAdgAAAAkcAQAACR0BAAAH7wAAAAABAAAABAAAAAQfQXBsb3Jpcy5CYXNlLk9iamVjdHMuRGF0YU9iamVjdAMAAAAJYwAAAA0DB/AAAAAAAQAAAAQAAAAEHEFwbG9yaXMuQmFzZS5VSS5WaXN1YWxPYmplY3QDAAAACWUAAAANAwHxAAAAeQAAAAoKAAAAAAAAAAANAAAAAAEB8gAAAHkAAAAKCgEAAAAAAAAA/////wABAfMAAAB5AAAACgoBAAAA////AP////8AAQH0AAAAeQAAAAoKAQAAAAAAAAD/////AAEP9QAAAAEAAAAILQAAAAf2AAAAAAEAAAABAAAAAw1TeXN0ZW0uSW50UHRyBB4BAAANU3lzdGVtLkludFB0cgEAAAAFdmFsdWUACQAAAAAAAAAAB/cAAAAAAQAAAAAAAAAEF0FwbG9yaXMuQ2hhcnQuVmFsdWVMaW5lAgAAAAf4AAAAAAEAAAAAAAAABBdBcGxvcmlzLkNoYXJ0LkF4aXNCcmVhawIAAAAH+QAAAAABAAAAAAAAAAQWQXBsb3Jpcy5DaGFydC5UaWNrTWFyawIAAAAF+gAAABpBcGxvcmlzLkJhc2UuT2JqZWN0cy5Db2xvcgcAAAASRGF0YU9iamVjdCttUGFyZW50FURhdGFPYmplY3QrbUNvbnRhaW5lcgVtVHlwZQRtUkdCEG1UaGVtZUNvbG9ySW5kZXgMbUF1dG9VcGRhdGVkCW1Nb2RpZmllZAQCAAAAAAAfQXBsb3Jpcy5CYXNlLk9iamVjdHMuTGluZUZvcm1hdAMAAAAICAgBAQMAAAAJmgAAAAoAAAAAAAAAAA0AAAAAAAX7AAAAGkFwbG9yaXMuQmFzZS5PYmplY3RzLkNvbG9yBwAAABJEYXRhT2JqZWN0K21QYXJlbnQVRGF0YU9iamVjdCttQ29udGFpbmVyBW1UeXBlBG1SR0IQbVRoZW1lQ29sb3JJbmRleAxtQXV0b1VwZGF0ZWQJbU1vZGlmaWVkBAIAAAAAAB9BcGxvcmlzLkJhc2UuT2JqZWN0cy5MaW5lRm9ybWF0AwAAAAgICAEBAwAAAAmaAAAACgEAAAAAAAAA/////wABD/wAAAABAAAACDYAAAAH/QAAAAABAAAAAQAAAAMNU3lzdGVtLkludFB0cgEfAQAAHgEAAAAAAAAAAAAAAf4AAAB5AAAACgoAAAAAAAAAAA0AAAAAAQH/AAAAeQAAAAoKAQAAAAAAAAD/////AAEHAAEAAAABAAAAAAAAAAQdQXBsb3Jpcy5CYXNlLk9iamVjdHMuVmFyaWFibGUDAAAADwEBAAABAAAACC8AAAAHAgEAAAABAAAAAQAAAAMNU3lzdGVtLkludFB0cgEgAQAAHgEAAAAAAAAAAAAABwMBAAAAAQAAABAAAAAEFkFwbG9yaXMuQ2hhcnQuVGlja01hcmsCAAAACSEBAAAJIgEAAAkjAQAACSQBAAAJJQEAAAkmAQAADQoHBAEAAAABAAAAEAAAAAQfQXBsb3Jpcy5CYXNlLk9iamVjdHMuRGF0YU9iamVjdAMAAAAJIQEAAAkiAQAACSMBAAAJJAEAAAklAQAACSYBAAANCgUFAQAAGkFwbG9yaXMuQmFzZS5PYmplY3RzLkNvbG9yBwAAABJEYXRhT2JqZWN0K21QYXJlbnQVRGF0YU9iamVjdCttQ29udGFpbmVyBW1UeXBlBG1SR0IQbVRoZW1lQ29sb3JJbmRleAxtQXV0b1VwZGF0ZWQJbU1vZGlmaWVkBAIAAAAAAB9BcGxvcmlzLkJhc2UuT2JqZWN0cy5MaW5lRm9ybWF0AwAAAAgICAEBAwAAAAm+AAAACgAAAAAAAAAADQAAAAAABQYBAAAaQXBsb3Jpcy5CYXNlLk9iamVjdHMuQ29sb3IHAAAAEkRhdGFPYmplY3QrbVBhcmVudBVEYXRhT2JqZWN0K21Db250YWluZXIFbVR5cGUEbVJHQhBtVGhlbWVDb2xvckluZGV4DG1BdXRvVXBkYXRlZAltTW9kaWZpZWQEAgAAAAAAH0FwbG9yaXMuQmFzZS5PYmplY3RzLkxpbmVGb3JtYXQDAAAACAgIAQEDAAAACb4AAAAKAQAAAAAAAAD/////AAEPBwEAAAEAAAAINwAAAAcIAQAAAAEAAAABAAAAAw1TeXN0ZW0uSW50UHRyAScBAAAeAQAAAAAAAAAAAAABCQEAAHkAAAAKCgAAAAAAAAAADQAAAAABAQoBAAB5AAAACgoBAAAAAAAAAP////8AAQ8LAQAAAQAAAAgwAAAABwwBAAAAAQAAAAEAAAADDVN5c3RlbS5JbnRQdHIBKAEAAB4BAAAAAAAAAAAAAAUN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Dg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QEAAAABKQEAABMAAAAAAAAAAgAAAP////8JBwAAAAkqAQAABisBAAAEMjAxNQoKAAAAAAAAAAAAAAAACgoACSwBAAAJLQEAAAkuAQAAAAAAAAAAAAAAAAAAAAAAAAAACS8BAAAJAQAAAAkBAAAACTABAAABDgEAAA0BAAAJAQAAAAExAQAAEwAAAAAAAAADAAAA/////wkHAAAACTIBAAAGMwEAAAQyMDE3CgoAAAAAAAAAAAAAAAAKCgAJNAEAAAk1AQAACTYBAAAAAAAAAAEAAAABAAAAAAAAAAAJNwEAAAkBAAAACQEAAAAJOAEAAAUP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kBAAAABjkBAAAGMi1ZZWFyAAU6AQAAHkFwbG9yaXMuQ2hhcnQuQ2hhcnRHcm91cEFuY2hvcgEAAAAHdmFsdWVfXwAIAgAAAAAAAAAKAAAAAAAAAAACAAAACTsBAAAJPAEAAAk9AQAACgkHAAAACT4BAAAJAQAAAAkBAAAACT8BAAABEAEAAA8BAAAJAQAAAAZAAQAADTQtWWVhciBQdWJsaWMAAUEBAAA6AQAAAAAAAAoAAAAAAAAAAAIAAAAJQgEAAAlDAQAACUQBAAAKCQcAAAAJRQEAAAkBAAAACQEAAAAJRgEAAAERAQAADwEAAAkBAAAABkcBAAAONC1ZZWFyIFByaXZhdGUAAUgBAAA6AQAAAAAAAAoAAAAAAAAAAAIAAAAJSQEAAAlKAQAACUsBAAAKCQcAAAAJTAEAAAkBAAAACQEAAAAJTQEAAAUSAQAAGUFwbG9yaXMuQ2hhcnQuR3Jvd3RoQXJyb3cRAAAADW1EYXRhRWxlbWVudDENbURhdGFFbGVtZW50MgZtQ2hhcnQObVBvc2l0aW9uSW5kZXgPbVBvc2l0aW9uT2Zmc2V0Em1NYWduaXR1ZGVQcm92aWRlchBtTnVtYmVyRm9ybWF0QWJzFG1OdW1iZXJGb3JtYXRQZXJjZW50BW1MaW5lBm1MYWJlbA9tTGFiZWxQb3NpdGlvbnMRbUxhYmVsQW5jaG9yTW9kZXMObUxhYmVsUG9zaXRpb24YRGF0YU9iamVjdCttQ2hpbGRPYmplY3RzEkRhdGFPYmplY3QrbVBhcmVudBVEYXRhT2JqZWN0K21Db250YWluZXIZRGF0YU9iamVjdCttVmlzdWFsT2JqZWN0cwQEBAAABAQEBAQEBAADBAQDHkFwbG9yaXMuQ2hhcnQuQ2hhcnREYXRhRWxlbWVudAIAAAAeQXBsb3Jpcy5DaGFydC5DaGFydERhdGFFbGVtZW50AgAAACFBcGxvcmlzLkNoYXJ0LkNvbHVtbk9yaWVudGVkQ2hhcnQCAAAACAsnQXBsb3Jpcy5DaGFydC5TdGFuZGFyZE1hZ25pdHVkZVByb3ZpZGVyAgAAABpBcGxvcmlzLkNoYXJ0Lk51bWJlckZvcm1hdAIAAAAaQXBsb3Jpcy5DaGFydC5OdW1iZXJGb3JtYXQCAAAAGkFwbG9yaXMuQmFzZS5VSS5WaXN1YWxMaW5lAwAAABtBcGxvcmlzLkJhc2UuVUkuRnJhbWVkTGFiZWwDAAAAF1N5c3RlbS5EcmF3aW5nLlBvaW50RltdBAAAABlBcGxvcmlzLkJhc2UuQW5jaG9yTW9kZVtdAwAAAAi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lOAQAACU8BAAAJAQAAAAAAAACwE0tCCVABAAAJUQEAAAlSAQAACVMBAAAJVAEAAAlVAQAACVYBAAAAAAAACVcBAAAJAQAAAAkBAAAACVgBAAABEwEAABIBAAAJWQEAAAlaAQAACQEAAAAAAAAA2okNQglbAQAACVwBAAAJXQEAAAleAQAACV8BAAAJYAEAAAlhAQAAAAAAAAliAQAACQEAAAAJAQAAAAljAQAAARQBAAASAQAACWQBAAAJZQEAAAkBAAAAAAAAAHZiB0IJZgEAAAlnAQAACWgBAAAJaQEAAAlqAQAACWsBAAAJbAEAAAAAAAAJbQEAAAkBAAAACQEAAAAJbgEAAAcVAQAAAAEAAAAEAAAABClBcGxvcmlzLkNoYXJ0LkNvbHVtbk9yaWVudGVkTGVnZW5kRWxlbWVudAIAAAAJbwEAAAlwAQAACgoHFgEAAAABAAAABAAAAAQfQXBsb3Jpcy5CYXNlLk9iamVjdHMuRGF0YU9iamVjdAMAAAAJbwEAAAlwAQAACgoHFwEAAAABAAAAAAAAAAQcQXBsb3Jpcy5CYXNlLlVJLlZpc3VhbE9iamVjdAMAAAABGAEAAHkAAAAKCgAAAAAAAAAADQAAAAABARkBAAB5AAAACgoBAAAAAAAAAP////8AAQEaAQAAeQAAAAoKAQAAAP///wD/////AAEBGwEAAHkAAAAKCgEAAAAAAAAA/////wABDxwBAAABAAAACC4AAAAHHQEAAAABAAAAAQAAAAMNU3lzdGVtLkludFB0cgFxAQAAHgEAAAAAAAAAAAAABSE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i4wLjE5MDg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DgsIEN1bHR1cmU9bmV1dHJhbCwgUHVibGljS2V5VG9rZW49MTZmYzEzYTIyNmMwZTk1MV1dAgAAAAlyAQAACglzAQAACQcAAAABAAAAAAAAAAABdAEAACEAAABINydClIxwQwF1AQAAIQAAAEg3F0KUjHBDAAl2AQAACQcAAAAJAQAAAAl3AQAAASIBAAAhAQAACXgBAAAKCXkBAAAJBwAAAAGamZmZmZm5PwF6AQAAIQAAAEg3J0IU40NDAXsBAAAhAAAASDcXQhTjQ0MACXwBAAAJBwAAAAkBAAAACX0BAAABIwEAACEBAAAJfgEAAAoJfwEAAAkHAAAAAZqZmZmZmck/AYABAAAhAAAASDcnQpQ5F0MBgQEAACEAAABINxdClDkXQwAJggEAAAkHAAAACQEAAAAJgwEAAAEkAQAAIQEAAAmEAQAACgmFAQAACQcAAAABMzMzMzMz0z8BhgEAACEAAABINydCKCDVQgGHAQAAIQAAAEg3F0IoINVCAAmIAQAACQcAAAAJAQAAAAmJAQAAASUBAAAhAQAACYoBAAAKCYsBAAAJBwAAAAGamZmZmZnZPwGMAQAAIQAAAEg3J0JRmndCAY0BAAAhAAAASDcXQlGad0IACY4BAAAJBwAAAAkBAAAACY8BAAABJgEAACEBAAAJkAEAAAoJkQEAAAkHAAAAAQAAAAAAAOA/AZIBAAAhAAAASDcnQqPoiUEBkwEAACEAAABINxdCo+iJQQAJlAEAAAkHAAAACQEAAAAJlQEAAAUqAQAAogFBcGxvcmlzLkJhc2UuT2JqZWN0cy5EYXRhT2JqZWN0Q29sbGVjdGlvbmAxW1tBcGxvcmlzLkNoYXJ0LkNoYXJ0RGF0YUVsZW1lbnQsIEFwbG9yaXMuQ2hhcnQsIFZlcnNpb249NC4yLjAuMTkwOC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yLjAuMTkwOCwgQ3VsdHVyZT1uZXV0cmFsLCBQdWJsaWNLZXlUb2tlbj0xNmZjMTNhMjI2YzBlOTUxXV0DAAAAmAFTeXN0ZW0uQ29sbGVjdGlvbnMuR2VuZXJpYy5MaXN0YDFbW0FwbG9yaXMuQ2hhcnQuQ2hhcnREYXRhRWxlbWVudCwgQXBsb3Jpcy5DaGFydCwgVmVyc2lvbj00LjIuMC4xOTA4LCBDdWx0dXJlPW5ldXRyYWwsIFB1YmxpY0tleVRva2VuPTE2ZmMxM2EyMjZjMGU5NTFdX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DAAAACgmWAQAACZcBAAAJDQEAAAkBAAAACZgBAAAFLAEAABxBcGxvcmlzLkNoYXJ0LkNvbm5lY3RlZExhYmVsJQ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IAAAAKWAIAAAWZAQAAK0FwbG9yaXMuQ2hhcnQuQ29ubmVjdGVkTGFiZWwrZUNvbm5lY3Rvck1vZGUBAAAAB3ZhbHVlX18ACAIAAAABAAAABZoBAAA2QXBsb3Jpcy5DaGFydC5Db25uZWN0ZWRMYWJlbCtlQW5nbGVkQ29ubmVjdG9yRGlyZWN0aW9uAQAAAAd2YWx1ZV9fAAgCAAAAAAAAAAGbAQAAFQAAAD+F60Oa5gtDzP6OQvRLw0IFnAEAAC1BcGxvcmlzLkNoYXJ0LkNvbm5lY3RlZExhYmVsK2VUYXJnZXRBcmVhU2hhcGUBAAAAB3ZhbHVlX18ACAIAAAAAAAAAAAAQQQEBnQEAACEAAABSAh1El7k8QwGeAQAAoQAAAAQAAAAAAAAAAAAAAAAJnwEAAAAAAAAJoAEAAAAAAAGhAQAAqgAAAAAAAAABogEAAHMAAAAAAAhCAACIQQGjAQAAFQAAAAAAAAAAAAAAAAAAAAAAAABeutk/CSsBAAAKCaQBAAAGpQEAAAAgAwAA/////wABCgmmAQAAAQAKAQctAQAAAAEAAAACAAAABBVTeXN0ZW0uRHJhd2luZy5Qb2ludEYEAAAAAacBAAAhAAAAUgIdRJe5PEMBqAEAACEAAABINxNCtz9OQwcuAQAAAAEAAAACAAAABBdBcGxvcmlzLkJhc2UuQW5jaG9yTW9kZQMAAAABqQEAAKEAAAAEAAAAAaoBAAChAAAAAgAAAAEvAQAAJQAAAAmrAQAAAQAAAAEAAAABMAEAACYAAAAJrAEAAAEAAAADAAAAATIBAAAqAQAACgmtAQAACa4BAAAJDgEAAAkBAAAACa8BAAABNAEAACwBAAAKWAIAAAGwAQAAmQEAAAEAAAABsQEAAJoBAAAAAAAAAbIBAAAVAAAAeCIJRN+krULQ/o5CJLoWQwGzAQAAnAEAAAAAAAAAABBBAQG0AQAAIQAAAFICHUSCLyJDAbUBAAChAAAABAAAAAAAAAAAAAAAAAm2AQAAAAAAAAm3AQAAAAAAAbgBAACqAAAAAAAAAAG5AQAAcwAAAAAACEIAAIhBAboBAAAVAAAAAAAAAAAAAAAAAAAAAAAAAF662T8JMwEAAAoJuwEAAAmlAQAAIAMAAP////8AAQoJvAEAAAEACgEHNQEAAAABAAAAAgAAAAQVU3lzdGVtLkRyYXdpbmcuUG9pbnRGBAAAAAG9AQAAIQAAAFICHUSCLyJDAb4BAAAhAAAASDcTQuUjI0MHNgEAAAABAAAAAgAAAAQXQXBsb3Jpcy5CYXNlLkFuY2hvck1vZGUDAAAAAb8BAAChAAAABAAAAAHAAQAAoQAAAAIAAAABNwEAACUAAAAJwQEAAAEAAAABAAAAATgBAAAmAAAACcIBAAABAAAAAQAAAA87AQAAAAAAAAgHPAEAAAABAAAAAAAAAAQVQXBsb3Jpcy5CYXNlLlVJLkxhYmVsAwAAAAE9AQAANAAAAAHDAQAAIQAAAAiNDkOUjHVDAcQBAAChAAAAAwAAAAAAAAAAAAAAAAnFAQAAAAAAAAnGAQAAAAAAAccBAACqAAAAAAAAAAHIAQAAcwAAAAAAOEIAAIhBAckBAAAVAAAAiZ30QomddEN+JRtCEztRQV662T8JOQEAAAoJygEAAAmlAQAAIAMAAP////8BAQoJywEAAAEACgEBPgEAACUAAAAJ2gAAAAAAAAAAAAAAAT8BAAAmAAAACcwBAAABAAAAAwAAAA9CAQAAAAAAAAgHQwEAAAABAAAAAAAAAAQVQXBsb3Jpcy5CYXNlLlVJLkxhYmVsAwAAAAFEAQAANAAAAAHNAQAAIQAAALsFrEOUjHVDAc4BAAChAAAAAwAAAAAAAAAAAAAAAAnPAQAAAAAAAAnQAQAAAAAAAdEBAACqAAAAAAAAAAHSAQAAcwAAAAAAukIAAIhBAdMBAAAVAAAAO7GYQ4mddEOE4ZVCEztRQV662T8JQAEAAAoJ1AEAAAmlAQAAIAMAAP////8BAQoJ1QEAAAEACgEBRQEAACUAAAAJ2gAAAAAAAAAAAAAAAUYBAAAmAAAACdYBAAABAAAAAwAAAA9JAQAAAAAAAAgHSgEAAAABAAAAAAAAAAQVQXBsb3Jpcy5CYXNlLlVJLkxhYmVsAwAAAAFLAQAANAAAAAHXAQAAIQAAAHliCESUjHVDAdgBAAChAAAAAwAAAAAAAAAAAAAAAAnZAQAAAAAAAAnaAQAAAAAAAdsBAACqAAAAAAAAAAHcAQAAcwAAAAAAxkIAAIhBAd0BAAAVAAAAxE78Q4mddEOXHJ9CEztRQV662T8JRwEAAAoJ3gEAAAmlAQAAIAMAAP////8BAQoJ3wEAAAEACgEBTAEAACUAAAAJ2gAAAAAAAAAAAAAAAU0BAAAmAAAACeABAAABAAAAAQAAAAVOAQ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yLjAuMTkwO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wOCwgQ3VsdHVyZT1uZXV0cmFsLCBQdWJsaWNLZXlUb2tlbj0xNmZjMTNhMjI2YzBlOTUxXV0CAAAACeEBAAAJ4gEAAAoJ4wEAAAoJDQEAAAgGEmWvqSCpwz8KAAAAAAnkAQAACeUBAAAAAAAAAAnmAQAACQ0BAAAJAQAAAAnnAQAAAU8BAABOAQAACegBAAAJ6QEAAAoJ6gEAAAoJDgEAAAgG7Zcf5GMv1j8KAAAAAAnrAQAACewBAAAAAAAAAAntAQAACQ4BAAAJAQAAAAnuAQAABVABAAAnQXBsb3Jpcy5DaGFydC5TdGFuZGFyZE1hZ25pdHVkZVByb3ZpZGVyBAAAABJtTWFnbml0dWRlQWJzb2x1dGURbU1hZ25pdHVkZVBlcmNlbnQSbUFic29sdXRlVmFyaWFibGVzEW1QZXJjZW50VmFyaWFibGVzAAAHBwgICAgCAAAAAAAAAAAAAAAJ7wEAAAnwAQAABVE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lBcGxvcmlzLkNoYXJ0Lkdyb3d0aEFycm93AgAAACFBcGxvcmlzLkNoYXJ0LkNvbHVtbk9yaWVudGVkQ2hhcnQCAAAACAEICAEICAgCAAAACRIBAAAJAQAAAAAAAAABBvEBAAABLgMAAAAG8gEAAAEsBvMBAAABLQb0AQAAASsBAAAAAAoJuAAAAAb1AQAACE0vZC95eXl5AAAAAAoAAAAAAAAAAAVS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ZQXBsb3Jpcy5DaGFydC5Hcm93dGhBcnJvdwIAAAAhQXBsb3Jpcy5DaGFydC5Db2x1bW5PcmllbnRlZENoYXJ0AgAAAAgBCAgBCAgIAgAAAAkSAQAACQEAAAAAAAAAAAnxAQAAAwAAAAnyAQAACfMBAAAJ9AEAAAEAAAAACgb2AQAAASUJ9QEAAAEAAAAKAAAAAAAAAAABUwEAADAAAAAB9wEAACEAAACsms9C9JstQwH4AQAAIQAAALtMNUOgyK5CCfkBAACoAgAA/////wEBCgn6AQAAAQAKAQVUAQAAG0FwbG9yaXMuQmFzZS5VSS5GcmFtZWRMYWJlbB8AAAALbUxpbmVGb3JtYXQLbUZpbGxGb3JtYX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XTGFiZWwrbUN1c3Rvb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AAAEAAQAAAAEBAQAAQMDAQAAAAAHAgAAAwAfQXBsb3Jpcy5CYXNlLk9iamVjdHMuTGluZUZvcm1hdAMAAAAfQXBsb3Jpcy5CYXNlLk9iamVjdHMuRmlsbEZvcm1hdAMAAA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wOCwgQ3VsdHVyZT1uZXV0cmFsLCBQdWJsaWNLZXlUb2tlbj0xNmZjMTNhMjI2YzBlOTUxXV2WAVN5c3RlbS5Db2xsZWN0aW9ucy5HZW5lcmljLkxpc3RgMVtbQXBsb3Jpcy5CYXNlLk9iamVjdHMuVmFyaWFibGUsIEFwbG9yaXMuQmFzZSwgVmVyc2lvbj00LjIuMC4xOTA4LCBDdWx0dXJlPW5ldXRyYWwsIFB1YmxpY0tleVRva2VuPTE2ZmMxM2EyMjZjMGU5NTFdXQgIAQEIAQEPU3lzdGVtLkludFB0cltdAQMAAAAJ+wEAAAn8AQAAAf0BAAAhAAAACI0OQyKAAkMB/gEAAKEAAAAAAAAAAAAAAAAAAAAACf8BAAAAAAAACQACAAAAAAABAQIAAKoAAAAAAAAAAQICAABzAAAAAAD4QQAAiEEBAwIAABUAAAAAAAAAAAAAAAAAAAAAAAAAAAAAAAYEAgAAAzUwJQoJBQIAAAmlAQAANAMAAP////8AAQoJBgIAAAEACgEHVQEAAAABAAAAAQAAAAQVU3lzdGVtLkRyYXdpbmcuUG9pbnRGBAAAAAEHAgAAIQAAAAiNDkMigAJDB1YBAAAAAQAAAAEAAAAEF0FwbG9yaXMuQmFzZS5BbmNob3JNb2RlAwAAAAEIAgAAoQAAAAAAAAABVwEAACUAAAAJCQIAAAIAAAACAAAAAVgBAAAmAAAACQoCAAACAAAAAgAAAAFZAQAATgEAAAkLAgAACQwCAAAKCQ0CAAAKCQ0BAAAIBvIIUSikKcU/CgEAAAAJDgIAAAkPAgAAAAAAAAAJEAIAAAkNAQAACQEAAAAJEQIAAAFaAQAATgEAAAkSAgAACRMCAAAKCRQCAAAKCQ4BAAAIBoJ1tHmf4tI/CgEAAAAJFQIAAAkWAgAAAAAAAAAJFwIAAAkOAQAACQEAAAAJGAIAAAFbAQAAUAEAAAAAAAAAAAAACe8BAAAJ8AEAAAVc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ZQXBsb3Jpcy5DaGFydC5Hcm93dGhBcnJvdwIAAAAhQXBsb3Jpcy5DaGFydC5Db2x1bW5PcmllbnRlZENoYXJ0AgAAAAgBCAgBCAgIAgAAAAkTAQAACQEAAAAAAAAAAQnxAQAAAwAAAAnyAQAACfMBAAAJ9AEAAAEAAAAACgm4AAAACfUBAAAAAAAACgAAAAAAAAAABV0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lBcGxvcmlzLkNoYXJ0Lkdyb3d0aEFycm93AgAAACFBcGxvcmlzLkNoYXJ0LkNvbHVtbk9yaWVudGVkQ2hhcnQCAAAACAEICAEICAgCAAAACRMBAAAJAQAAAAAAAAAACfEBAAADAAAACfIBAAAJ8wEAAAn0AQAAAQAAAAAKCfYBAAAJ9QEAAAEAAAAKAAAAAAAAAAABXgEAADAAAAABGQIAACEAAADipZhDQB4nQwEaAgAAIQAAAJRlv0PhVtpCCRsCAACoAgAA/////wEBCgkcAgAAAQAKAQFfAQAAVAEAAAkdAgAACR4CAAABHwIAACEAAAC7BaxD2CQKQwEgAgAAoQAAAAAAAAAAAAAAAAAAAAAJIQIAAAAAAAAJIgIAAAAAAAEjAgAAqgAAAAAAAAABJAIAAHMAAAAAAAAAAAAAAAElAgAAFQAAAAAAAAAAAAAAAAAAAAAAAAAAAAAABiYCAAADMzQlCgknAgAACaUBAAA0AwAA/////wABCgkoAgAAAQAKAQdgAQAAAAEAAAABAAAABBVTeXN0ZW0uRHJhd2luZy5Qb2ludEYEAAAAASkCAAAhAAAAuwWsQ9gkCkMHYQEAAAABAAAAAQAAAAQXQXBsb3Jpcy5CYXNlLkFuY2hvck1vZGUDAAAAASoCAAChAAAAAAAAAAFiAQAAJQAAAAkrAgAAAgAAAAIAAAABYwEAACYAAAAJLAIAAAIAAAACAAAAAWQBAABOAQAACS0CAAAJLgIAAAoJLwIAAAoJDQEAAAgG2zJ644q0zT8KAgAAAAkwAgAACTECAAAAAAAAAAkyAgAACQ0BAAAJAQAAAAkzAgAAAWUBAABOAQAACTQCAAAJNQIAAAoJNgIAAAoJDgEAAAgGV2ekYm511j8KAgAAAAk3AgAACTgCAAAAAAAAAAk5AgAACQ4BAAAJAQAAAAk6AgAAAWYBAABQAQAAAAAAAAAAAAAJ7wEAAAnwAQAABWc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lBcGxvcmlzLkNoYXJ0Lkdyb3d0aEFycm93AgAAACFBcGxvcmlzLkNoYXJ0LkNvbHVtbk9yaWVudGVkQ2hhcnQCAAAACAEICAEICAgCAAAACRQBAAAJAQAAAAAAAAABCfEBAAADAAAACfIBAAAJ8wEAAAn0AQAAAQAAAAAKCbgAAAAJ9QEAAAAAAAAKAAAAAAAAAAAFaA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GUFwbG9yaXMuQ2hhcnQuR3Jvd3RoQXJyb3cCAAAAIUFwbG9yaXMuQ2hhcnQuQ29sdW1uT3JpZW50ZWRDaGFydAIAAAAIAQgIAQgICAIAAAAJFAEAAAkBAAAAAAAAAAAJ8QEAAAMAAAAJ8gEAAAnzAQAACfQBAAABAAAAAAoJ9gEAAAn1AQAAAQAAAAoAAAAAAAAAAAFpAQAAMAAAAAE7AgAAIQAAABhl/UMhNQpDATwCAAAhAAAAZRISRO1BqkIJPQIAAKgCAAD/////AQEKCT4CAAABAAoBAWoBAABUAQAACT8CAAAJQAIAAAFBAgAAIQAAAHhiCEQYVt9CAUICAAChAAAAAAAAAAAAAAAAAAAAAAlDAgAAAAAAAAlEAgAAAAAAAUUCAACqAAAAAAAAAAFGAgAAcwAAAAAAAAAAAAAAAUcCAAAVAAAAAAAAAAAAAAAAAAAAAAAAAAAAAAAGSAIAAAMyMyUKCUkCAAAJpQEAADQDAAD/////AAEKCUoCAAABAAoBB2sBAAAAAQAAAAEAAAAEFVN5c3RlbS5EcmF3aW5nLlBvaW50RgQAAAABSwIAACEAAAB4YghEGFbfQgdsAQAAAAEAAAABAAAABBdBcGxvcmlzLkJhc2UuQW5jaG9yTW9kZQMAAAABTAIAAKEAAAAAAAAAAW0BAAAlAAAACU0CAAACAAAAAgAAAAFuAQAAJgAAAAlOAgAAAgAAAAIAAAAFbw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IuMC4xOTA4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A4LCBDdWx0dXJlPW5ldXRyYWwsIFB1YmxpY0tleVRva2VuPTE2ZmMxM2EyMjZjMGU5NTFdXQIAAAAJFAAAAAkNAQAACU8CAAAJUAIAAAoKCgAAAAAKCVECAAAJFAAAAAkBAAAACVICAAABcAEAAG8BAAAJFAAAAAkOAQAACVMCAAAJVAIAAAoKCgEAAAAKCVUCAAAJFAAAAAkBAAAACVYCAAABcgEAADAAAAABVwIAACEAAABINydClIxwQwFYAgAAIQAAAEg3F0KUjHBDCVkCAADMAQAA/////wEBCglaAgAAAQAKAQFzAQAANAAAAAFbAgAAIQAAAEg3EUKUjHBDAVwCAAChAAAAAgAAAAAAAAAAAAAAAAldAgAAAAAAAAleAgAAAAAAAV8CAACqAAAAAAAAAAFgAgAAcwAAAAAAsEEAAIhBAWECAAAVAAAAdmKHQbATaUPBmaJBEztRQV662T8GYgIAAAIwJQoJYwIAAAmlAQAA0AIAAP////8BAQoJZAIAAAEACgEBdgEAACUAAAAJZQIAAAAAAAAAAAAAAXcBAAAmAAAACWYCAAACAAAAAgAAAAF4AQAAMAAAAAFnAgAAIQAAAEg3J0IU40NDAWgCAAAhAAAASDcXQhTjQ0MJaQIAAMwBAAD/////AQEKCWoCAAABAAoBAXkBAAA0AAAAAWsCAAAhAAAASDcRQhTjQ0MBbAIAAKEAAAACAAAAAAAAAAAAAAAACW0CAAAAAAAACW4CAAAAAAABbwIAAKoAAAAAAAAAAXACAABzAAAAAAD4QQAAiEEBcQIAABUAAAD//x9BJ3Y8Qzf82UETO1FBXrrZPwZyAgAAAzEwJQoJcwIAAAmlAQAA0AIAAP////8BAQoJdAIAAAEACgEBfAEAACUAAAAJZQIAAAAAAAAAAAAAAX0BAAAmAAAACXUCAAACAAAAAgAAAAF+AQAAMAAAAAF2AgAAIQAAAEg3J0KUORdDAXcCAAAhAAAASDcXQpQ5F0MJeAIAAMwBAAD/////AQEKCXkCAAABAAoBAX8BAAA0AAAAAXoCAAAhAAAASDcRQpQ5F0MBewIAAKEAAAACAAAAAAAAAAAAAAAACXwCAAAAAAAACX0CAAAAAAABfgIAAKoAAAAAAAAAAX8CAABzAAAAAAD4QQAAiEEBgAIAABUAAAD//x9BndgPQzf82UETO1FBXrrZPwaBAgAAAzIwJQoJggIAAAmlAQAA0AIAAP////8BAQoJgwIAAAEACgEBggEAACUAAAAJZQIAAAAAAAAAAAAAAYMBAAAmAAAACYQCAAACAAAAAgAAAAGEAQAAMAAAAAGFAgAAIQAAAEg3J0IoINVCAYYCAAAhAAAASDcXQigg1UIJhwIAAMwBAAD/////AQEKCYgCAAABAAoBAYUBAAA0AAAAAYkCAAAhAAAASDcRQigg1UIBigIAAKEAAAACAAAAAAAAAAAAAAAACYsCAAAAAAAACYwCAAAAAAABjQIAAKoAAAAAAAAAAY4CAABzAAAAAAD4QQAAiEEBjwIAABUAAAD//x9BJ3bGQjf82UETO1FBXrrZPwaQAgAAAzMwJQoJkQIAAAmlAQAA0AIAAP////8BAQoJkgIAAAEACgEBiAEAACUAAAAJZQIAAAAAAAAAAAAAAYkBAAAmAAAACZMCAAACAAAAAgAAAAGKAQAAMAAAAAGUAgAAIQAAAEg3J0JRmndCAZUCAAAhAAAASDcXQlGad0IJlgIAAMwBAAD/////AQEKCZcCAAABAAoBAYsBAAA0AAAAAZgCAAAhAAAASDcRQlGad0IBmQIAAKEAAAACAAAAAAAAAAAAAAAACZoCAAAAAAAACZsCAAAAAAABnAIAAKoAAAAAAAAAAZ0CAABzAAAAAAD4QQAAiEEBngIAABUAAAD//x9BJ3ZaQjf82UETO1FBXrrZPwafAgAAAzQwJQoJoAIAAAmlAQAA0AIAAP////8BAQoJoQIAAAEACgEBjgEAACUAAAAJZQIAAAAAAAAAAAAAAY8BAAAmAAAACaICAAACAAAAAgAAAAGQAQAAMAAAAAGjAgAAIQAAAEg3J0Kj6IlBAaQCAAAhAAAASDcXQqPoiUEJpQIAAMwBAAD/////AQEKCaYCAAABAAoBAZEBAAA0AAAAAacCAAAhAAAASDcRQqPoiUEBqAIAAKEAAAACAAAAAAAAAAAAAAAACakCAAAAAAAACaoCAAAAAAABqwIAAKoAAAAAAAAAAawCAABzAAAAAAD4QQAAiEEBrQIAABUAAAD//x9B//8fQTf82UETO1FBXrrZPwauAgAAAzUwJQoJrwIAAAmlAQAA0AIAAP////8BAQoJsAIAAAEACgEBlAEAACUAAAAJZQIAAAAAAAAAAAAAAZUBAAAmAAAACbECAAACAAAAAgAAAASWAQAAmAFTeXN0ZW0uQ29sbGVjdGlvbnMuR2VuZXJpYy5MaXN0YDFbW0FwbG9yaXMuQ2hhcnQuQ2hhcnREYXRhRWxlbWVudCwgQXBsb3Jpcy5DaGFydCwgVmVyc2lvbj00LjIuMC4xOTA4LCBDdWx0dXJlPW5ldXRyYWwsIFB1YmxpY0tleVRva2VuPTE2ZmMxM2EyMjZjMGU5NTFdXQMAAAAGX2l0ZW1zBV9zaXplCF92ZXJzaW9uBAAAIEFwbG9yaXMuQ2hhcnQuQ2hhcnREYXRhRWxlbWVudFtdAgAAAAgICbICAAADAAAAAwAAAAGXAQAAJQAAAAmzAgAAAwAAAAMAAAABmAEAACYAAAAJ2AAAAAAAAAAAAAAABZ8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NAQAACgAAAAAAQEEJdwAAAAl4AAAACbQCAAABAAm1AgAAAaABAAB5AAAACgoAAAAA////AA4AAAAAAQGkAQAArgAAAAm2AgAAAQAAAAEAAAABpgEAAHYAAAAJtwIAAAm4AgAAB6sBAAAAAQAAAAQAAAAEH0FwbG9yaXMuQmFzZS5PYmplY3RzLkRhdGFPYmplY3QDAAAACSoBAAANAwesAQAAAAEAAAAEAAAABBxBcGxvcmlzLkJhc2UuVUkuVmlzdWFsT2JqZWN0AwAAAAksAQAADQMBrQEAAJYBAAAJuQIAAAMAAAADAAAAAa4BAAAlAAAACboCAAADAAAAAwAAAAGvAQAAJgAAAAnYAAAAAAAAAAAAAAAFt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4BAAAKAAAAAABAQQl3AAAACXgAAAAJuwIAAAEACbwCAAABtwEAAHkAAAAKCgAAAAD///8ADgAAAAABAbsBAACuAAAACb0CAAABAAAAAQAAAAG8AQAAdgAAAAm+AgAACb8CAAAHwQEAAAABAAAABAAAAAQfQXBsb3Jpcy5CYXNlLk9iamVjdHMuRGF0YU9iamVjdAMAAAAJMgEAAA0DB8IBAAAAAQAAAAQAAAAEHEFwbG9yaXMuQmFzZS5VSS5WaXN1YWxPYmplY3QDAAAACTQBAAANAwHFAQAAIwAAAAoKAAAAAABAQQl3AAAACXgAAAAJwAIAAAAACcECAAABxgEAAHkAAAAKCgAAAAD///8ADgAAAAABAcoBAACuAAAACcICAAABAAAAAQAAAAHLAQAAdgAAAAnDAgAACcQCAAAHzAEAAAABAAAABAAAAAQcQXBsb3Jpcy5CYXNlLlVJLlZpc3VhbE9iamVjdAMAAAAJPQEAAA0DAc8BAAAjAAAACgoAAAAAAEBBCXcAAAAJeAAAAAnFAgAAAAAJxgIAAAHQAQAAeQAAAAoKAAAAAP///wAOAAAAAAEB1AEAAK4AAAAJxwIAAAEAAAABAAAAAdUBAAB2AAAACcgCAAAJyQIAAAfWAQAAAAEAAAAEAAAABBxBcGxvcmlzLkJhc2UuVUkuVmlzdWFsT2JqZWN0AwAAAAlEAQAADQMB2QEAACMAAAAKCgAAAAAAQEEJdwAAAAl4AAAACcoCAAAAAAnLAgAAAdoBAAB5AAAACgoAAAAA////AA4AAAAAAQHeAQAArgAAAAnMAgAAAQAAAAEAAAAB3wEAAHYAAAAJzQIAAAnOAgAAB+ABAAAAAQAAAAQAAAAEHEFwbG9yaXMuQmFzZS5VSS5WaXN1YWxPYmplY3QDAAAACUsBAAANAwHhAQAALAEAAApYAgAAAc8CAACZAQAAAgAAAAHQAgAAmgEAAAEAAAAB0QIAABUAAABHG4hC2vIuQ8n+jkLoZnpCAdICAACcAQAAAAAAAAAAoEAAAdMCAAAhAAAArJrPQrc/TkMB1AIAAKEAAAAAAAAAAAAAAAAAAAAACdUCAAAAAAAACdYCAAAAAAAB1wIAAKoAAAAAAAAAAdgCAABzAAAAAAAkQgAAuEEB2QIAABUAAAATO6lCYidEQz9MEELYiY1B6SYRQAbaAgAAAzE1JQoJ2wIAAAmlAQAANAMAAP////8BAQoJ3AIAAAEACgEB4gEAABwAAAAB3QIAACEAAABHG4JClIxwQwHeAgAAIQAAAAiNDkPa8itDCd8CAAAJ4AIAAAAAAAAKAeECAABzAAAAAAAAAAAAAAAB4gIAAHMAAAAAAAAAAAAAAAAAAAAB4wIAABUAAAAAAAAAAAAAAAAAAAAAAAAApAEAAP////8BAQoJ5AIAAAEACgEH4wEAAAABAAAAAgAAAAQaQXBsb3Jpcy5CYXNlLlVJLlZpc3VhbExpbmUDAAAACgoH5AEAAAABAAAABAAAAAQVU3lzdGVtLkRyYXdpbmcuUG9pbnRGBAAAAAHlAgAAIQAAAKyaz0K3P05DAeYCAAAhAAAAjjZ4Qrc/TkMB5wIAACEAAAAIjRFDtz9OQwHoAgAAIQAAAKyaz0La8ihDB+UBAAAAAQAAAAQAAAAEF0FwbG9yaXMuQmFzZS5BbmNob3JNb2RlAwAAAAHpAgAAoQAAAAAAAAAB6gIAAKEAAAACAAAAAesCAAChAAAABAAAAAHsAgAAoQAAAAEAAAAB5gEAACUAAAAJ2gAAAAAAAAAAAAAAAecBAAAmAAAACe0CAAACAAAABAAAAAHoAQAALAEAAApYAgAAAe4CAACZAQAAAgAAAAHvAgAAmgEAAAEAAAAB8AIAABUAAAAIjRFDbXaxQsz+jkJe0RRDAfECAACcAQAAAAAAAAAAoEAAAfICAAAhAAAAu0w1Q+UjI0MB8wIAAKEAAAAAAAAAAAAAAAAAAAAACfQCAAAAAAAACfUCAAAAAAAB9gIAAKoAAAAAAAAAAfcCAABzAAAAAAAkQgAAuEEB+AIAABUAAADETiJDsRMZQz9MEELYiY1B6SYRQAb5AgAAAzM1JQoJ+gIAAAmlAQAANAMAAP////8BAQoJ+wIAAAEACgEB6QEAABwAAAAB/AIAACEAAAAIjQ5DlIxwQwH9AgAAIQAAAG4MXENtdqtCCf4CAAAJ/wIAAAAAAAAKAQADAABzAAAAAAAAAAAAAAABAQMAAHMAAAAAAAAAAAAAAAAAAAABAgMAABUAAAAAAAAAAAAAAAAAAAAAAAAApAEAAP////8BAQoJAwMAAAEACgEH6gEAAAABAAAAAgAAAAQaQXBsb3Jpcy5CYXNlLlVJLlZpc3VhbExpbmUDAAAACgoH6wEAAAABAAAABAAAAAQVU3lzdGVtLkRyYXdpbmcuUG9pbnRGBAAAAAEEAwAAIQAAALtMNUPlIyNDAQUDAAAhAAAACI0LQ+UjI0MBBgMAACEAAABuDF9D5SMjQwEHAwAAIQAAALtMNUNtdqVCB+wBAAAAAQAAAAQAAAAEF0FwbG9yaXMuQmFzZS5BbmNob3JNb2RlAwAAAAEIAwAAoQAAAAAAAAABCQMAAKEAAAACAAAAAQoDAAChAAAABAAAAAELAwAAoQAAAAEAAAAB7QEAACUAAAAJ2gAAAAAAAAAAAAAAAe4BAAAmAAAACQwDAAACAAAABAAAAA/vAQAAAQAAAAgBAAAAD/ABAAADAAAACAIAAAADAAAABAAAAAH5AQAAcQAAAAoKAAAAAEAJDQMAAAkOAwAAAQAAAP7///8CAAAAAQAAAAIAAAACAAAAAgAAAAIAAAAAAAAB+gEAAHYAAAAJDwMAAAkQAwAAAfsBAABxAAAACgoBAABAPwkRAwAACRIDAAABAAAA/v///wAAAAABAAAAAAAAAAAAAAABAAAAAAAAAAAAAQH8AQAAcgAAAAoKCRMDAAAJFAMAAAEAAAAAAAAAAAAAAP////8AAQX/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lBcGxvcmlzLkNoYXJ0Lkdyb3d0aEFycm93AgAAAAEBAQsaQXBsb3Jpcy5CYXNlLk9iamVjdHMuQ29sb3IDAAAAAQEaQXBsb3Jpcy5CYXNlLk9iamVjdHMuQ29sb3IDAAAAAwAAAAkSAQAACgAAAAAAQEEJdwAAAAl4AAAACRUDAAABAAkWAwAAAQACAAB5AAAACgoBAAAAAAAAAP////8AAQEFAgAArgAAAAkXAwAAAQAAAAEAAAABBgIAAHYAAAAJGAMAAAkZAwAABwkCAAAAAQAAAAQAAAAEH0FwbG9yaXMuQmFzZS5PYmplY3RzLkRhdGFPYmplY3QDAAAACVEBAAAJUgEAAAoKBwoCAAAAAQAAAAQAAAAEHEFwbG9yaXMuQmFzZS5VSS5WaXN1YWxPYmplY3QDAAAACVMBAAAJVAEAAAoKAQsCAAAsAQAAClgCAAABGgMAAJkBAAACAAAAARsDAACaAQAAAQAAAAEcAwAAFQAAAAnGhkMytSlDyP6OQsSuh0IBHQMAAJwBAAAAAAAAAACgQAABHgMAACEAAADipZhD46BLQwEfAwAAoQAAAAAAAAAAAAAAAAAAAAAJIAMAAAAAAAAJIQMAAAAAAAEiAwAAqgAAAAAAAAABIwMAAHMAAAAAACRCAAC4QQEkAwAAFQAAALETj0Od2EFDP0wQQtiJjUHpJhFABiUDAAADMTclCgkmAwAACaUBAAA0AwAA/////wEBCgknAwAAAQAKAQEMAgAAHAAAAAEoAwAAIQAAAAlGhUOUjHBDASkDAAAhAAAAuwWsQzK1JkMJKgMAAAkrAwAAAAAAAAoBLAMAAHMAAAAAAAAAAAAAAAEtAwAAcwAAAAAAAAAAAAAAAAAAAAEuAwAAFQAAAAAAAAAAAAAAAAAAAAAAAACkAQAA/////wEBCgkvAwAAAQAKAQcNAgAAAAEAAAACAAAABBpBcGxvcmlzLkJhc2UuVUkuVmlzdWFsTGluZQMAAAAKCgcOAgAAAAEAAAAEAAAABBVTeXN0ZW0uRHJhd2luZy5Qb2ludEYEAAAAATADAAAhAAAA4qWYQ+OgS0MBMQMAACEAAAAJxoND46BLQwEyAwAAIQAAALuFrUPjoEtDATMDAAAhAAAA4qWYQzK1I0MHDwIAAAABAAAABAAAAAQXQXBsb3Jpcy5CYXNlLkFuY2hvck1vZGUDAAAAATQDAAChAAAAAAAAAAE1AwAAoQAAAAIAAAABNgMAAKEAAAAEAAAAATcDAAChAAAAAQAAAAEQAgAAJQAAAAnaAAAAAAAAAAAAAAABEQIAACYAAAAJOAMAAAIAAAAEAAAAARICAAAsAQAAClgCAAABOQMAAJkBAAACAAAAAToDAACaAQAAAQAAAAE7AwAAFQAAALuFrUPEhN9CyP6OQmSU+0IBPAMAAJwBAAAAAAAAAACgQAABPQMAACEAAACUZb9De6cuQwE+AwAAoQAAAAAAAAAAAAAAAAAAAAAJPwMAAAAAAAAJQAMAAAAAAAFBAwAAqgAAAAAAAAABQgMAAHMAAAAAACRCAAC4QQFDAwAAFQAAAE7stUOJnSRDP0wQQtiJjUHpJhFABkQDAAADMzAlCglFAwAACaUBAAA0AwAA/////wEBCglGAwAAAQAKAQETAgAAHAAAAAFHAwAAIQAAALsFrEOUjHBDAUgDAAAhAAAAbcXSQ8SE2UIJSQMAAAlKAwAAAAAAAAoBSwMAAHMAAAAAAAAAAAAAAAFMAwAAcwAAAAAAAAAAAAAAAAAAAAFNAwAAFQAAAAAAAAAAAAAAAAAAAAAAAACkAQAA/////wEBCglOAwAAAQAKAQcUAgAAAAEAAAACAAAABBpBcGxvcmlzLkJhc2UuVUkuVmlzdWFsTGluZQMAAAAKCgcVAgAAAAEAAAAEAAAABBVTeXN0ZW0uRHJhd2luZy5Qb2ludEYEAAAAAU8DAAAhAAAAlGW/Q3unLkMBUAMAACEAAAC7hapDe6cuQwFRAwAAIQAAAG1F1EN7py5DAVIDAAAhAAAAlGW/Q8SE00IHFgIAAAABAAAABAAAAAQXQXBsb3Jpcy5CYXNlLkFuY2hvck1vZGUDAAAAAVMDAAChAAAAAAAAAAFUAwAAoQAAAAIAAAABVQMAAKEAAAAEAAAAAVYDAAChAAAAAQAAAAEXAgAAJQAAAAnaAAAAAAAAAAAAAAABGAIAACYAAAAJVwMAAAIAAAAEAAAAARsCAABxAAAACgoAAAAAQAlYAwAACVkDAAABAAAA/v///wIAAAABAAAAAgAAAAIAAAACAAAAAgAAAAAAAAEcAgAAdgAAAAlaAwAACVsDAAABHQIAAHEAAAAKCgEAAEA/CVwDAAAJXQMAAAEAAAD+////AAAAAAEAAAAAAAAAAAAAAAEAAAAAAAAAAAABAR4CAAByAAAACgoJXgMAAAlfAwAAAQAAAAAAAAAAAAAA/////wABBSE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GUFwbG9yaXMuQ2hhcnQuR3Jvd3RoQXJyb3cCAAAAAQEBCxpBcGxvcmlzLkJhc2UuT2JqZWN0cy5Db2xvcgMAAAABARpBcGxvcmlzLkJhc2UuT2JqZWN0cy5Db2xvcgMAAAADAAAACRMBAAAKAAAAAABAQQl3AAAACXgAAAAJYAMAAAEACWEDAAABIgIAAHkAAAAKCgEAAAAAAAAA/////wABAScCAACuAAAACWIDAAABAAAAAwAAAAEoAgAAdgAAAAljAwAACWQDAAAHKwIAAAABAAAABAAAAAQfQXBsb3Jpcy5CYXNlLk9iamVjdHMuRGF0YU9iamVjdAMAAAAJXAEAAAldAQAACgoHLAIAAAABAAAABAAAAAQcQXBsb3Jpcy5CYXNlLlVJLlZpc3VhbE9iamVjdAMAAAAJXgEAAAlfAQAACgoBLQIAACwBAAAKWAIAAAFlAwAAmQEAAAIAAAABZgMAAJoBAAABAAAAAWcDAAAVAAAAP4XrQ5rmC0PM/o5C9EvDQgFoAwAAnAEAAAAAAAAAAKBAAAFpAwAAIQAAABhl/UOXuTxDAWoDAAChAAAAAAAAAAAAAAAAAAAAAAlrAwAAAAAAAAlsAwAAAAAAAW0DAACqAAAAAAAAAAFuAwAAcwAAAAAAJEIAALhBAW8DAAAVAAAAndjzQxM7M0M/TBBC2ImNQekmEUAGcAMAAAMyMyUKCXEDAAAJpQEAADQDAAD/////AQEKCXIDAAABAAoBAS4CAAAcAAAAAXMDAAAhAAAAPwXqQ5SMcEMBdAMAACEAAAB5YghEmuYIQwl1AwAACXYDAAAAAAAACgF3AwAAcwAAAAAAAAAAAAAAAXgDAABzAAAAAAAAAAAAAAAAAAAAAXkDAAAVAAAAAAAAAAAAAAAAAAAAAAAAAKQBAAD/////AQEKCXoDAAABAAoBBy8CAAAAAQAAAAIAAAAEGkFwbG9yaXMuQmFzZS5VSS5WaXN1YWxMaW5lAwAAAAoKBzACAAAAAQAAAAQAAAAEFVN5c3RlbS5EcmF3aW5nLlBvaW50RgQAAAABewMAACEAAAAYZf1Dl7k8QwF8AwAAIQAAAD+F6EOXuTxDAX0DAAAhAAAAeSIJRJe5PEMBfgMAACEAAAAYZf1DmuYFQwcxAgAAAAEAAAAEAAAABBdBcGxvcmlzLkJhc2UuQW5jaG9yTW9kZQMAAAABfwMAAKEAAAAAAAAAAYADAAChAAAAAgAAAAGBAwAAoQAAAAQAAAABggMAAKEAAAABAAAAATICAAAlAAAACdoAAAAAAAAAAAAAAAEzAgAAJgAAAAmDAwAAAgAAAAQAAAABNAIAACwBAAAKWAIAAAGEAwAAmQEAAAIAAAABhQMAAJoBAAABAAAAAYYDAAAVAAAAeCIJRN+krULQ/o5CJLoWQwGHAwAAnAEAAAAAAAAAAKBAAAGIAwAAIQAAAGUSEkSCLyJDAYkDAAChAAAAAAAAAAAAAAAAAAAAAAmKAwAAAAAAAAmLAwAAAAAAAYwDAACqAAAAAAAAAAGNAwAAcwAAAAAAJEIAALhBAY4DAAAVAAAAnVgNRMROGEM/TBBC2ImNQekmEUAGjwMAAAMzNSUKCZADAAAJpQEAADQDAAD/////AQEKCZEDAAABAAoBATUCAAAcAAAAAZIDAAAhAAAAeGIIRJSMcEMBkwMAACEAAABSwhtE36SnQgmUAwAACZUDAAAAAAAACgGWAwAAcwAAAAAAAAAAAAAAAZcDAABzAAAAAAAAAAAAAAAAAAAAAZgDAAAVAAAAAAAAAAAAAAAAAAAAAAAAAKQBAAD/////AQEKCZkDAAABAAoBBzYCAAAAAQAAAAIAAAAEGkFwbG9yaXMuQmFzZS5VSS5WaXN1YWxMaW5lAwAAAAoKBzcCAAAAAQAAAAQAAAAEFVN5c3RlbS5EcmF3aW5nLlBvaW50RgQAAAABmgMAACEAAABlEhJEgi8iQwGbAwAAIQAAAHiiB0SCLyJDAZwDAAAhAAAAUoIcRIIvIkMBnQMAACEAAABlEhJE36ShQgc4AgAAAAEAAAAEAAAABBdBcGxvcmlzLkJhc2UuQW5jaG9yTW9kZQMAAAABngMAAKEAAAAAAAAAAZ8DAAChAAAAAgAAAAGgAwAAoQAAAAQAAAABoQMAAKEAAAABAAAAATkCAAAlAAAACdoAAAAAAAAAAAAAAAE6AgAAJgAAAAmiAwAAAgAAAAQAAAABPQIAAHEAAAAKCgAAAABACaMDAAAJpAMAAAEAAAD+////AgAAAAEAAAACAAAAAgAAAAIAAAACAAAAAAAAAT4CAAB2AAAACaUDAAAJpgMAAAE/AgAAcQAAAAoKAQAAQD8JpwMAAAmoAwAAAQAAAP7///8AAAAAAQAAAAAAAAAAAAAAAQAAAAAAAAAAAAEBQAIAAHIAAAAKCgmpAwAACaoDAAABAAAAAAAAAAAAAAD/////AAEFQ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ZQXBsb3Jpcy5DaGFydC5Hcm93dGhBcnJvdwIAAAABAQELGkFwbG9yaXMuQmFzZS5PYmplY3RzLkNvbG9yAwAAAAEBGkFwbG9yaXMuQmFzZS5PYmplY3RzLkNvbG9yAwAAAAMAAAAJFAEAAAoAAAAAAEBBCXcAAAAJeAAAAAmrAwAAAQAJrAMAAAFEAgAAeQAAAAoKAQAAAAAAAAD/////AAEBSQIAAK4AAAAJrQMAAAEAAAADAAAAAUoCAAB2AAAACa4DAAAJrwMAAAdNAgAAAAEAAAAEAAAABB9BcGxvcmlzLkJhc2UuT2JqZWN0cy5EYXRhT2JqZWN0AwAAAAlnAQAACWgBAAAKCgdOAgAAAAEAAAAEAAAABBxBcGxvcmlzLkJhc2UuVUkuVmlzdWFsT2JqZWN0AwAAAAlpAQAACWoBAAAKCgFPAgAANAAAAAGwAwAAIQAAANj5g0Mqh4ZDAbEDAAChAAAABQAAAAAAAAAAAAAAAAmyAwAAAAAAAAmzAwAAAAAAAbQDAACqAAAAAAAAAAG1AwAAcwAAAAAACEIAAIhBAbYDAAAVAAAA7MSCQ53YhUNfcuxBEztRQV662T8JKwEAAAoJtwMAAAmlAQAAhAMAAP////8BAQoJuAMAAAEACgEBUAIAABwAAAABuQMAACEAAADYz3dDKoeGQwG6AwAAIQAAANh5gkMWGY1DCbsDAAAJvAMAAAAAAAAKAb0DAABzAAAAAAAAAAAAAAABvgMAAHMAAAAAAAAAAAAAAAAAAAABvwMAABUAAAAAAAAAAAAAAAAAAAAAAAAAmAMAAP////8BAQoJwAMAAAEACgEBUQIAACUAAAAJZQIAAAAAAAAAAAAAAVICAAAmAAAACcEDAAACAAAAAgAAAAFTAgAANAAAAAHCAwAAIQAAACzs0kMqh4ZDAcMDAAChAAAABQAAAAAAAAAAAAAAAAnEAwAAAAAAAAnFAwAAAAAAAcYDAACqAAAAAAAAAAHHAwAAcwAAAAAACEIAAIhBAcgDAAAVAAAAiZ3RQ53YhUNfcuxBEztRQV662T8JMwEAAAoJyQMAAAmlAQAAhAMAAP////8BAQoJygMAAAEACgEBVAIAABwAAAABywMAACEAAABA2spDKoeGQwHMAwAAIQAAACxs0UMWGY1DCc0DAAAJzgMAAAAAAAAKAc8DAABzAAAAAAAAAAAAAAAB0AMAAHMAAAAAAAAAAAAAAAAAAAAB0QMAABUAAAAAAAAAAAAAAAAAAAAAAAAAmAMAAP////8BAQoJ0gMAAAEACgEBVQIAACUAAAAJZQIAAAAAAAAAAAAAAVYCAAAmAAAACdMDAAACAAAAAgAAAAFZAgAAcQAAAAoKAAAAQD8J1AMAAAnVAwAAAQAAAP7///8AAAAAAQAAAAAAAAAAAAAAAQAAAAAAAAAAAAABWgIAAHYAAAAJ1gMAAAnXAwAAAV0CAAAjAAAACgoAAAAAAEBBCXcAAAAJeAAAAAnYAwAAAAAJ2QMAAAFeAgAAeQAAAAoKAAAAAP///wAOAAAAAAEBYwIAAK4AAAAJ2gMAAAEAAAABAAAAAWQCAAB2AAAACdsDAAAJ3AMAAAdlAgAAAAEAAAAAAAAABB9BcGxvcmlzLkJhc2UuT2JqZWN0cy5EYXRhT2JqZWN0AwAAAAdmAgAAAAEAAAAEAAAABBxBcGxvcmlzLkJhc2UuVUkuVmlzdWFsT2JqZWN0AwAAAAlyAQAACXMBAAAKCgFpAgAAcQAAAAoKAAAAQD8J3QMAAAneAwAAAQAAAP7///8AAAAAAQAAAAAAAAAAAAAAAQAAAAAAAAAAAAABagIAAHYAAAAJ3wMAAAngAwAAAW0CAAAjAAAACgoAAAAAAEBBCXcAAAAJeAAAAAnhAwAAAAAJ4gMAAAFuAgAAeQAAAAoKAAAAAP///wAOAAAAAAEBcwIAAK4AAAAJ4wMAAAEAAAADAAAAAXQCAAB2AAAACeQDAAAJ5QMAAAd1AgAAAAEAAAAEAAAABBxBcGxvcmlzLkJhc2UuVUkuVmlzdWFsT2JqZWN0AwAAAAl4AQAACXkBAAAKCgF4AgAAcQAAAAoKAAAAQD8J5gMAAAnnAwAAAQAAAP7///8AAAAAAQAAAAAAAAAAAAAAAQAAAAAAAAAAAAABeQIAAHYAAAAJ6AMAAAnpAwAAAXwCAAAjAAAACgoAAAAAAEBBCXcAAAAJeAAAAAnqAwAAAAAJ6wMAAAF9AgAAeQAAAAoKAAAAAP///wAOAAAAAAEBggIAAK4AAAAJ7AMAAAEAAAADAAAAAYMCAAB2AAAACe0DAAAJ7gMAAAeEAgAAAAEAAAAEAAAABBxBcGxvcmlzLkJhc2UuVUkuVmlzdWFsT2JqZWN0AwAAAAl+AQAACX8BAAAKCgGHAgAAcQAAAAoKAAAAQD8J7wMAAAnwAwAAAQAAAP7///8AAAAAAQAAAAAAAAAAAAAAAQAAAAAAAAAAAAABiAIAAHYAAAAJ8QMAAAnyAwAAAYsCAAAjAAAACgoAAAAAAEBBCXcAAAAJeAAAAAnzAwAAAAAJ9AMAAAGMAgAAeQAAAAoKAAAAAP///wAOAAAAAAEBkQIAAK4AAAAJ9QMAAAEAAAADAAAAAZICAAB2AAAACfYDAAAJ9wMAAAeTAgAAAAEAAAAEAAAABBxBcGxvcmlzLkJhc2UuVUkuVmlzdWFsT2JqZWN0AwAAAAmEAQAACYUBAAAKCgGWAgAAcQAAAAoKAAAAQD8J+AMAAAn5AwAAAQAAAP7///8AAAAAAQAAAAAAAAAAAAAAAQAAAAAAAAAAAAABlwIAAHYAAAAJ+gMAAAn7AwAAAZoCAAAjAAAACgoAAAAAAEBBCXcAAAAJeAAAAAn8AwAAAAAJ/QMAAAGbAgAAeQAAAAoKAAAAAP///wAOAAAAAAEBoAIAAK4AAAAJ/gMAAAEAAAADAAAAAaECAAB2AAAACf8DAAAJAAQAAAeiAgAAAAEAAAAEAAAABBxBcGxvcmlzLkJhc2UuVUkuVmlzdWFsT2JqZWN0AwAAAAmKAQAACYsBAAAKCgGlAgAAcQAAAAoKAAAAQD8JAQQAAAkCBAAAAQAAAP7///8AAAAAAQAAAAAAAAAAAAAAAQAAAAAAAAAAAAABpgIAAHYAAAAJAwQAAAkEBAAAAakCAAAjAAAACgoAAAAAAEBBCXcAAAAJeAAAAAkFBAAAAAAJBgQAAAGqAgAAeQAAAAoKAAAAAP///wAOAAAAAAEBrwIAAK4AAAAJBwQAAAEAAAADAAAAAbACAAB2AAAACQgEAAAJCQQAAAexAgAAAAEAAAAEAAAABBxBcGxvcmlzLkJhc2UuVUkuVmlzdWFsT2JqZWN0AwAAAAmQAQAACZEBAAAKCgeyAgAAAAEAAAAEAAAABB5BcGxvcmlzLkNoYXJ0LkNoYXJ0RGF0YUVsZW1lbnQCAAAACU4BAAAJWQEAAAlkAQAACgezAgAAAAEAAAAEAAAABB9BcGxvcmlzLkJhc2UuT2JqZWN0cy5EYXRhT2JqZWN0AwAAAAlOAQAACVkBAAAJZAEAAAoBtAIAAHkAAAAKCgAAAAAAAAAADQAAAAABAbUCAAB5AAAACgoBAAAAAAAAAP////8AAQe2AgAAAAEAAAAEAAAABB1BcGxvcmlzLkJhc2UuT2JqZWN0cy5WYXJpYWJsZQMAAAAFCgQAAB1BcGxvcmlzLkJhc2UuT2JqZWN0cy5WYXJpYWJsZQIAAAAGTnVtYmVyCFBvc2l0aW9uAAAICAMAAAABAAAAAAAAAAELBAAACgQAAAAAAAAAAAAAAQwEAAAKBAAAAAAAAAAAAAABDQQAAAoEAAAAAAAAAAAAAA+3AgAAAQAAAAgyAAAAB7gCAAAAAQAAAAEAAAADDVN5c3RlbS5JbnRQdHIBDgQAAB4BAAAAAAAAAAAAAAe5AgAAAAEAAAAEAAAABB5BcGxvcmlzLkNoYXJ0LkNoYXJ0RGF0YUVsZW1lbnQCAAAACU8BAAAJWgEAAAllAQAACge6AgAAAAEAAAAEAAAABB9BcGxvcmlzLkJhc2UuT2JqZWN0cy5EYXRhT2JqZWN0AwAAAAlPAQAACVoBAAAJZQEAAAoBuwIAAHkAAAAKCgAAAAAAAAAADQAAAAABAbwCAAB5AAAACgoBAAAAAAAAAP////8AAQe9AgAAAAEAAAAEAAAABB1BcGxvcmlzLkJhc2UuT2JqZWN0cy5WYXJpYWJsZQMAAAABDwQAAAoEAAABAAAAAAAAAAEQBAAACgQAAAAAAAAAAAAAAREEAAAKBAAAAAAAAAAAAAABEgQAAAoEAAAAAAAAAAAAAA++AgAAAQAAAAgxAAAAB78CAAAAAQAAAAEAAAADDVN5c3RlbS5JbnRQdHIBEwQAAB4BAAAAAAAAAAAAAAHAAgAAeQAAAAoKAAAAAAAAAAANAAAAAAABwQIAAHkAAAAKCgAAAAAAAAAADQAAAAABB8ICAAAAAQAAAAQAAAAEHUFwbG9yaXMuQmFzZS5PYmplY3RzLlZhcmlhYmxlAwAAAAEUBAAACgQAAAEAAAAAAAAAARUEAAAKBAAAAAAAAAAAAAABFgQAAAoEAAAAAAAAAAAAAAEXBAAACgQAAAAAAAAAAAAAD8MCAAABAAAACBUAAAAHxAIAAAABAAAAAQAAAAMNU3lzdGVtLkludFB0cgEYBAAAHgEAAAAAAAAAAAAAAcUCAAB5AAAACgoAAAAAAAAAAA0AAAAAAAHGAgAAeQAAAAoKAAAAAAAAAAANAAAAAAEHxwIAAAABAAAABAAAAAQdQXBsb3Jpcy5CYXNlLk9iamVjdHMuVmFyaWFibGUDAAAAARkEAAAKBAAAAQAAAAAAAAABGgQAAAoEAAAAAAAAAAAAAAEbBAAACgQAAAAAAAAAAAAAARwEAAAKBAAAAAAAAAAAAAAPyAIAAAEAAAAIFgAAAAfJAgAAAAEAAAABAAAAAw1TeXN0ZW0uSW50UHRyAR0EAAAeAQAAAAAAAAAAAAABygIAAHkAAAAKCgAAAAAAAAAADQAAAAAAAcsCAAB5AAAACgoAAAAAAAAAAA0AAAAAAQfMAgAAAAEAAAAEAAAABB1BcGxvcmlzLkJhc2UuT2JqZWN0cy5WYXJpYWJsZQMAAAABHgQAAAoEAAABAAAAAAAAAAEfBAAACgQAAAAAAAAAAAAAASAEAAAKBAAAAAAAAAAAAAABIQQAAAoEAAAAAAAAAAAAAA/NAgAAAQAAAAgXAAAAB84CAAAAAQAAAAEAAAADDVN5c3RlbS5JbnRQdHIBIgQAAB4BAAAAAAAAAAAAAAHVAgAAIwAAAAoKAAAAAACAQQl3AAAACXgAAAAJIwQAAAAACSQEAAAB1gIAAHkAAAAKCgAAAAByhIwABgAAAAABAdsCAACuAAAACSUEAAABAAAAAwAAAAHcAgAAdgAAAAkmBAAACScEAAAB3wIAAHEAAAAKCgAAAEA/CSgEAAAJKQQAAAEAAAD+////AAAAAAEAAAAAAAAAAAAAAAEAAAAAAAAAAAAAAeACAAByAAAACgoJKgQAAAkrBAAAAQAAAP7///8AAAAA/////wEAAeQCAAB2AAAACSwEAAAJLQQAAAftAgAAAAEAAAAEAAAABBxBcGxvcmlzLkJhc2UuVUkuVmlzdWFsT2JqZWN0AwAAAAniAQAACeEBAAAKCgH0AgAAIwAAAAoKAAAAAACAQQl3AAAACXgAAAAJLgQAAAAACS8EAAAB9QIAAHkAAAAKCgAAAAA/aX4ABQAAAAABAfoCAACuAAAACTAEAAABAAAAAwAAAAH7AgAAdgAAAAkxBAAACTIEAAAB/gIAAHEAAAAKCgAAAEA/CTMEAAAJNAQAAAEAAAD+////AAAAAAEAAAAAAAAAAAAAAAEAAAAAAAAAAAAAAf8CAAByAAAACgoJNQQAAAk2BAAAAQAAAP7///8AAAAA/////wEAAQMDAAB2AAAACTcEAAAJOAQAAAcMAwAAAAEAAAAEAAAABBxBcGxvcmlzLkJhc2UuVUkuVmlzdWFsT2JqZWN0AwAAAAnpAQAACegBAAAKCgUNAwAAGkFwbG9yaXMuQmFzZS5PYmplY3RzLkNvbG9yBwAAABJEYXRhT2JqZWN0K21QYXJlbnQVRGF0YU9iamVjdCttQ29udGFpbmVyBW1UeXBlBG1SR0IQbVRoZW1lQ29sb3JJbmRleAxtQXV0b1VwZGF0ZWQJbU1vZGlmaWVkBAIAAAAAAB9BcGxvcmlzLkJhc2UuT2JqZWN0cy5MaW5lRm9ybWF0AwAAAAgICAEBAwAAAAn5AQAACgAAAAAAAAAADQAAAAAABQ4DAAAaQXBsb3Jpcy5CYXNlLk9iamVjdHMuQ29sb3IHAAAAEkRhdGFPYmplY3QrbVBhcmVudBVEYXRhT2JqZWN0K21Db250YWluZXIFbVR5cGUEbVJHQhBtVGhlbWVDb2xvckluZGV4DG1BdXRvVXBkYXRlZAltTW9kaWZpZWQEAgAAAAAAH0FwbG9yaXMuQmFzZS5PYmplY3RzLkxpbmVGb3JtYXQDAAAACAgIAQEDAAAACfkBAAAKAQAAAAAAAAD/////AAEPDwMAAAEAAAAIQAAAAAcQAwAAAAEAAAABAAAAAw1TeXN0ZW0uSW50UHRyATkEAAAeAQAAAAAAAAAAAAAFEQMAABpBcGxvcmlzLkJhc2UuT2JqZWN0cy5Db2xvcgcAAAASRGF0YU9iamVjdCttUGFyZW50FURhdGFPYmplY3QrbUNvbnRhaW5lcgVtVHlwZQRtUkdCEG1UaGVtZUNvbG9ySW5kZXgMbUF1dG9VcGRhdGVkCW1Nb2RpZmllZAQCAAAAAAAfQXBsb3Jpcy5CYXNlLk9iamVjdHMuTGluZUZvcm1hdAMAAAAICAgBAQMAAAAJ+wEAAAoAAAAAAAAAAA0AAAAAAQUSAwAAGkFwbG9yaXMuQmFzZS5PYmplY3RzLkNvbG9yBwAAABJEYXRhT2JqZWN0K21QYXJlbnQVRGF0YU9iamVjdCttQ29udGFpbmVyBW1UeXBlBG1SR0IQbVRoZW1lQ29sb3JJbmRleAxtQXV0b1VwZGF0ZWQJbU1vZGlmaWVkBAIAAAAAAB9BcGxvcmlzLkJhc2UuT2JqZWN0cy5MaW5lRm9ybWF0AwAAAAgICAEBAwAAAAn7AQAACgEAAAAAAAAA/////wABARMDAAB5AAAACgoBAAAA////AP////8AAQEUAwAAeQAAAAoKAQAAAAAAAAD/////AAEBFQMAAHkAAAAKCgAAAAAAAAAADQAAAAABARYDAAB5AAAACgoAAAAAAAAAAA0AAAAAAQcXAwAAAAEAAAAEAAAABB1BcGxvcmlzLkJhc2UuT2JqZWN0cy5WYXJpYWJsZQMAAAABOgQAAAoEAAAEAAAAAAAAAAE7BAAACgQAAAAAAAAAAAAAATwEAAAKBAAAAAAAAAAAAAABPQQAAAoEAAAAAAAAAAAAAA8YAwAAAQAAAAg1AAAABxkDAAAAAQAAAAEAAAADDVN5c3RlbS5JbnRQdHIBPgQAAB4BAAAAAAAAAAAAAAEgAwAAIwAAAAoKAAAAAACAQQl3AAAACXgAAAAJPwQAAAAACUAEAAABIQMAAHkAAAAKCgAAAAByhIwABgAAAAABASYDAACuAAAACUEEAAABAAAAAwAAAAEnAwAAdgAAAAlCBAAACUMEAAABKgMAAHEAAAAKCgAAAEA/CUQEAAAJRQQAAAEAAAD+////AAAAAAEAAAAAAAAAAAAAAAEAAAAAAAAAAAAAASsDAAByAAAACgoJRgQAAAlHBAAAAQAAAP7///8AAAAA/////wEAAS8DAAB2AAAACUgEAAAJSQQAAAc4AwAAAAEAAAAEAAAABBxBcGxvcmlzLkJhc2UuVUkuVmlzdWFsT2JqZWN0AwAAAAkMAgAACQsCAAAKCgE/AwAAIwAAAAoKAAAAAACAQQl3AAAACXgAAAAJSgQAAAAACUsEAAABQAMAAHkAAAAKCgAAAAA/aX4ABQAAAAABAUUDAACuAAAACUwEAAABAAAAAwAAAAFGAwAAdgAAAAlNBAAACU4EAAABSQMAAHEAAAAKCgAAAEA/CU8EAAAJUAQAAAEAAAD+////AAAAAAEAAAAAAAAAAAAAAAEAAAAAAAAAAAAAAUoDAAByAAAACgoJUQQAAAlSBAAAAQAAAP7///8AAAAA/////wEAAU4DAAB2AAAACVMEAAAJVAQAAAdXAwAAAAEAAAAEAAAABBxBcGxvcmlzLkJhc2UuVUkuVmlzdWFsT2JqZWN0AwAAAAkTAgAACRICAAAKCgVYAwAAGkFwbG9yaXMuQmFzZS5PYmplY3RzLkNvbG9yBwAAABJEYXRhT2JqZWN0K21QYXJlbnQVRGF0YU9iamVjdCttQ29udGFpbmVyBW1UeXBlBG1SR0IQbVRoZW1lQ29sb3JJbmRleAxtQXV0b1VwZGF0ZWQJbU1vZGlmaWVkBAIAAAAAAB9BcGxvcmlzLkJhc2UuT2JqZWN0cy5MaW5lRm9ybWF0AwAAAAgICAEBAwAAAAkbAgAACgAAAAAAAAAADQAAAAAABVkDAAAaQXBsb3Jpcy5CYXNlLk9iamVjdHMuQ29sb3IHAAAAEkRhdGFPYmplY3QrbVBhcmVudBVEYXRhT2JqZWN0K21Db250YWluZXIFbVR5cGUEbVJHQhBtVGhlbWVDb2xvckluZGV4DG1BdXRvVXBkYXRlZAltTW9kaWZpZWQEAgAAAAAAH0FwbG9yaXMuQmFzZS5PYmplY3RzLkxpbmVGb3JtYXQDAAAACAgIAQEDAAAACRsCAAAKAQAAAAAAAAD/////AAEPWgMAAAEAAAAIPgAAAAdbAwAAAAEAAAABAAAAAw1TeXN0ZW0uSW50UHRyAVUEAAAeAQAAAAAAAAAAAAAFXAMAABpBcGxvcmlzLkJhc2UuT2JqZWN0cy5Db2xvcgcAAAASRGF0YU9iamVjdCttUGFyZW50FURhdGFPYmplY3QrbUNvbnRhaW5lcgVtVHlwZQRtUkdCEG1UaGVtZUNvbG9ySW5kZXgMbUF1dG9VcGRhdGVkCW1Nb2RpZmllZAQCAAAAAAAfQXBsb3Jpcy5CYXNlLk9iamVjdHMuTGluZUZvcm1hdAMAAAAICAgBAQMAAAAJHQIAAAoAAAAAAAAAAA0AAAAAAQVdAwAAGkFwbG9yaXMuQmFzZS5PYmplY3RzLkNvbG9yBwAAABJEYXRhT2JqZWN0K21QYXJlbnQVRGF0YU9iamVjdCttQ29udGFpbmVyBW1UeXBlBG1SR0IQbVRoZW1lQ29sb3JJbmRleAxtQXV0b1VwZGF0ZWQJbU1vZGlmaWVkBAIAAAAAAB9BcGxvcmlzLkJhc2UuT2JqZWN0cy5MaW5lRm9ybWF0AwAAAAgICAEBAwAAAAkdAgAACgEAAAAAAAAA/////wABAV4DAAB5AAAACgoBAAAA////AP////8AAQFfAwAAeQAAAAoKAQAAAAAAAAD/////AAEBYAMAAHkAAAAKCgAAAAAAAAAADQAAAAABAWEDAAB5AAAACgoAAAAAAAAAAA0AAAAAAQdiAwAAAAEAAAAEAAAABB1BcGxvcmlzLkJhc2UuT2JqZWN0cy5WYXJpYWJsZQMAAAABVgQAAAoEAAAEAAAAAAAAAAFXBAAACgQAAAAAAAAAAAAAAVgEAAAKBAAAAAAAAAAAAAABWQQAAAoEAAAAAAAAAAAAAA9jAwAAAQAAAAg0AAAAB2QDAAAAAQAAAAEAAAADDVN5c3RlbS5JbnRQdHIBWgQAAB4BAAAAAAAAAAAAAAFrAwAAIwAAAAoKAAAAAACAQQl3AAAACXgAAAAJWwQAAAAACVwEAAABbAMAAHkAAAAKCgAAAAByhIwABgAAAAABAXEDAACuAAAACV0EAAABAAAAAwAAAAFyAwAAdgAAAAleBAAACV8EAAABdQMAAHEAAAAKCgAAAEA/CWAEAAAJYQQAAAEAAAD+////AAAAAAEAAAAAAAAAAAAAAAEAAAAAAAAAAAAAAXYDAAByAAAACgoJYgQAAAljBAAAAQAAAP7///8AAAAA/////wEAAXoDAAB2AAAACWQEAAAJZQQAAAeDAwAAAAEAAAAEAAAABBxBcGxvcmlzLkJhc2UuVUkuVmlzdWFsT2JqZWN0AwAAAAkuAgAACS0CAAAKCgGKAwAAIwAAAAoKAAAAAACAQQl3AAAACXgAAAAJZgQAAAAACWcEAAABiwMAAHkAAAAKCgAAAAA/aX4ABQAAAAABAZADAACuAAAACWgEAAABAAAAAwAAAAGRAwAAdgAAAAlpBAAACWoEAAABlAMAAHEAAAAKCgAAAEA/CWsEAAAJbAQAAAEAAAD+////AAAAAAEAAAAAAAAAAAAAAAEAAAAAAAAAAAAAAZUDAAByAAAACgoJbQQAAAluBAAAAQAAAP7///8AAAAA/////wEAAZkDAAB2AAAACW8EAAAJcAQAAAeiAwAAAAEAAAAEAAAABBxBcGxvcmlzLkJhc2UuVUkuVmlzdWFsT2JqZWN0AwAAAAk1AgAACTQCAAAKCgWjAwAAGkFwbG9yaXMuQmFzZS5PYmplY3RzLkNvbG9yBwAAABJEYXRhT2JqZWN0K21QYXJlbnQVRGF0YU9iamVjdCttQ29udGFpbmVyBW1UeXBlBG1SR0IQbVRoZW1lQ29sb3JJbmRleAxtQXV0b1VwZGF0ZWQJbU1vZGlmaWVkBAIAAAAAAB9BcGxvcmlzLkJhc2UuT2JqZWN0cy5MaW5lRm9ybWF0AwAAAAgICAEBAwAAAAk9AgAACgAAAAAAAAAADQAAAAAABaQDAAAaQXBsb3Jpcy5CYXNlLk9iamVjdHMuQ29sb3IHAAAAEkRhdGFPYmplY3QrbVBhcmVudBVEYXRhT2JqZWN0K21Db250YWluZXIFbVR5cGUEbVJHQhBtVGhlbWVDb2xvckluZGV4DG1BdXRvVXBkYXRlZAltTW9kaWZpZWQEAgAAAAAAH0FwbG9yaXMuQmFzZS5PYmplY3RzLkxpbmVGb3JtYXQDAAAACAgIAQEDAAAACT0CAAAKAQAAAAAAAAD/////AAEPpQMAAAEAAAAIPwAAAAemAwAAAAEAAAABAAAAAw1TeXN0ZW0uSW50UHRyAXEEAAAeAQAAAAAAAAAAAAAFpwMAABpBcGxvcmlzLkJhc2UuT2JqZWN0cy5Db2xvcgcAAAASRGF0YU9iamVjdCttUGFyZW50FURhdGFPYmplY3QrbUNvbnRhaW5lcgVtVHlwZQRtUkdCEG1UaGVtZUNvbG9ySW5kZXgMbUF1dG9VcGRhdGVkCW1Nb2RpZmllZAQCAAAAAAAfQXBsb3Jpcy5CYXNlLk9iamVjdHMuTGluZUZvcm1hdAMAAAAICAgBAQMAAAAJPwIAAAoAAAAAAAAAAA0AAAAAAQWoAwAAGkFwbG9yaXMuQmFzZS5PYmplY3RzLkNvbG9yBwAAABJEYXRhT2JqZWN0K21QYXJlbnQVRGF0YU9iamVjdCttQ29udGFpbmVyBW1UeXBlBG1SR0IQbVRoZW1lQ29sb3JJbmRleAxtQXV0b1VwZGF0ZWQJbU1vZGlmaWVkBAIAAAAAAB9BcGxvcmlzLkJhc2UuT2JqZWN0cy5MaW5lRm9ybWF0AwAAAAgICAEBAwAAAAk/AgAACgEAAAAAAAAA/////wABAakDAAB5AAAACgoBAAAA////AP////8AAQGqAwAAeQAAAAoKAQAAAAAAAAD/////AAEBqwMAAHkAAAAKCgAAAAAAAAAADQAAAAABAawDAAB5AAAACgoAAAAAAAAAAA0AAAAAAQetAwAAAAEAAAAEAAAABB1BcGxvcmlzLkJhc2UuT2JqZWN0cy5WYXJpYWJsZQMAAAABcgQAAAoEAAAEAAAAAAAAAAFzBAAACgQAAAAAAAAAAAAAAXQEAAAKBAAAAAAAAAAAAAABdQQAAAoEAAAAAAAAAAAAAA+uAwAAAQAAAAgzAAAAB68DAAAAAQAAAAEAAAADDVN5c3RlbS5JbnRQdHIBdgQAAB4BAAAAAAAAAAAAAAGyAwAAIwAAAAoKAAAAAABAQQl3AAAACXgAAAAJdwQAAAAACXgEAAABswMAAHkAAAAKCgEAAAAAAAAA/////wABAbcDAACuAAAACXkEAAABAAAAAQAAAAG4AwAAdgAAAAl6BAAACXsEAAABuwMAAHEAAAAKCgAAAEA/CXwEAAAJfQQAAAEAAAD+////AAAAAAEAAAAAAAAAAAAAAAEAAAAAAAAAAAAAAbwDAAByAAAACgoJfgQAAAl/BAAAAQAAAP7///8AAAAA/////wEAAcADAAB2AAAACYAEAAAJgQQAAAfBAwAAAAEAAAAEAAAABBxBcGxvcmlzLkJhc2UuVUkuVmlzdWFsT2JqZWN0AwAAAAlPAgAACVACAAAKCgHEAwAAIwAAAAoKAAAAAABAQQl3AAAACXgAAAAJggQAAAAACYMEAAABxQMAAHkAAAAKCgEAAAAAAAAA/////wABAckDAACuAAAACYQEAAABAAAAAQAAAAHKAwAAdgAAAAmFBAAACYYEAAABzQMAAHEAAAAKCgAAAEA/CYcEAAAJiAQAAAEAAAD+////AAAAAAEAAAAAAAAAAAAAAAEAAAAAAAAAAAAAAc4DAAByAAAACgoJiQQAAAmKBAAAAQAAAP7///8AAAAA/////wEAAdIDAAB2AAAACYsEAAAJjAQAAAfTAwAAAAEAAAAEAAAABBxBcGxvcmlzLkJhc2UuVUkuVmlzdWFsT2JqZWN0AwAAAAlTAgAACVQCAAAKCgHUAwAAeQAAAAoKAAAAAAAAAAANAAAAAAAF1QMAABpBcGxvcmlzLkJhc2UuT2JqZWN0cy5Db2xvcgcAAAASRGF0YU9iamVjdCttUGFyZW50FURhdGFPYmplY3QrbUNvbnRhaW5lcgVtVHlwZQRtUkdCEG1UaGVtZUNvbG9ySW5kZXgMbUF1dG9VcGRhdGVkCW1Nb2RpZmllZAQCAAAAAAAfQXBsb3Jpcy5CYXNlLk9iamVjdHMuTGluZUZvcm1hdAMAAAAICAgBAQMAAAAJWQIAAAoBAAAAAAAAAP////8AAQ/WAwAAAQAAAAg4AAAAB9cDAAAAAQAAAAEAAAADDVN5c3RlbS5JbnRQdHIBjQQAAB4BAAAAAAAAAAAAAAHYAwAAeQAAAAoKAAAAAAAAAAANAAAAAAAB2QMAAHkAAAAKCgAAAAAAAAAADQAAAAABB9oDAAAAAQAAAAQAAAAEHUFwbG9yaXMuQmFzZS5PYmplY3RzLlZhcmlhYmxlAwAAAAGOBAAACgQAAAEAAAAAAAAAAY8EAAAKBAAAAAAAAAAAAAABkAQAAAoEAAAAAAAAAAAAAAGRBAAACgQAAAAAAAAAAAAAD9sDAAABAAAACBAAAAAH3AMAAAABAAAAAQAAAAMNU3lzdGVtLkludFB0cgGSBAAAHgEAAAAAAAAAAAAAAd0DAAB5AAAACgoAAAAAAAAAAA0AAAAAAAXeAwAAGkFwbG9yaXMuQmFzZS5PYmplY3RzLkNvbG9yBwAAABJEYXRhT2JqZWN0K21QYXJlbnQVRGF0YU9iamVjdCttQ29udGFpbmVyBW1UeXBlBG1SR0IQbVRoZW1lQ29sb3JJbmRleAxtQXV0b1VwZGF0ZWQJbU1vZGlmaWVkBAIAAAAAAB9BcGxvcmlzLkJhc2UuT2JqZWN0cy5MaW5lRm9ybWF0AwAAAAgICAEBAwAAAAlpAgAACgEAAAAAAAAA/////wABD98DAAABAAAACDkAAAAH4AMAAAABAAAAAQAAAAMNU3lzdGVtLkludFB0cgGTBAAAHgEAAAAAAAAAAAAAAeEDAAB5AAAACgoAAAAAAAAAAA0AAAAAAAHiAwAAeQAAAAoKAAAAAAAAAAANAAAAAAEH4wMAAAABAAAABAAAAAQdQXBsb3Jpcy5CYXNlLk9iamVjdHMuVmFyaWFibGUDAAAAAZQEAAAKBAAAAQAAAAAAAAABlQQAAAoEAAAAAAAAAAAAAAGWBAAACgQAAAAAAAAAAAAAAZcEAAAKBAAAAAAAAAAAAAAP5AMAAAEAAAAIDwAAAAflAwAAAAEAAAABAAAAAw1TeXN0ZW0uSW50UHRyAZgEAAAeAQAAAAAAAAAAAAAB5gMAAHkAAAAKCgAAAAAAAAAADQAAAAAABecDAAAaQXBsb3Jpcy5CYXNlLk9iamVjdHMuQ29sb3IHAAAAEkRhdGFPYmplY3QrbVBhcmVudBVEYXRhT2JqZWN0K21Db250YWluZXIFbVR5cGUEbVJHQhBtVGhlbWVDb2xvckluZGV4DG1BdXRvVXBkYXRlZAltTW9kaWZpZWQEAgAAAAAAH0FwbG9yaXMuQmFzZS5PYmplY3RzLkxpbmVGb3JtYXQDAAAACAgIAQEDAAAACXgCAAAKAQAAAAAAAAD/////AAEP6AMAAAEAAAAIPAAAAAfpAwAAAAEAAAABAAAAAw1TeXN0ZW0uSW50UHRyAZkEAAAeAQAAAAAAAAAAAAAB6gMAAHkAAAAKCgAAAAAAAAAADQAAAAAAAesDAAB5AAAACgoAAAAAAAAAAA0AAAAAAQfsAwAAAAEAAAAEAAAABB1BcGxvcmlzLkJhc2UuT2JqZWN0cy5WYXJpYWJsZQMAAAABmgQAAAoEAAABAAAAAAAAAAGbBAAACgQAAAAAAAAAAAAAAZwEAAAKBAAAAAAAAAAAAAABnQQAAAoEAAAAAAAAAAAAAA/tAwAAAQAAAAgTAAAAB+4DAAAAAQAAAAEAAAADDVN5c3RlbS5JbnRQdHIBngQAAB4BAAAAAAAAAAAAAAHvAwAAeQAAAAoKAAAAAAAAAAANAAAAAAAF8AMAABpBcGxvcmlzLkJhc2UuT2JqZWN0cy5Db2xvcgcAAAASRGF0YU9iamVjdCttUGFyZW50FURhdGFPYmplY3QrbUNvbnRhaW5lcgVtVHlwZQRtUkdCEG1UaGVtZUNvbG9ySW5kZXgMbUF1dG9VcGRhdGVkCW1Nb2RpZmllZAQCAAAAAAAfQXBsb3Jpcy5CYXNlLk9iamVjdHMuTGluZUZvcm1hdAMAAAAICAgBAQMAAAAJhwIAAAoBAAAAAAAAAP////8AAQ/xAwAAAQAAAAg9AAAAB/IDAAAAAQAAAAEAAAADDVN5c3RlbS5JbnRQdHIBnwQAAB4BAAAAAAAAAAAAAAHzAwAAeQAAAAoKAAAAAAAAAAANAAAAAAAB9AMAAHkAAAAKCgAAAAAAAAAADQAAAAABB/UDAAAAAQAAAAQAAAAEHUFwbG9yaXMuQmFzZS5PYmplY3RzLlZhcmlhYmxlAwAAAAGgBAAACgQAAAEAAAAAAAAAAaEEAAAKBAAAAAAAAAAAAAABogQAAAoEAAAAAAAAAAAAAAGjBAAACgQAAAAAAAAAAAAAD/YDAAABAAAACBQAAAAH9wMAAAABAAAAAQAAAAMNU3lzdGVtLkludFB0cgGkBAAAHgEAAAAAAAAAAAAAAfgDAAB5AAAACgoAAAAAAAAAAA0AAAAAAAX5AwAAGkFwbG9yaXMuQmFzZS5PYmplY3RzLkNvbG9yBwAAABJEYXRhT2JqZWN0K21QYXJlbnQVRGF0YU9iamVjdCttQ29udGFpbmVyBW1UeXBlBG1SR0IQbVRoZW1lQ29sb3JJbmRleAxtQXV0b1VwZGF0ZWQJbU1vZGlmaWVkBAIAAAAAAB9BcGxvcmlzLkJhc2UuT2JqZWN0cy5MaW5lRm9ybWF0AwAAAAgICAEBAwAAAAmWAgAACgEAAAAAAAAA/////wABD/oDAAABAAAACDoAAAAH+wMAAAABAAAAAQAAAAMNU3lzdGVtLkludFB0cgGlBAAAHgEAAAAAAAAAAAAAAfwDAAB5AAAACgoAAAAAAAAAAA0AAAAAAAH9AwAAeQAAAAoKAAAAAAAAAAANAAAAAAEH/gMAAAABAAAABAAAAAQdQXBsb3Jpcy5CYXNlLk9iamVjdHMuVmFyaWFibGUDAAAAAaYEAAAKBAAAAQAAAAAAAAABpwQAAAoEAAAAAAAAAAAAAAGoBAAACgQAAAAAAAAAAAAAAakEAAAKBAAAAAAAAAAAAAAP/wMAAAEAAAAIEQAAAAcABAAAAAEAAAABAAAAAw1TeXN0ZW0uSW50UHRyAaoEAAAeAQAAAAAAAAAAAAABAQQAAHkAAAAKCgAAAAAAAAAADQAAAAAABQIEAAAaQXBsb3Jpcy5CYXNlLk9iamVjdHMuQ29sb3IHAAAAEkRhdGFPYmplY3QrbVBhcmVudBVEYXRhT2JqZWN0K21Db250YWluZXIFbVR5cGUEbVJHQhBtVGhlbWVDb2xvckluZGV4DG1BdXRvVXBkYXRlZAltTW9kaWZpZWQEAgAAAAAAH0FwbG9yaXMuQmFzZS5PYmplY3RzLkxpbmVGb3JtYXQDAAAACAgIAQEDAAAACaUCAAAKAQAAAAAAAAD/////AAEPAwQAAAEAAAAIOwAAAAcEBAAAAAEAAAABAAAAAw1TeXN0ZW0uSW50UHRyAasEAAAeAQAAAAAAAAAAAAABBQQAAHkAAAAKCgAAAAAAAAAADQAAAAAAAQYEAAB5AAAACgoAAAAAAAAAAA0AAAAAAQcHBAAAAAEAAAAEAAAABB1BcGxvcmlzLkJhc2UuT2JqZWN0cy5WYXJpYWJsZQMAAAABrAQAAAoEAAABAAAAAAAAAAGtBAAACgQAAAAAAAAAAAAAAa4EAAAKBAAAAAAAAAAAAAABrwQAAAoEAAAAAAAAAAAAAA8IBAAAAQAAAAgSAAAABwkEAAAAAQAAAAEAAAADDVN5c3RlbS5JbnRQdHIBsAQAAB4BAAAAAAAAAAAAAAEjBAAAeQAAAAoKAAAAAP///wAOAAAAAAABJAQAAHkAAAAKCgAAAAD///8ADgAAAAABByUEAAAAAQAAAAQAAAAEHUFwbG9yaXMuQmFzZS5PYmplY3RzLlZhcmlhYmxlAwAAAAGxBAAACgQAAAEAAAAAAAAAAbIEAAAKBAAAAAAAAAAAAAABswQAAAoEAAAAAAAAAAAAAAG0BAAACgQAAAAAAAAAAAAADyYEAAABAAAACBkAAAAHJwQAAAABAAAAAQAAAAMNU3lzdGVtLkludFB0cgG1BAAAHgEAAAAAAAAAAAAABSgEAAAaQXBsb3Jpcy5CYXNlLk9iamVjdHMuQ29sb3IHAAAAEkRhdGFPYmplY3QrbVBhcmVudBVEYXRhT2JqZWN0K21Db250YWluZXIFbVR5cGUEbVJHQhBtVGhlbWVDb2xvckluZGV4DG1BdXRvVXBkYXRlZAltTW9kaWZpZWQEAgAAAAAAH0FwbG9yaXMuQmFzZS5PYmplY3RzLkxpbmVGb3JtYXQDAAAACAgIAQEDAAAACd8CAAAKAAAAAP///wAOAAAAAAAFKQQAABpBcGxvcmlzLkJhc2UuT2JqZWN0cy5Db2xvcgcAAAASRGF0YU9iamVjdCttUGFyZW50FURhdGFPYmplY3QrbUNvbnRhaW5lcgVtVHlwZQRtUkdCEG1UaGVtZUNvbG9ySW5kZXgMbUF1dG9VcGRhdGVkCW1Nb2RpZmllZAQCAAAAAAAfQXBsb3Jpcy5CYXNlLk9iamVjdHMuTGluZUZvcm1hdAMAAAAICAgBAQMAAAAJ3wIAAAoBAAAAAAAAAP////8AAQEqBAAAeQAAAAoKAAAAAHKEjAAGAAAAAAABKwQAAHkAAAAKCgEAAAD///8A/////wAADywEAAABAAAACAUAAAAHLQQAAAABAAAAAQAAAAMNU3lzdGVtLkludFB0cgG2BAAAHgEAAAAAAAAAAAAAAS4EAAB5AAAACgoAAAAA////AA4AAAAAAAEvBAAAeQAAAAoKAAAAAP///wAOAAAAAAEHMAQAAAABAAAABAAAAAQdQXBsb3Jpcy5CYXNlLk9iamVjdHMuVmFyaWFibGUDAAAAAbcEAAAKBAAAAQAAAAAAAAABuAQAAAoEAAAAAAAAAAAAAAG5BAAACgQAAAAAAAAAAAAAAboEAAAKBAAAAAAAAAAAAAAPMQQAAAEAAAAIHQAAAAcyBAAAAAEAAAABAAAAAw1TeXN0ZW0uSW50UHRyAbsEAAAeAQAAAAAAAAAAAAAFMwQAABpBcGxvcmlzLkJhc2UuT2JqZWN0cy5Db2xvcgcAAAASRGF0YU9iamVjdCttUGFyZW50FURhdGFPYmplY3QrbUNvbnRhaW5lcgVtVHlwZQRtUkdCEG1UaGVtZUNvbG9ySW5kZXgMbUF1dG9VcGRhdGVkCW1Nb2RpZmllZAQCAAAAAAAfQXBsb3Jpcy5CYXNlLk9iamVjdHMuTGluZUZvcm1hdAMAAAAICAgBAQMAAAAJ/gIAAAoAAAAA////AA4AAAAAAAU0BAAAGkFwbG9yaXMuQmFzZS5PYmplY3RzLkNvbG9yBwAAABJEYXRhT2JqZWN0K21QYXJlbnQVRGF0YU9iamVjdCttQ29udGFpbmVyBW1UeXBlBG1SR0IQbVRoZW1lQ29sb3JJbmRleAxtQXV0b1VwZGF0ZWQJbU1vZGlmaWVkBAIAAAAAAB9BcGxvcmlzLkJhc2UuT2JqZWN0cy5MaW5lRm9ybWF0AwAAAAgICAEBAwAAAAn+AgAACgEAAAAAAAAA/////wABATUEAAB5AAAACgoAAAAAP2l+AAUAAAAAAAE2BAAAeQAAAAoKAQAAAP///wD/////AAAPNwQAAAEAAAAIAQAAAAc4BAAAAAEAAAABAAAAAw1TeXN0ZW0uSW50UHRyAbwEAAAeAQAAAAAAAAAAAAABPwQAAHkAAAAKCgAAAAD///8ADgAAAAAAAUAEAAB5AAAACgoAAAAA////AA4AAAAAAQdBBAAAAAEAAAAEAAAABB1BcGxvcmlzLkJhc2UuT2JqZWN0cy5WYXJpYWJsZQMAAAABvQQAAAoEAAABAAAAAAAAAAG+BAAACgQAAAAAAAAAAAAAAb8EAAAKBAAAAAAAAAAAAAABwAQAAAoEAAAAAAAAAAAAAA9CBAAAAQAAAAgYAAAAB0MEAAAAAQAAAAEAAAADDVN5c3RlbS5JbnRQdHIBwQQAAB4BAAAAAAAAAAAAAAVEBAAAGkFwbG9yaXMuQmFzZS5PYmplY3RzLkNvbG9yBwAAABJEYXRhT2JqZWN0K21QYXJlbnQVRGF0YU9iamVjdCttQ29udGFpbmVyBW1UeXBlBG1SR0IQbVRoZW1lQ29sb3JJbmRleAxtQXV0b1VwZGF0ZWQJbU1vZGlmaWVkBAIAAAAAAB9BcGxvcmlzLkJhc2UuT2JqZWN0cy5MaW5lRm9ybWF0AwAAAAgICAEBAwAAAAkqAwAACgAAAAD///8ADgAAAAAABUUEAAAaQXBsb3Jpcy5CYXNlLk9iamVjdHMuQ29sb3IHAAAAEkRhdGFPYmplY3QrbVBhcmVudBVEYXRhT2JqZWN0K21Db250YWluZXIFbVR5cGUEbVJHQhBtVGhlbWVDb2xvckluZGV4DG1BdXRvVXBkYXRlZAltTW9kaWZpZWQEAgAAAAAAH0FwbG9yaXMuQmFzZS5PYmplY3RzLkxpbmVGb3JtYXQDAAAACAgIAQEDAAAACSoDAAAKAQAAAAAAAAD/////AAEBRgQAAHkAAAAKCgAAAAByhIwABgAAAAAAAUcEAAB5AAAACgoBAAAA////AP////8AAA9IBAAAAQAAAAgGAAAAB0kEAAAAAQAAAAEAAAADDVN5c3RlbS5JbnRQdHIBwgQAAB4BAAAAAAAAAAAAAAFKBAAAeQAAAAoKAAAAAP///wAOAAAAAAABSwQAAHkAAAAKCgAAAAD///8ADgAAAAABB0wEAAAAAQAAAAQAAAAEHUFwbG9yaXMuQmFzZS5PYmplY3RzLlZhcmlhYmxlAwAAAAHDBAAACgQAAAEAAAAAAAAAAcQEAAAKBAAAAAAAAAAAAAABxQQAAAoEAAAAAAAAAAAAAAHGBAAACgQAAAAAAAAAAAAAD00EAAABAAAACBwAAAAHTgQAAAABAAAAAQAAAAMNU3lzdGVtLkludFB0cgHHBAAAHgEAAAAAAAAAAAAABU8EAAAaQXBsb3Jpcy5CYXNlLk9iamVjdHMuQ29sb3IHAAAAEkRhdGFPYmplY3QrbVBhcmVudBVEYXRhT2JqZWN0K21Db250YWluZXIFbVR5cGUEbVJHQhBtVGhlbWVDb2xvckluZGV4DG1BdXRvVXBkYXRlZAltTW9kaWZpZWQEAgAAAAAAH0FwbG9yaXMuQmFzZS5PYmplY3RzLkxpbmVGb3JtYXQDAAAACAgIAQEDAAAACUkDAAAKAAAAAP///wAOAAAAAAAFUAQAABpBcGxvcmlzLkJhc2UuT2JqZWN0cy5Db2xvcgcAAAASRGF0YU9iamVjdCttUGFyZW50FURhdGFPYmplY3QrbUNvbnRhaW5lcgVtVHlwZQRtUkdCEG1UaGVtZUNvbG9ySW5kZXgMbUF1dG9VcGRhdGVkCW1Nb2RpZmllZAQCAAAAAAAfQXBsb3Jpcy5CYXNlLk9iamVjdHMuTGluZUZvcm1hdAMAAAAICAgBAQMAAAAJSQMAAAoBAAAAAAAAAP////8AAQFRBAAAeQAAAAoKAAAAAD9pfgAFAAAAAAABUgQAAHkAAAAKCgEAAAD///8A/////wAAD1MEAAABAAAACAQAAAAHVAQAAAABAAAAAQAAAAMNU3lzdGVtLkludFB0cgHIBAAAHgEAAAAAAAAAAAAAAVsEAAB5AAAACgoAAAAA////AA4AAAAAAAFcBAAAeQAAAAoKAAAAAP///wAOAAAAAAEHXQQAAAABAAAABAAAAAQdQXBsb3Jpcy5CYXNlLk9iamVjdHMuVmFyaWFibGUDAAAAAckEAAAKBAAAAQAAAAAAAAABygQAAAoEAAAAAAAAAAAAAAHLBAAACgQAAAAAAAAAAAAAAcwEAAAKBAAAAAAAAAAAAAAPXgQAAAEAAAAIGgAAAAdfBAAAAAEAAAABAAAAAw1TeXN0ZW0uSW50UHRyAc0EAAAeAQAAAAAAAAAAAAAFYAQAABpBcGxvcmlzLkJhc2UuT2JqZWN0cy5Db2xvcgcAAAASRGF0YU9iamVjdCttUGFyZW50FURhdGFPYmplY3QrbUNvbnRhaW5lcgVtVHlwZQRtUkdCEG1UaGVtZUNvbG9ySW5kZXgMbUF1dG9VcGRhdGVkCW1Nb2RpZmllZAQCAAAAAAAfQXBsb3Jpcy5CYXNlLk9iamVjdHMuTGluZUZvcm1hdAMAAAAICAgBAQMAAAAJdQMAAAoAAAAA////AA4AAAAAAAVhBAAAGkFwbG9yaXMuQmFzZS5PYmplY3RzLkNvbG9yBwAAABJEYXRhT2JqZWN0K21QYXJlbnQVRGF0YU9iamVjdCttQ29udGFpbmVyBW1UeXBlBG1SR0IQbVRoZW1lQ29sb3JJbmRleAxtQXV0b1VwZGF0ZWQJbU1vZGlmaWVkBAIAAAAAAB9BcGxvcmlzLkJhc2UuT2JqZWN0cy5MaW5lRm9ybWF0AwAAAAgICAEBAwAAAAl1AwAACgEAAAAAAAAA/////wABAWIEAAB5AAAACgoAAAAAcoSMAAYAAAAAAAFjBAAAeQAAAAoKAQAAAP///wD/////AAAPZAQAAAEAAAAIAgAAAAdlBAAAAAEAAAABAAAAAw1TeXN0ZW0uSW50UHRyAc4EAAAeAQAAAAAAAAAAAAABZgQAAHkAAAAKCgAAAAD///8ADgAAAAAAAWcEAAB5AAAACgoAAAAA////AA4AAAAAAQdoBAAAAAEAAAAEAAAABB1BcGxvcmlzLkJhc2UuT2JqZWN0cy5WYXJpYWJsZQMAAAABzwQAAAoEAAABAAAAAAAAAAHQBAAACgQAAAAAAAAAAAAAAdEEAAAKBAAAAAAAAAAAAAAB0gQAAAoEAAAAAAAAAAAAAA9pBAAAAQAAAAgbAAAAB2oEAAAAAQAAAAEAAAADDVN5c3RlbS5JbnRQdHIB0wQAAB4BAAAAAAAAAAAAAAVrBAAAGkFwbG9yaXMuQmFzZS5PYmplY3RzLkNvbG9yBwAAABJEYXRhT2JqZWN0K21QYXJlbnQVRGF0YU9iamVjdCttQ29udGFpbmVyBW1UeXBlBG1SR0IQbVRoZW1lQ29sb3JJbmRleAxtQXV0b1VwZGF0ZWQJbU1vZGlmaWVkBAIAAAAAAB9BcGxvcmlzLkJhc2UuT2JqZWN0cy5MaW5lRm9ybWF0AwAAAAgICAEBAwAAAAmUAwAACgAAAAD///8ADgAAAAAABWwEAAAaQXBsb3Jpcy5CYXNlLk9iamVjdHMuQ29sb3IHAAAAEkRhdGFPYmplY3QrbVBhcmVudBVEYXRhT2JqZWN0K21Db250YWluZXIFbVR5cGUEbVJHQhBtVGhlbWVDb2xvckluZGV4DG1BdXRvVXBkYXRlZAltTW9kaWZpZWQEAgAAAAAAH0FwbG9yaXMuQmFzZS5PYmplY3RzLkxpbmVGb3JtYXQDAAAACAgIAQEDAAAACZQDAAAKAQAAAAAAAAD/////AAEBbQQAAHkAAAAKCgAAAAA/aX4ABQAAAAAAAW4EAAB5AAAACgoBAAAA////AP////8AAA9vBAAAAQAAAAgDAAAAB3AEAAAAAQAAAAEAAAADDVN5c3RlbS5JbnRQdHIB1AQAAB4BAAAAAAAAAAAAAAF3BAAAeQAAAAoKAAAAAAAAAAANAAAAAAABeAQAAHkAAAAKCgEAAAAAAAAA/////wABB3kEAAAAAQAAAAQAAAAEHUFwbG9yaXMuQmFzZS5PYmplY3RzLlZhcmlhYmxlAwAAAAHVBAAACgQAAAEAAAAAAAAAAdYEAAAKBAAAAAAAAAAAAAAB1wQAAAoEAAAAAAAAAAAAAAHYBAAACgQAAAAAAAAAAAAAD3oEAAABAAAACB8AAAAHewQAAAABAAAAAQAAAAMNU3lzdGVtLkludFB0cgHZBAAAHgEAAAAAAAAAAAAAAXwEAAB5AAAACgoAAAAA////AA4AAAAAAAV9BAAAGkFwbG9yaXMuQmFzZS5PYmplY3RzLkNvbG9yBwAAABJEYXRhT2JqZWN0K21QYXJlbnQVRGF0YU9iamVjdCttQ29udGFpbmVyBW1UeXBlBG1SR0IQbVRoZW1lQ29sb3JJbmRleAxtQXV0b1VwZGF0ZWQJbU1vZGlmaWVkBAIAAAAAAB9BcGxvcmlzLkJhc2UuT2JqZWN0cy5MaW5lRm9ybWF0AwAAAAgICAEBAwAAAAm7AwAACgEAAAAAAAAA/////wABAX4EAAB5AAAACgoAAAAAcoSMAAYAAAAAAAF/BAAAeQAAAAoKAQAAAP///wD/////AAAPgAQAAAEAAAAIIQAAAAeBBAAAAAEAAAABAAAAAw1TeXN0ZW0uSW50UHRyAdoEAAAeAQAAAAAAAAAAAAABggQAAHkAAAAKCgAAAAAAAAAADQAAAAAAAYMEAAB5AAAACgoBAAAAAAAAAP////8AAQeEBAAAAAEAAAAEAAAABB1BcGxvcmlzLkJhc2UuT2JqZWN0cy5WYXJpYWJsZQMAAAAB2wQAAAoEAAABAAAAAAAAAAHcBAAACgQAAAAAAAAAAAAAAd0EAAAKBAAAAAAAAAAAAAAB3gQAAAoEAAAAAAAAAAAAAA+FBAAAAQAAAAgeAAAAB4YEAAAAAQAAAAEAAAADDVN5c3RlbS5JbnRQdHIB3wQAAB4BAAAAAAAAAAAAAAGHBAAAeQAAAAoKAAAAAP///wAOAAAAAAAFiAQAABpBcGxvcmlzLkJhc2UuT2JqZWN0cy5Db2xvcgcAAAASRGF0YU9iamVjdCttUGFyZW50FURhdGFPYmplY3QrbUNvbnRhaW5lcgVtVHlwZQRtUkdCEG1UaGVtZUNvbG9ySW5kZXgMbUF1dG9VcGRhdGVkCW1Nb2RpZmllZAQCAAAAAAAfQXBsb3Jpcy5CYXNlLk9iamVjdHMuTGluZUZvcm1hdAMAAAAICAgBAQMAAAAJzQMAAAoBAAAAAAAAAP////8AAQGJBAAAeQAAAAoKAAAAAD9pfgAFAAAAAAABigQAAHkAAAAKCgEAAAD///8A/////wAAD4sEAAABAAAACCAAAAAHjAQAAAABAAAAAQAAAAMNU3lzdGVtLkludFB0cgHgBAAAHgEAAAAAAAAAAAAACw=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NZInJXCet3rSEzkU.54"/>
</p:tagLst>
</file>

<file path=ppt/theme/theme1.xml><?xml version="1.0" encoding="utf-8"?>
<a:theme xmlns:a="http://schemas.openxmlformats.org/drawingml/2006/main" name="TytonJuly2016">
  <a:themeElements>
    <a:clrScheme name="Tyton 2">
      <a:dk1>
        <a:srgbClr val="000000"/>
      </a:dk1>
      <a:lt1>
        <a:sysClr val="window" lastClr="FFFFFF"/>
      </a:lt1>
      <a:dk2>
        <a:srgbClr val="22414E"/>
      </a:dk2>
      <a:lt2>
        <a:srgbClr val="DBDCDE"/>
      </a:lt2>
      <a:accent1>
        <a:srgbClr val="3F697E"/>
      </a:accent1>
      <a:accent2>
        <a:srgbClr val="72848C"/>
      </a:accent2>
      <a:accent3>
        <a:srgbClr val="ED2125"/>
      </a:accent3>
      <a:accent4>
        <a:srgbClr val="463B34"/>
      </a:accent4>
      <a:accent5>
        <a:srgbClr val="C39874"/>
      </a:accent5>
      <a:accent6>
        <a:srgbClr val="F7941E"/>
      </a:accent6>
      <a:hlink>
        <a:srgbClr val="F7941E"/>
      </a:hlink>
      <a:folHlink>
        <a:srgbClr val="ED212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ytonJuly2016" id="{4F3BAFCB-C181-804D-B0A0-AEC66AFA877B}" vid="{B0EA4E52-E69B-0B4C-AB24-8321C4AAEB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2078</TotalTime>
  <Words>2879</Words>
  <Application>Microsoft Office PowerPoint</Application>
  <PresentationFormat>On-screen Show (4:3)</PresentationFormat>
  <Paragraphs>727</Paragraphs>
  <Slides>39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ＭＳ Ｐゴシック</vt:lpstr>
      <vt:lpstr>Arial</vt:lpstr>
      <vt:lpstr>Calibri</vt:lpstr>
      <vt:lpstr>Lucida Grande</vt:lpstr>
      <vt:lpstr>Times New Roman</vt:lpstr>
      <vt:lpstr>Wingdings</vt:lpstr>
      <vt:lpstr>TytonJuly2016</vt:lpstr>
      <vt:lpstr>PowerPoint Presentation</vt:lpstr>
      <vt:lpstr>PowerPoint Presentation</vt:lpstr>
      <vt:lpstr>PowerPoint Presentation</vt:lpstr>
      <vt:lpstr>PowerPoint Presentation</vt:lpstr>
      <vt:lpstr>Since 2015, All Types of Institutions Report Increases in Advising Success</vt:lpstr>
      <vt:lpstr>PowerPoint Presentation</vt:lpstr>
      <vt:lpstr>PowerPoint Presentation</vt:lpstr>
      <vt:lpstr>PowerPoint Presentation</vt:lpstr>
      <vt:lpstr>…Yet, It Is Not Associated with High Clarity of Ownership</vt:lpstr>
      <vt:lpstr>For Self-contained, Supplementary, and Faculty Only Models, Perception of Success Deviates from Observed Student Outcomes</vt:lpstr>
      <vt:lpstr>PowerPoint Presentation</vt:lpstr>
      <vt:lpstr>Larger Institutions Have Larger Advising Caseloads and Report More Spending on Advising Resources</vt:lpstr>
      <vt:lpstr>PowerPoint Presentation</vt:lpstr>
      <vt:lpstr>PowerPoint Presentation</vt:lpstr>
      <vt:lpstr>Overall, Coordination Has Improved Since 2015</vt:lpstr>
      <vt:lpstr>Collaboration Is More Common at Institutions Using  Self-contained Advising Centers</vt:lpstr>
      <vt:lpstr>PowerPoint Presentation</vt:lpstr>
      <vt:lpstr>Institutions Increasingly Believe Technology Improves Academic Advising</vt:lpstr>
      <vt:lpstr>A Majority of Institutions Report that Spending on Technology Has Increased in Recent Years</vt:lpstr>
      <vt:lpstr>Student Success Technologies Are Segmented into  12 Distinct Product Categories across 4 Workflow Areas</vt:lpstr>
      <vt:lpstr>Notable Providers across the 12 Product Categories</vt:lpstr>
      <vt:lpstr>Current Institutional Use of Technology Varies by Category; Academic Planning Remains the Most Used</vt:lpstr>
      <vt:lpstr>Institutions Using Point Solutions – rather than Integrated Ones – Report Modestly Greater Success</vt:lpstr>
      <vt:lpstr>PowerPoint Presentation</vt:lpstr>
      <vt:lpstr>PowerPoint Presentation</vt:lpstr>
      <vt:lpstr>Prescriptive and Intrusive Models Are Associated with Relatively Poor Student Outcomes…</vt:lpstr>
      <vt:lpstr>…However, Developmental and Advising as Teaching Models Are Works-in-Progress, as Student Disengagement is More Likely</vt:lpstr>
      <vt:lpstr>PowerPoint Presentation</vt:lpstr>
      <vt:lpstr>Guided Pathways Adoption Is Associated with Advising Success</vt:lpstr>
      <vt:lpstr>PowerPoint Presentation</vt:lpstr>
      <vt:lpstr>PowerPoint Presentation</vt:lpstr>
      <vt:lpstr>PowerPoint Presentation</vt:lpstr>
      <vt:lpstr>Successful Segments Adopt Technology for Advising (Even When They Prefer to Invest in People)</vt:lpstr>
      <vt:lpstr>Successful Segments Invest in Advising Personnel…</vt:lpstr>
      <vt:lpstr>…and Assign Responsibility over Advising to a Single Individual</vt:lpstr>
      <vt:lpstr>Successful Segments Are Committed to Advising Redesig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hryn Martin</dc:creator>
  <cp:lastModifiedBy>Nancy Millichap</cp:lastModifiedBy>
  <cp:revision>485</cp:revision>
  <cp:lastPrinted>2017-08-22T20:54:30Z</cp:lastPrinted>
  <dcterms:created xsi:type="dcterms:W3CDTF">2017-08-21T18:19:24Z</dcterms:created>
  <dcterms:modified xsi:type="dcterms:W3CDTF">2017-10-12T11:54:50Z</dcterms:modified>
</cp:coreProperties>
</file>